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3.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omments/comment1.xml" ContentType="application/vnd.openxmlformats-officedocument.presentationml.comments+xml"/>
  <Override PartName="/ppt/notesSlides/notesSlide22.xml" ContentType="application/vnd.openxmlformats-officedocument.presentationml.notesSlide+xml"/>
  <Override PartName="/ppt/comments/comment2.xml" ContentType="application/vnd.openxmlformats-officedocument.presentationml.comments+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74" r:id="rId6"/>
    <p:sldMasterId id="2147483690" r:id="rId7"/>
    <p:sldMasterId id="2147483727" r:id="rId8"/>
    <p:sldMasterId id="2147483852" r:id="rId9"/>
  </p:sldMasterIdLst>
  <p:notesMasterIdLst>
    <p:notesMasterId r:id="rId48"/>
  </p:notesMasterIdLst>
  <p:sldIdLst>
    <p:sldId id="537" r:id="rId10"/>
    <p:sldId id="538" r:id="rId11"/>
    <p:sldId id="2145707028" r:id="rId12"/>
    <p:sldId id="260" r:id="rId13"/>
    <p:sldId id="2145706875" r:id="rId14"/>
    <p:sldId id="2145706876" r:id="rId15"/>
    <p:sldId id="267" r:id="rId16"/>
    <p:sldId id="268" r:id="rId17"/>
    <p:sldId id="269" r:id="rId18"/>
    <p:sldId id="266" r:id="rId19"/>
    <p:sldId id="2145706758" r:id="rId20"/>
    <p:sldId id="263" r:id="rId21"/>
    <p:sldId id="2145707032" r:id="rId22"/>
    <p:sldId id="271" r:id="rId23"/>
    <p:sldId id="2145707033" r:id="rId24"/>
    <p:sldId id="272" r:id="rId25"/>
    <p:sldId id="2145706945" r:id="rId26"/>
    <p:sldId id="2145706969" r:id="rId27"/>
    <p:sldId id="277" r:id="rId28"/>
    <p:sldId id="360" r:id="rId29"/>
    <p:sldId id="359" r:id="rId30"/>
    <p:sldId id="774" r:id="rId31"/>
    <p:sldId id="2145707034" r:id="rId32"/>
    <p:sldId id="275" r:id="rId33"/>
    <p:sldId id="287" r:id="rId34"/>
    <p:sldId id="2145707036" r:id="rId35"/>
    <p:sldId id="2145707039" r:id="rId36"/>
    <p:sldId id="2145707037" r:id="rId37"/>
    <p:sldId id="2145707040" r:id="rId38"/>
    <p:sldId id="2145707038" r:id="rId39"/>
    <p:sldId id="372" r:id="rId40"/>
    <p:sldId id="535" r:id="rId41"/>
    <p:sldId id="380" r:id="rId42"/>
    <p:sldId id="2145707041" r:id="rId43"/>
    <p:sldId id="382" r:id="rId44"/>
    <p:sldId id="384" r:id="rId45"/>
    <p:sldId id="385" r:id="rId46"/>
    <p:sldId id="386" r:id="rId47"/>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2"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D7568"/>
    <a:srgbClr val="78A392"/>
    <a:srgbClr val="0000FF"/>
    <a:srgbClr val="F84A46"/>
    <a:srgbClr val="D0D6EA"/>
    <a:srgbClr val="FFFF9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5444" autoAdjust="0"/>
    <p:restoredTop sz="96357" autoAdjust="0"/>
  </p:normalViewPr>
  <p:slideViewPr>
    <p:cSldViewPr snapToGrid="0">
      <p:cViewPr varScale="1">
        <p:scale>
          <a:sx n="108" d="100"/>
          <a:sy n="108" d="100"/>
        </p:scale>
        <p:origin x="78" y="234"/>
      </p:cViewPr>
      <p:guideLst/>
    </p:cSldViewPr>
  </p:slideViewPr>
  <p:notesTextViewPr>
    <p:cViewPr>
      <p:scale>
        <a:sx n="1" d="1"/>
        <a:sy n="1" d="1"/>
      </p:scale>
      <p:origin x="0" y="0"/>
    </p:cViewPr>
  </p:notesTextViewPr>
  <p:sorterViewPr>
    <p:cViewPr>
      <p:scale>
        <a:sx n="82" d="100"/>
        <a:sy n="82"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3" Type="http://schemas.openxmlformats.org/officeDocument/2006/relationships/customXml" Target="../customXml/item3.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slide" Target="slides/slide38.xml"/><Relationship Id="rId50" Type="http://schemas.openxmlformats.org/officeDocument/2006/relationships/presProps" Target="presProps.xml"/><Relationship Id="rId7" Type="http://schemas.openxmlformats.org/officeDocument/2006/relationships/slideMaster" Target="slideMasters/slideMaster2.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41" Type="http://schemas.openxmlformats.org/officeDocument/2006/relationships/slide" Target="slides/slide32.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tableStyles" Target="tableStyles.xml"/><Relationship Id="rId5" Type="http://schemas.openxmlformats.org/officeDocument/2006/relationships/customXml" Target="../customXml/item5.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commentAuthors" Target="commentAuthors.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Master" Target="slideMasters/slideMaster4.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notesMaster" Target="notesMasters/notesMaster1.xml"/><Relationship Id="rId8" Type="http://schemas.openxmlformats.org/officeDocument/2006/relationships/slideMaster" Target="slideMasters/slideMaster3.xml"/><Relationship Id="rId51" Type="http://schemas.openxmlformats.org/officeDocument/2006/relationships/viewProps" Target="viewProps.xml"/></Relationships>
</file>

<file path=ppt/comments/comment1.xml><?xml version="1.0" encoding="utf-8"?>
<p:cmLst xmlns:a="http://schemas.openxmlformats.org/drawingml/2006/main" xmlns:r="http://schemas.openxmlformats.org/officeDocument/2006/relationships" xmlns:p="http://schemas.openxmlformats.org/presentationml/2006/main">
  <p:cm authorId="2" dt="2023-03-26T22:46:14.423" idx="1">
    <p:pos x="10" y="202"/>
    <p:text>Clinical management of rape &gt; prise en charge clinique du viol
IPV = intimate partner violence &gt; violence exercée par un partenaire intime</p:text>
    <p:extLst>
      <p:ext uri="{C676402C-5697-4E1C-873F-D02D1690AC5C}">
        <p15:threadingInfo xmlns:p15="http://schemas.microsoft.com/office/powerpoint/2012/main" timeZoneBias="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2" dt="2023-03-26T22:41:28.636" idx="2">
    <p:pos x="10" y="202"/>
    <p:text>Traduire?
Manuel pour les hommes survivants d'agressions sexuelles</p:text>
    <p:extLst>
      <p:ext uri="{C676402C-5697-4E1C-873F-D02D1690AC5C}">
        <p15:threadingInfo xmlns:p15="http://schemas.microsoft.com/office/powerpoint/2012/main" timeZoneBias="0"/>
      </p:ext>
    </p:extLst>
  </p:cm>
</p: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3_4">
  <dgm:title val=""/>
  <dgm:desc val=""/>
  <dgm:catLst>
    <dgm:cat type="accent3" pri="11400"/>
  </dgm:catLst>
  <dgm:styleLbl name="node0">
    <dgm:fillClrLst meth="cycle">
      <a:schemeClr val="accent3">
        <a:shade val="60000"/>
      </a:schemeClr>
    </dgm:fillClrLst>
    <dgm:linClrLst meth="repeat">
      <a:schemeClr val="lt1"/>
    </dgm:linClrLst>
    <dgm:effectClrLst/>
    <dgm:txLinClrLst/>
    <dgm:txFillClrLst/>
    <dgm:txEffectClrLst/>
  </dgm:styleLbl>
  <dgm:styleLbl name="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alignNode1">
    <dgm:fillClrLst meth="cycle">
      <a:schemeClr val="accent3">
        <a:shade val="50000"/>
      </a:schemeClr>
      <a:schemeClr val="accent3">
        <a:tint val="55000"/>
      </a:schemeClr>
    </dgm:fillClrLst>
    <dgm:linClrLst meth="cycle">
      <a:schemeClr val="accent3">
        <a:shade val="50000"/>
      </a:schemeClr>
      <a:schemeClr val="accent3">
        <a:tint val="55000"/>
      </a:schemeClr>
    </dgm:linClrLst>
    <dgm:effectClrLst/>
    <dgm:txLinClrLst/>
    <dgm:txFillClrLst/>
    <dgm:txEffectClrLst/>
  </dgm:styleLbl>
  <dgm:styleLbl name="ln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vennNode1">
    <dgm:fillClrLst meth="cycle">
      <a:schemeClr val="accent3">
        <a:shade val="80000"/>
        <a:alpha val="50000"/>
      </a:schemeClr>
      <a:schemeClr val="accent3">
        <a:tint val="50000"/>
        <a:alpha val="50000"/>
      </a:schemeClr>
    </dgm:fillClrLst>
    <dgm:linClrLst meth="repeat">
      <a:schemeClr val="lt1"/>
    </dgm:linClrLst>
    <dgm:effectClrLst/>
    <dgm:txLinClrLst/>
    <dgm:txFillClrLst/>
    <dgm:txEffectClrLst/>
  </dgm:styleLbl>
  <dgm:styleLbl name="node2">
    <dgm:fillClrLst>
      <a:schemeClr val="accent3">
        <a:shade val="80000"/>
      </a:schemeClr>
    </dgm:fillClrLst>
    <dgm:linClrLst meth="repeat">
      <a:schemeClr val="lt1"/>
    </dgm:linClrLst>
    <dgm:effectClrLst/>
    <dgm:txLinClrLst/>
    <dgm:txFillClrLst/>
    <dgm:txEffectClrLst/>
  </dgm:styleLbl>
  <dgm:styleLbl name="node3">
    <dgm:fillClrLst>
      <a:schemeClr val="accent3">
        <a:tint val="99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f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b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sibTrans1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0000"/>
      </a:schemeClr>
    </dgm:fillClrLst>
    <dgm:linClrLst meth="repeat">
      <a:schemeClr val="lt1"/>
    </dgm:linClrLst>
    <dgm:effectClrLst/>
    <dgm:txLinClrLst/>
    <dgm:txFillClrLst/>
    <dgm:txEffectClrLst/>
  </dgm:styleLbl>
  <dgm:styleLbl name="asst3">
    <dgm:fillClrLst>
      <a:schemeClr val="accent3">
        <a:tint val="70000"/>
      </a:schemeClr>
    </dgm:fillClrLst>
    <dgm:linClrLst meth="repeat">
      <a:schemeClr val="lt1"/>
    </dgm:linClrLst>
    <dgm:effectClrLst/>
    <dgm:txLinClrLst/>
    <dgm:txFillClrLst/>
    <dgm:txEffectClrLst/>
  </dgm:styleLbl>
  <dgm:styleLbl name="asst4">
    <dgm:fillClrLst>
      <a:schemeClr val="accent3">
        <a:tint val="5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shade val="80000"/>
      </a:schemeClr>
    </dgm:linClrLst>
    <dgm:effectClrLst/>
    <dgm:txLinClrLst/>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dk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3">
        <a:tint val="90000"/>
      </a:schemeClr>
    </dgm:linClrLst>
    <dgm:effectClrLst/>
    <dgm:txLinClrLst/>
    <dgm:txFillClrLst meth="repeat">
      <a:schemeClr val="tx1"/>
    </dgm:txFillClrLst>
    <dgm:txEffectClrLst/>
  </dgm:styleLbl>
  <dgm:styleLbl name="parChTrans1D3">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parChTrans1D4">
    <dgm:fillClrLst meth="repeat">
      <a:schemeClr val="accent3">
        <a:tint val="50000"/>
      </a:schemeClr>
    </dgm:fillClrLst>
    <dgm:linClrLst meth="repeat">
      <a:schemeClr val="accent3">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align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bgAccFollowNode1">
    <dgm:fillClrLst meth="repeat">
      <a:schemeClr val="accent3">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50000"/>
      </a:schemeClr>
    </dgm:linClrLst>
    <dgm:effectClrLst/>
    <dgm:txLinClrLst/>
    <dgm:txFillClrLst meth="repeat">
      <a:schemeClr val="dk1"/>
    </dgm:txFillClrLst>
    <dgm:txEffectClrLst/>
  </dgm:styleLbl>
  <dgm:styleLbl name="bgShp">
    <dgm:fillClrLst meth="repeat">
      <a:schemeClr val="accent3">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55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AC71B97-3AD8-438E-A73A-E18A6BC8C06A}" type="doc">
      <dgm:prSet loTypeId="urn:microsoft.com/office/officeart/2005/8/layout/lProcess2" loCatId="relationship" qsTypeId="urn:microsoft.com/office/officeart/2005/8/quickstyle/simple5" qsCatId="simple" csTypeId="urn:microsoft.com/office/officeart/2005/8/colors/accent1_2" csCatId="accent1" phldr="1"/>
      <dgm:spPr/>
      <dgm:t>
        <a:bodyPr/>
        <a:lstStyle/>
        <a:p>
          <a:endParaRPr lang="en-GB"/>
        </a:p>
      </dgm:t>
    </dgm:pt>
    <dgm:pt modelId="{795A3F0E-4FC8-4945-8009-555E19ED18FF}">
      <dgm:prSet custT="1"/>
      <dgm:spPr>
        <a:solidFill>
          <a:srgbClr val="78A392"/>
        </a:solidFill>
      </dgm:spPr>
      <dgm:t>
        <a:bodyPr/>
        <a:lstStyle/>
        <a:p>
          <a:pPr rtl="0"/>
          <a:r>
            <a:rPr lang="fr-FR" sz="3200" dirty="0"/>
            <a:t>Le viol et les autres formes de violence sexuelle sont </a:t>
          </a:r>
          <a:r>
            <a:rPr lang="fr-FR" sz="3200" b="1" dirty="0"/>
            <a:t>strictement interdits</a:t>
          </a:r>
          <a:r>
            <a:rPr lang="fr-FR" sz="3200" dirty="0"/>
            <a:t> </a:t>
          </a:r>
        </a:p>
      </dgm:t>
    </dgm:pt>
    <dgm:pt modelId="{D29B1DEF-F1F5-4E24-9A75-0476FFF4F452}" type="parTrans" cxnId="{F097E123-1DCF-45C6-827B-DAA6D2EB915B}">
      <dgm:prSet/>
      <dgm:spPr/>
      <dgm:t>
        <a:bodyPr/>
        <a:lstStyle/>
        <a:p>
          <a:endParaRPr lang="en-GB"/>
        </a:p>
      </dgm:t>
    </dgm:pt>
    <dgm:pt modelId="{7B2817D1-3607-4331-B48F-0A22DF9E47C1}" type="sibTrans" cxnId="{F097E123-1DCF-45C6-827B-DAA6D2EB915B}">
      <dgm:prSet/>
      <dgm:spPr/>
      <dgm:t>
        <a:bodyPr/>
        <a:lstStyle/>
        <a:p>
          <a:endParaRPr lang="en-GB"/>
        </a:p>
      </dgm:t>
    </dgm:pt>
    <dgm:pt modelId="{77299500-D88A-4542-AEE5-CB6FF1BFD548}">
      <dgm:prSet custT="1"/>
      <dgm:spPr>
        <a:solidFill>
          <a:schemeClr val="bg1"/>
        </a:solidFill>
      </dgm:spPr>
      <dgm:t>
        <a:bodyPr/>
        <a:lstStyle/>
        <a:p>
          <a:pPr rtl="0"/>
          <a:r>
            <a:rPr lang="fr-FR" sz="2400" dirty="0">
              <a:solidFill>
                <a:schemeClr val="tx1"/>
              </a:solidFill>
            </a:rPr>
            <a:t>En vertu du </a:t>
          </a:r>
          <a:r>
            <a:rPr lang="fr-FR" sz="2400" u="sng" dirty="0">
              <a:solidFill>
                <a:schemeClr val="tx1"/>
              </a:solidFill>
            </a:rPr>
            <a:t>droit international des droits humains </a:t>
          </a:r>
          <a:r>
            <a:rPr lang="fr-FR" sz="2400" dirty="0">
              <a:solidFill>
                <a:schemeClr val="tx1"/>
              </a:solidFill>
            </a:rPr>
            <a:t>(DIDH) </a:t>
          </a:r>
          <a:r>
            <a:rPr lang="fr-FR" sz="2400" b="1" i="1" dirty="0">
              <a:solidFill>
                <a:schemeClr val="tx1"/>
              </a:solidFill>
            </a:rPr>
            <a:t>en toute circonstance </a:t>
          </a:r>
        </a:p>
      </dgm:t>
    </dgm:pt>
    <dgm:pt modelId="{FA27BDA4-B2B7-4513-BEBB-0FB08FE531FC}" type="parTrans" cxnId="{84AA3FF6-4D71-490E-9747-9CF46BA27D14}">
      <dgm:prSet/>
      <dgm:spPr/>
      <dgm:t>
        <a:bodyPr/>
        <a:lstStyle/>
        <a:p>
          <a:endParaRPr lang="en-GB"/>
        </a:p>
      </dgm:t>
    </dgm:pt>
    <dgm:pt modelId="{CAE19A9D-0D64-4663-B872-E58D5EAD95E9}" type="sibTrans" cxnId="{84AA3FF6-4D71-490E-9747-9CF46BA27D14}">
      <dgm:prSet/>
      <dgm:spPr/>
      <dgm:t>
        <a:bodyPr/>
        <a:lstStyle/>
        <a:p>
          <a:endParaRPr lang="en-GB"/>
        </a:p>
      </dgm:t>
    </dgm:pt>
    <dgm:pt modelId="{FC11F3EB-F15F-485D-8926-F1153626C550}">
      <dgm:prSet custT="1"/>
      <dgm:spPr>
        <a:solidFill>
          <a:schemeClr val="bg1"/>
        </a:solidFill>
      </dgm:spPr>
      <dgm:t>
        <a:bodyPr/>
        <a:lstStyle/>
        <a:p>
          <a:pPr rtl="0"/>
          <a:r>
            <a:rPr lang="fr-FR" sz="2400" dirty="0">
              <a:solidFill>
                <a:schemeClr val="tx1"/>
              </a:solidFill>
            </a:rPr>
            <a:t>En vertu du </a:t>
          </a:r>
          <a:r>
            <a:rPr lang="fr-FR" sz="2400" u="sng" dirty="0">
              <a:solidFill>
                <a:schemeClr val="tx1"/>
              </a:solidFill>
            </a:rPr>
            <a:t>droit international humanitaire</a:t>
          </a:r>
          <a:r>
            <a:rPr lang="fr-FR" sz="2400" dirty="0">
              <a:solidFill>
                <a:schemeClr val="tx1"/>
              </a:solidFill>
            </a:rPr>
            <a:t> (DIH) </a:t>
          </a:r>
          <a:r>
            <a:rPr lang="fr-FR" sz="2400" b="1" i="1" dirty="0">
              <a:solidFill>
                <a:schemeClr val="tx1"/>
              </a:solidFill>
            </a:rPr>
            <a:t>dans les conflits armés internationaux et non internationaux</a:t>
          </a:r>
        </a:p>
      </dgm:t>
    </dgm:pt>
    <dgm:pt modelId="{37D27C10-D1D4-4788-886F-037C51D3BBE9}" type="parTrans" cxnId="{A640D38C-8E8F-498B-86D0-E9FCE1707366}">
      <dgm:prSet/>
      <dgm:spPr/>
      <dgm:t>
        <a:bodyPr/>
        <a:lstStyle/>
        <a:p>
          <a:endParaRPr lang="en-GB"/>
        </a:p>
      </dgm:t>
    </dgm:pt>
    <dgm:pt modelId="{92A44D0C-E238-4F62-AF3C-877021CCFAE0}" type="sibTrans" cxnId="{A640D38C-8E8F-498B-86D0-E9FCE1707366}">
      <dgm:prSet/>
      <dgm:spPr/>
      <dgm:t>
        <a:bodyPr/>
        <a:lstStyle/>
        <a:p>
          <a:endParaRPr lang="en-GB"/>
        </a:p>
      </dgm:t>
    </dgm:pt>
    <dgm:pt modelId="{B356702E-3453-4AEC-9666-506CC26539D5}" type="pres">
      <dgm:prSet presAssocID="{5AC71B97-3AD8-438E-A73A-E18A6BC8C06A}" presName="theList" presStyleCnt="0">
        <dgm:presLayoutVars>
          <dgm:dir/>
          <dgm:animLvl val="lvl"/>
          <dgm:resizeHandles val="exact"/>
        </dgm:presLayoutVars>
      </dgm:prSet>
      <dgm:spPr/>
    </dgm:pt>
    <dgm:pt modelId="{96A5F972-8150-4AEF-8CA5-15E5FB4FC120}" type="pres">
      <dgm:prSet presAssocID="{795A3F0E-4FC8-4945-8009-555E19ED18FF}" presName="compNode" presStyleCnt="0"/>
      <dgm:spPr/>
    </dgm:pt>
    <dgm:pt modelId="{44146E63-22C6-4EFA-A616-A8FE8582B553}" type="pres">
      <dgm:prSet presAssocID="{795A3F0E-4FC8-4945-8009-555E19ED18FF}" presName="aNode" presStyleLbl="bgShp" presStyleIdx="0" presStyleCnt="1" custLinFactNeighborX="-2525" custLinFactNeighborY="-256"/>
      <dgm:spPr/>
    </dgm:pt>
    <dgm:pt modelId="{372A74F0-3D55-473B-A377-C6B21A2992E3}" type="pres">
      <dgm:prSet presAssocID="{795A3F0E-4FC8-4945-8009-555E19ED18FF}" presName="textNode" presStyleLbl="bgShp" presStyleIdx="0" presStyleCnt="1"/>
      <dgm:spPr/>
    </dgm:pt>
    <dgm:pt modelId="{DD7FC14A-EFB3-4C18-8DDB-F836603CA83A}" type="pres">
      <dgm:prSet presAssocID="{795A3F0E-4FC8-4945-8009-555E19ED18FF}" presName="compChildNode" presStyleCnt="0"/>
      <dgm:spPr/>
    </dgm:pt>
    <dgm:pt modelId="{7E9D41A3-1D6E-480F-97D8-2B79475F0696}" type="pres">
      <dgm:prSet presAssocID="{795A3F0E-4FC8-4945-8009-555E19ED18FF}" presName="theInnerList" presStyleCnt="0"/>
      <dgm:spPr/>
    </dgm:pt>
    <dgm:pt modelId="{769CD911-851B-4A9D-84C2-1A6EF7E26C03}" type="pres">
      <dgm:prSet presAssocID="{77299500-D88A-4542-AEE5-CB6FF1BFD548}" presName="childNode" presStyleLbl="node1" presStyleIdx="0" presStyleCnt="2" custLinFactNeighborX="2329">
        <dgm:presLayoutVars>
          <dgm:bulletEnabled val="1"/>
        </dgm:presLayoutVars>
      </dgm:prSet>
      <dgm:spPr/>
    </dgm:pt>
    <dgm:pt modelId="{F18474D3-A57C-4E52-8C7D-B7DEB4560098}" type="pres">
      <dgm:prSet presAssocID="{77299500-D88A-4542-AEE5-CB6FF1BFD548}" presName="aSpace2" presStyleCnt="0"/>
      <dgm:spPr/>
    </dgm:pt>
    <dgm:pt modelId="{821AD06B-5542-4E96-A585-B08A138407C7}" type="pres">
      <dgm:prSet presAssocID="{FC11F3EB-F15F-485D-8926-F1153626C550}" presName="childNode" presStyleLbl="node1" presStyleIdx="1" presStyleCnt="2" custLinFactNeighborX="2485" custLinFactNeighborY="-6472">
        <dgm:presLayoutVars>
          <dgm:bulletEnabled val="1"/>
        </dgm:presLayoutVars>
      </dgm:prSet>
      <dgm:spPr/>
    </dgm:pt>
  </dgm:ptLst>
  <dgm:cxnLst>
    <dgm:cxn modelId="{F097E123-1DCF-45C6-827B-DAA6D2EB915B}" srcId="{5AC71B97-3AD8-438E-A73A-E18A6BC8C06A}" destId="{795A3F0E-4FC8-4945-8009-555E19ED18FF}" srcOrd="0" destOrd="0" parTransId="{D29B1DEF-F1F5-4E24-9A75-0476FFF4F452}" sibTransId="{7B2817D1-3607-4331-B48F-0A22DF9E47C1}"/>
    <dgm:cxn modelId="{98124F37-85C4-4080-ADD4-DD1C3233160E}" type="presOf" srcId="{FC11F3EB-F15F-485D-8926-F1153626C550}" destId="{821AD06B-5542-4E96-A585-B08A138407C7}" srcOrd="0" destOrd="0" presId="urn:microsoft.com/office/officeart/2005/8/layout/lProcess2"/>
    <dgm:cxn modelId="{FD95BE37-ABF5-4F1B-84B7-6DC698884785}" type="presOf" srcId="{5AC71B97-3AD8-438E-A73A-E18A6BC8C06A}" destId="{B356702E-3453-4AEC-9666-506CC26539D5}" srcOrd="0" destOrd="0" presId="urn:microsoft.com/office/officeart/2005/8/layout/lProcess2"/>
    <dgm:cxn modelId="{D8FCD177-0AF4-4918-A229-2CB1C2888572}" type="presOf" srcId="{77299500-D88A-4542-AEE5-CB6FF1BFD548}" destId="{769CD911-851B-4A9D-84C2-1A6EF7E26C03}" srcOrd="0" destOrd="0" presId="urn:microsoft.com/office/officeart/2005/8/layout/lProcess2"/>
    <dgm:cxn modelId="{A640D38C-8E8F-498B-86D0-E9FCE1707366}" srcId="{795A3F0E-4FC8-4945-8009-555E19ED18FF}" destId="{FC11F3EB-F15F-485D-8926-F1153626C550}" srcOrd="1" destOrd="0" parTransId="{37D27C10-D1D4-4788-886F-037C51D3BBE9}" sibTransId="{92A44D0C-E238-4F62-AF3C-877021CCFAE0}"/>
    <dgm:cxn modelId="{09DFA7A5-6343-44D5-A316-DD94DE4246AE}" type="presOf" srcId="{795A3F0E-4FC8-4945-8009-555E19ED18FF}" destId="{44146E63-22C6-4EFA-A616-A8FE8582B553}" srcOrd="0" destOrd="0" presId="urn:microsoft.com/office/officeart/2005/8/layout/lProcess2"/>
    <dgm:cxn modelId="{BB389FB0-AA8F-4E4E-A06D-902759A34D13}" type="presOf" srcId="{795A3F0E-4FC8-4945-8009-555E19ED18FF}" destId="{372A74F0-3D55-473B-A377-C6B21A2992E3}" srcOrd="1" destOrd="0" presId="urn:microsoft.com/office/officeart/2005/8/layout/lProcess2"/>
    <dgm:cxn modelId="{84AA3FF6-4D71-490E-9747-9CF46BA27D14}" srcId="{795A3F0E-4FC8-4945-8009-555E19ED18FF}" destId="{77299500-D88A-4542-AEE5-CB6FF1BFD548}" srcOrd="0" destOrd="0" parTransId="{FA27BDA4-B2B7-4513-BEBB-0FB08FE531FC}" sibTransId="{CAE19A9D-0D64-4663-B872-E58D5EAD95E9}"/>
    <dgm:cxn modelId="{7CD86BB6-B6E0-47A8-BCA9-5774148702DD}" type="presParOf" srcId="{B356702E-3453-4AEC-9666-506CC26539D5}" destId="{96A5F972-8150-4AEF-8CA5-15E5FB4FC120}" srcOrd="0" destOrd="0" presId="urn:microsoft.com/office/officeart/2005/8/layout/lProcess2"/>
    <dgm:cxn modelId="{B0B7F9D4-9F46-4678-A3C2-BB60CD2FAC4D}" type="presParOf" srcId="{96A5F972-8150-4AEF-8CA5-15E5FB4FC120}" destId="{44146E63-22C6-4EFA-A616-A8FE8582B553}" srcOrd="0" destOrd="0" presId="urn:microsoft.com/office/officeart/2005/8/layout/lProcess2"/>
    <dgm:cxn modelId="{341AE904-75D2-4DC4-8077-FFE508AA05B9}" type="presParOf" srcId="{96A5F972-8150-4AEF-8CA5-15E5FB4FC120}" destId="{372A74F0-3D55-473B-A377-C6B21A2992E3}" srcOrd="1" destOrd="0" presId="urn:microsoft.com/office/officeart/2005/8/layout/lProcess2"/>
    <dgm:cxn modelId="{B3FEDAD8-61B2-4EF3-A7CD-5C9985E29A3F}" type="presParOf" srcId="{96A5F972-8150-4AEF-8CA5-15E5FB4FC120}" destId="{DD7FC14A-EFB3-4C18-8DDB-F836603CA83A}" srcOrd="2" destOrd="0" presId="urn:microsoft.com/office/officeart/2005/8/layout/lProcess2"/>
    <dgm:cxn modelId="{CC908BB0-717D-4CCB-BE27-65A5B7A16572}" type="presParOf" srcId="{DD7FC14A-EFB3-4C18-8DDB-F836603CA83A}" destId="{7E9D41A3-1D6E-480F-97D8-2B79475F0696}" srcOrd="0" destOrd="0" presId="urn:microsoft.com/office/officeart/2005/8/layout/lProcess2"/>
    <dgm:cxn modelId="{C80424A8-E786-43B2-BB28-B31D1A1865A4}" type="presParOf" srcId="{7E9D41A3-1D6E-480F-97D8-2B79475F0696}" destId="{769CD911-851B-4A9D-84C2-1A6EF7E26C03}" srcOrd="0" destOrd="0" presId="urn:microsoft.com/office/officeart/2005/8/layout/lProcess2"/>
    <dgm:cxn modelId="{1CBB67D2-07D6-4E25-8D5D-ED2237EDE3AF}" type="presParOf" srcId="{7E9D41A3-1D6E-480F-97D8-2B79475F0696}" destId="{F18474D3-A57C-4E52-8C7D-B7DEB4560098}" srcOrd="1" destOrd="0" presId="urn:microsoft.com/office/officeart/2005/8/layout/lProcess2"/>
    <dgm:cxn modelId="{944F596C-C534-42F5-B114-4C7981ADF990}" type="presParOf" srcId="{7E9D41A3-1D6E-480F-97D8-2B79475F0696}" destId="{821AD06B-5542-4E96-A585-B08A138407C7}" srcOrd="2" destOrd="0" presId="urn:microsoft.com/office/officeart/2005/8/layout/l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B73820A-7507-48CD-9C1E-7790508A64DE}" type="doc">
      <dgm:prSet loTypeId="urn:microsoft.com/office/officeart/2005/8/layout/venn1" loCatId="relationship" qsTypeId="urn:microsoft.com/office/officeart/2005/8/quickstyle/simple1" qsCatId="simple" csTypeId="urn:microsoft.com/office/officeart/2005/8/colors/accent3_4" csCatId="accent3" phldr="1"/>
      <dgm:spPr/>
      <dgm:t>
        <a:bodyPr/>
        <a:lstStyle/>
        <a:p>
          <a:endParaRPr lang="fr-CH"/>
        </a:p>
      </dgm:t>
    </dgm:pt>
    <dgm:pt modelId="{6B9ECF2F-932B-42A9-A7A1-970044F044E5}">
      <dgm:prSet/>
      <dgm:spPr/>
      <dgm:t>
        <a:bodyPr/>
        <a:lstStyle/>
        <a:p>
          <a:r>
            <a:rPr lang="fr-FR" b="1" dirty="0">
              <a:solidFill>
                <a:schemeClr val="bg1"/>
              </a:solidFill>
            </a:rPr>
            <a:t>Viol</a:t>
          </a:r>
        </a:p>
      </dgm:t>
    </dgm:pt>
    <dgm:pt modelId="{6CA81F36-D640-458F-A9B4-A621507B852C}" type="parTrans" cxnId="{5A68264F-A051-493D-A4C2-DB7159F2FEFD}">
      <dgm:prSet/>
      <dgm:spPr/>
      <dgm:t>
        <a:bodyPr/>
        <a:lstStyle/>
        <a:p>
          <a:endParaRPr lang="fr-CH"/>
        </a:p>
      </dgm:t>
    </dgm:pt>
    <dgm:pt modelId="{43D887D6-201B-4F98-BF45-EE103DDD87D9}" type="sibTrans" cxnId="{5A68264F-A051-493D-A4C2-DB7159F2FEFD}">
      <dgm:prSet/>
      <dgm:spPr/>
      <dgm:t>
        <a:bodyPr/>
        <a:lstStyle/>
        <a:p>
          <a:endParaRPr lang="fr-CH"/>
        </a:p>
      </dgm:t>
    </dgm:pt>
    <dgm:pt modelId="{FAD2AB5A-CBC1-4D67-816E-9802313E8866}">
      <dgm:prSet/>
      <dgm:spPr/>
      <dgm:t>
        <a:bodyPr/>
        <a:lstStyle/>
        <a:p>
          <a:r>
            <a:rPr lang="fr-FR" b="1" dirty="0">
              <a:solidFill>
                <a:schemeClr val="bg1"/>
              </a:solidFill>
            </a:rPr>
            <a:t>Avortement forcé</a:t>
          </a:r>
        </a:p>
      </dgm:t>
    </dgm:pt>
    <dgm:pt modelId="{602A5363-D6EC-4011-B219-9643AC8DFF40}" type="parTrans" cxnId="{01B2092D-C75F-4D6C-86BA-CA53E6C8D9B2}">
      <dgm:prSet/>
      <dgm:spPr/>
      <dgm:t>
        <a:bodyPr/>
        <a:lstStyle/>
        <a:p>
          <a:endParaRPr lang="fr-CH"/>
        </a:p>
      </dgm:t>
    </dgm:pt>
    <dgm:pt modelId="{E5D7A9E8-DECD-4F3A-993D-2A9BD53F71EA}" type="sibTrans" cxnId="{01B2092D-C75F-4D6C-86BA-CA53E6C8D9B2}">
      <dgm:prSet/>
      <dgm:spPr/>
      <dgm:t>
        <a:bodyPr/>
        <a:lstStyle/>
        <a:p>
          <a:endParaRPr lang="fr-CH"/>
        </a:p>
      </dgm:t>
    </dgm:pt>
    <dgm:pt modelId="{95C0D419-5B39-4EB7-A495-8EED06019E5F}">
      <dgm:prSet/>
      <dgm:spPr/>
      <dgm:t>
        <a:bodyPr/>
        <a:lstStyle/>
        <a:p>
          <a:r>
            <a:rPr lang="fr-FR" b="1" dirty="0">
              <a:solidFill>
                <a:schemeClr val="bg1"/>
              </a:solidFill>
            </a:rPr>
            <a:t>Grossesse forcée</a:t>
          </a:r>
        </a:p>
      </dgm:t>
    </dgm:pt>
    <dgm:pt modelId="{67D87BFC-B724-49F7-A7E0-E8B6A99A6F7A}" type="parTrans" cxnId="{005CA40B-F4C8-4A87-BDEC-A49427BB7E1E}">
      <dgm:prSet/>
      <dgm:spPr/>
      <dgm:t>
        <a:bodyPr/>
        <a:lstStyle/>
        <a:p>
          <a:endParaRPr lang="fr-CH"/>
        </a:p>
      </dgm:t>
    </dgm:pt>
    <dgm:pt modelId="{892F02A0-8974-436E-A848-AD2187C68BBF}" type="sibTrans" cxnId="{005CA40B-F4C8-4A87-BDEC-A49427BB7E1E}">
      <dgm:prSet/>
      <dgm:spPr/>
      <dgm:t>
        <a:bodyPr/>
        <a:lstStyle/>
        <a:p>
          <a:endParaRPr lang="fr-CH"/>
        </a:p>
      </dgm:t>
    </dgm:pt>
    <dgm:pt modelId="{1698E134-8D4A-470F-82D6-EFCB6658A1B0}">
      <dgm:prSet/>
      <dgm:spPr/>
      <dgm:t>
        <a:bodyPr/>
        <a:lstStyle/>
        <a:p>
          <a:r>
            <a:rPr lang="fr-FR" b="1" dirty="0">
              <a:solidFill>
                <a:schemeClr val="bg1"/>
              </a:solidFill>
            </a:rPr>
            <a:t>Stérilisation forcée</a:t>
          </a:r>
        </a:p>
      </dgm:t>
    </dgm:pt>
    <dgm:pt modelId="{0B0D1252-BA41-42A8-8EE1-10A09590AD84}" type="parTrans" cxnId="{0CB1F6E8-F35F-42C9-8413-0F208573F294}">
      <dgm:prSet/>
      <dgm:spPr/>
      <dgm:t>
        <a:bodyPr/>
        <a:lstStyle/>
        <a:p>
          <a:endParaRPr lang="fr-CH"/>
        </a:p>
      </dgm:t>
    </dgm:pt>
    <dgm:pt modelId="{9362A45F-C923-4A2A-B713-7C80E18F50E0}" type="sibTrans" cxnId="{0CB1F6E8-F35F-42C9-8413-0F208573F294}">
      <dgm:prSet/>
      <dgm:spPr/>
      <dgm:t>
        <a:bodyPr/>
        <a:lstStyle/>
        <a:p>
          <a:endParaRPr lang="fr-CH"/>
        </a:p>
      </dgm:t>
    </dgm:pt>
    <dgm:pt modelId="{1B21B256-DFAF-491F-9D1A-315DD17EC004}">
      <dgm:prSet/>
      <dgm:spPr/>
      <dgm:t>
        <a:bodyPr/>
        <a:lstStyle/>
        <a:p>
          <a:r>
            <a:rPr lang="fr-FR" b="1" dirty="0">
              <a:solidFill>
                <a:schemeClr val="bg1"/>
              </a:solidFill>
            </a:rPr>
            <a:t>Esclavage sexuel </a:t>
          </a:r>
        </a:p>
      </dgm:t>
    </dgm:pt>
    <dgm:pt modelId="{905CBE9C-7A9A-491F-B8F1-481CB2C735F4}" type="parTrans" cxnId="{2C672550-347F-4EDA-BC2C-FBEAA9147CA0}">
      <dgm:prSet/>
      <dgm:spPr/>
      <dgm:t>
        <a:bodyPr/>
        <a:lstStyle/>
        <a:p>
          <a:endParaRPr lang="fr-CH"/>
        </a:p>
      </dgm:t>
    </dgm:pt>
    <dgm:pt modelId="{39F69521-20D6-4AC5-9A44-25D5D0B8E394}" type="sibTrans" cxnId="{2C672550-347F-4EDA-BC2C-FBEAA9147CA0}">
      <dgm:prSet/>
      <dgm:spPr/>
      <dgm:t>
        <a:bodyPr/>
        <a:lstStyle/>
        <a:p>
          <a:endParaRPr lang="fr-CH"/>
        </a:p>
      </dgm:t>
    </dgm:pt>
    <dgm:pt modelId="{222FADA1-7B09-48E9-9202-4E059D3ED26D}">
      <dgm:prSet/>
      <dgm:spPr/>
      <dgm:t>
        <a:bodyPr/>
        <a:lstStyle/>
        <a:p>
          <a:r>
            <a:rPr lang="fr-FR" b="1" dirty="0">
              <a:solidFill>
                <a:schemeClr val="bg1"/>
              </a:solidFill>
            </a:rPr>
            <a:t>Nudité forcée</a:t>
          </a:r>
        </a:p>
      </dgm:t>
    </dgm:pt>
    <dgm:pt modelId="{9673C828-A3E2-4BDD-BEF1-2F2200029035}" type="parTrans" cxnId="{FA074D3E-8457-4735-B582-A24CEF4BF8CE}">
      <dgm:prSet/>
      <dgm:spPr/>
      <dgm:t>
        <a:bodyPr/>
        <a:lstStyle/>
        <a:p>
          <a:endParaRPr lang="fr-CH"/>
        </a:p>
      </dgm:t>
    </dgm:pt>
    <dgm:pt modelId="{3D796041-A2AA-4E8D-B99D-13ECF6EACEEF}" type="sibTrans" cxnId="{FA074D3E-8457-4735-B582-A24CEF4BF8CE}">
      <dgm:prSet/>
      <dgm:spPr/>
      <dgm:t>
        <a:bodyPr/>
        <a:lstStyle/>
        <a:p>
          <a:endParaRPr lang="fr-CH"/>
        </a:p>
      </dgm:t>
    </dgm:pt>
    <dgm:pt modelId="{49CBF615-53A4-4135-9578-624C373ABB49}">
      <dgm:prSet/>
      <dgm:spPr/>
      <dgm:t>
        <a:bodyPr/>
        <a:lstStyle/>
        <a:p>
          <a:r>
            <a:rPr lang="fr-FR" b="1" dirty="0">
              <a:solidFill>
                <a:schemeClr val="bg1"/>
              </a:solidFill>
            </a:rPr>
            <a:t>Contrainte de commettre des violences sexuelles</a:t>
          </a:r>
        </a:p>
      </dgm:t>
    </dgm:pt>
    <dgm:pt modelId="{0C8E7933-B19D-4978-A989-D786363BDD03}" type="parTrans" cxnId="{B0EDB317-6691-4181-B883-3F9C756AEACE}">
      <dgm:prSet/>
      <dgm:spPr/>
      <dgm:t>
        <a:bodyPr/>
        <a:lstStyle/>
        <a:p>
          <a:endParaRPr lang="fr-CH"/>
        </a:p>
      </dgm:t>
    </dgm:pt>
    <dgm:pt modelId="{0C5AC545-8693-4129-92DB-458D896278B7}" type="sibTrans" cxnId="{B0EDB317-6691-4181-B883-3F9C756AEACE}">
      <dgm:prSet/>
      <dgm:spPr/>
      <dgm:t>
        <a:bodyPr/>
        <a:lstStyle/>
        <a:p>
          <a:endParaRPr lang="fr-CH"/>
        </a:p>
      </dgm:t>
    </dgm:pt>
    <dgm:pt modelId="{03CE3197-B261-43C8-A86D-C218ADA51C69}" type="pres">
      <dgm:prSet presAssocID="{DB73820A-7507-48CD-9C1E-7790508A64DE}" presName="compositeShape" presStyleCnt="0">
        <dgm:presLayoutVars>
          <dgm:chMax val="7"/>
          <dgm:dir/>
          <dgm:resizeHandles val="exact"/>
        </dgm:presLayoutVars>
      </dgm:prSet>
      <dgm:spPr/>
    </dgm:pt>
    <dgm:pt modelId="{C35192C7-535E-4749-844D-6125B47AE21C}" type="pres">
      <dgm:prSet presAssocID="{6B9ECF2F-932B-42A9-A7A1-970044F044E5}" presName="circ1" presStyleLbl="vennNode1" presStyleIdx="0" presStyleCnt="7"/>
      <dgm:spPr/>
    </dgm:pt>
    <dgm:pt modelId="{B806BAFF-C034-4AB6-A8E2-585E444904F7}" type="pres">
      <dgm:prSet presAssocID="{6B9ECF2F-932B-42A9-A7A1-970044F044E5}" presName="circ1Tx" presStyleLbl="revTx" presStyleIdx="0" presStyleCnt="0">
        <dgm:presLayoutVars>
          <dgm:chMax val="0"/>
          <dgm:chPref val="0"/>
          <dgm:bulletEnabled val="1"/>
        </dgm:presLayoutVars>
      </dgm:prSet>
      <dgm:spPr/>
    </dgm:pt>
    <dgm:pt modelId="{F6E65F0A-E509-42B9-A19B-7CDF0E4BD87D}" type="pres">
      <dgm:prSet presAssocID="{FAD2AB5A-CBC1-4D67-816E-9802313E8866}" presName="circ2" presStyleLbl="vennNode1" presStyleIdx="1" presStyleCnt="7"/>
      <dgm:spPr/>
    </dgm:pt>
    <dgm:pt modelId="{A1E3668F-9228-44A9-A23A-6AE83D49A40C}" type="pres">
      <dgm:prSet presAssocID="{FAD2AB5A-CBC1-4D67-816E-9802313E8866}" presName="circ2Tx" presStyleLbl="revTx" presStyleIdx="0" presStyleCnt="0">
        <dgm:presLayoutVars>
          <dgm:chMax val="0"/>
          <dgm:chPref val="0"/>
          <dgm:bulletEnabled val="1"/>
        </dgm:presLayoutVars>
      </dgm:prSet>
      <dgm:spPr/>
    </dgm:pt>
    <dgm:pt modelId="{4A7B76A0-D997-453B-B74B-ECFBA47CBA9C}" type="pres">
      <dgm:prSet presAssocID="{95C0D419-5B39-4EB7-A495-8EED06019E5F}" presName="circ3" presStyleLbl="vennNode1" presStyleIdx="2" presStyleCnt="7"/>
      <dgm:spPr/>
    </dgm:pt>
    <dgm:pt modelId="{1B128F98-F40F-462C-B950-53F38323D3BE}" type="pres">
      <dgm:prSet presAssocID="{95C0D419-5B39-4EB7-A495-8EED06019E5F}" presName="circ3Tx" presStyleLbl="revTx" presStyleIdx="0" presStyleCnt="0">
        <dgm:presLayoutVars>
          <dgm:chMax val="0"/>
          <dgm:chPref val="0"/>
          <dgm:bulletEnabled val="1"/>
        </dgm:presLayoutVars>
      </dgm:prSet>
      <dgm:spPr/>
    </dgm:pt>
    <dgm:pt modelId="{BBC4D3A1-EE25-4230-8AF2-46800931A7FB}" type="pres">
      <dgm:prSet presAssocID="{1698E134-8D4A-470F-82D6-EFCB6658A1B0}" presName="circ4" presStyleLbl="vennNode1" presStyleIdx="3" presStyleCnt="7"/>
      <dgm:spPr/>
    </dgm:pt>
    <dgm:pt modelId="{B42127A9-4533-4928-9D7E-559579BB203E}" type="pres">
      <dgm:prSet presAssocID="{1698E134-8D4A-470F-82D6-EFCB6658A1B0}" presName="circ4Tx" presStyleLbl="revTx" presStyleIdx="0" presStyleCnt="0">
        <dgm:presLayoutVars>
          <dgm:chMax val="0"/>
          <dgm:chPref val="0"/>
          <dgm:bulletEnabled val="1"/>
        </dgm:presLayoutVars>
      </dgm:prSet>
      <dgm:spPr/>
    </dgm:pt>
    <dgm:pt modelId="{6A70CE1E-2FBA-4DB7-A230-ED79FACD0108}" type="pres">
      <dgm:prSet presAssocID="{1B21B256-DFAF-491F-9D1A-315DD17EC004}" presName="circ5" presStyleLbl="vennNode1" presStyleIdx="4" presStyleCnt="7"/>
      <dgm:spPr/>
    </dgm:pt>
    <dgm:pt modelId="{DAF67288-216B-4F03-A116-64C0C8DFE9F3}" type="pres">
      <dgm:prSet presAssocID="{1B21B256-DFAF-491F-9D1A-315DD17EC004}" presName="circ5Tx" presStyleLbl="revTx" presStyleIdx="0" presStyleCnt="0">
        <dgm:presLayoutVars>
          <dgm:chMax val="0"/>
          <dgm:chPref val="0"/>
          <dgm:bulletEnabled val="1"/>
        </dgm:presLayoutVars>
      </dgm:prSet>
      <dgm:spPr/>
    </dgm:pt>
    <dgm:pt modelId="{64686D94-A12F-4835-A0F6-ABD6D31C5E2C}" type="pres">
      <dgm:prSet presAssocID="{222FADA1-7B09-48E9-9202-4E059D3ED26D}" presName="circ6" presStyleLbl="vennNode1" presStyleIdx="5" presStyleCnt="7"/>
      <dgm:spPr/>
    </dgm:pt>
    <dgm:pt modelId="{6E2C500A-0E1B-4954-86B1-5B35FFE37BB1}" type="pres">
      <dgm:prSet presAssocID="{222FADA1-7B09-48E9-9202-4E059D3ED26D}" presName="circ6Tx" presStyleLbl="revTx" presStyleIdx="0" presStyleCnt="0">
        <dgm:presLayoutVars>
          <dgm:chMax val="0"/>
          <dgm:chPref val="0"/>
          <dgm:bulletEnabled val="1"/>
        </dgm:presLayoutVars>
      </dgm:prSet>
      <dgm:spPr/>
    </dgm:pt>
    <dgm:pt modelId="{DE24FB36-28D9-4FED-9E8E-264E4E34626F}" type="pres">
      <dgm:prSet presAssocID="{49CBF615-53A4-4135-9578-624C373ABB49}" presName="circ7" presStyleLbl="vennNode1" presStyleIdx="6" presStyleCnt="7"/>
      <dgm:spPr/>
    </dgm:pt>
    <dgm:pt modelId="{E6977D3B-8D4D-45A3-A3AC-6FB05954F68F}" type="pres">
      <dgm:prSet presAssocID="{49CBF615-53A4-4135-9578-624C373ABB49}" presName="circ7Tx" presStyleLbl="revTx" presStyleIdx="0" presStyleCnt="0">
        <dgm:presLayoutVars>
          <dgm:chMax val="0"/>
          <dgm:chPref val="0"/>
          <dgm:bulletEnabled val="1"/>
        </dgm:presLayoutVars>
      </dgm:prSet>
      <dgm:spPr/>
    </dgm:pt>
  </dgm:ptLst>
  <dgm:cxnLst>
    <dgm:cxn modelId="{005CA40B-F4C8-4A87-BDEC-A49427BB7E1E}" srcId="{DB73820A-7507-48CD-9C1E-7790508A64DE}" destId="{95C0D419-5B39-4EB7-A495-8EED06019E5F}" srcOrd="2" destOrd="0" parTransId="{67D87BFC-B724-49F7-A7E0-E8B6A99A6F7A}" sibTransId="{892F02A0-8974-436E-A848-AD2187C68BBF}"/>
    <dgm:cxn modelId="{B0EDB317-6691-4181-B883-3F9C756AEACE}" srcId="{DB73820A-7507-48CD-9C1E-7790508A64DE}" destId="{49CBF615-53A4-4135-9578-624C373ABB49}" srcOrd="6" destOrd="0" parTransId="{0C8E7933-B19D-4978-A989-D786363BDD03}" sibTransId="{0C5AC545-8693-4129-92DB-458D896278B7}"/>
    <dgm:cxn modelId="{01B2092D-C75F-4D6C-86BA-CA53E6C8D9B2}" srcId="{DB73820A-7507-48CD-9C1E-7790508A64DE}" destId="{FAD2AB5A-CBC1-4D67-816E-9802313E8866}" srcOrd="1" destOrd="0" parTransId="{602A5363-D6EC-4011-B219-9643AC8DFF40}" sibTransId="{E5D7A9E8-DECD-4F3A-993D-2A9BD53F71EA}"/>
    <dgm:cxn modelId="{FA074D3E-8457-4735-B582-A24CEF4BF8CE}" srcId="{DB73820A-7507-48CD-9C1E-7790508A64DE}" destId="{222FADA1-7B09-48E9-9202-4E059D3ED26D}" srcOrd="5" destOrd="0" parTransId="{9673C828-A3E2-4BDD-BEF1-2F2200029035}" sibTransId="{3D796041-A2AA-4E8D-B99D-13ECF6EACEEF}"/>
    <dgm:cxn modelId="{085A4F60-17DD-49D6-9A78-82252C51CDD6}" type="presOf" srcId="{1B21B256-DFAF-491F-9D1A-315DD17EC004}" destId="{DAF67288-216B-4F03-A116-64C0C8DFE9F3}" srcOrd="0" destOrd="0" presId="urn:microsoft.com/office/officeart/2005/8/layout/venn1"/>
    <dgm:cxn modelId="{2AA18941-2E17-4EAC-B242-F05D02A6C259}" type="presOf" srcId="{1698E134-8D4A-470F-82D6-EFCB6658A1B0}" destId="{B42127A9-4533-4928-9D7E-559579BB203E}" srcOrd="0" destOrd="0" presId="urn:microsoft.com/office/officeart/2005/8/layout/venn1"/>
    <dgm:cxn modelId="{0657E646-BBFE-40BC-B100-8CDADB712414}" type="presOf" srcId="{222FADA1-7B09-48E9-9202-4E059D3ED26D}" destId="{6E2C500A-0E1B-4954-86B1-5B35FFE37BB1}" srcOrd="0" destOrd="0" presId="urn:microsoft.com/office/officeart/2005/8/layout/venn1"/>
    <dgm:cxn modelId="{5A68264F-A051-493D-A4C2-DB7159F2FEFD}" srcId="{DB73820A-7507-48CD-9C1E-7790508A64DE}" destId="{6B9ECF2F-932B-42A9-A7A1-970044F044E5}" srcOrd="0" destOrd="0" parTransId="{6CA81F36-D640-458F-A9B4-A621507B852C}" sibTransId="{43D887D6-201B-4F98-BF45-EE103DDD87D9}"/>
    <dgm:cxn modelId="{2C672550-347F-4EDA-BC2C-FBEAA9147CA0}" srcId="{DB73820A-7507-48CD-9C1E-7790508A64DE}" destId="{1B21B256-DFAF-491F-9D1A-315DD17EC004}" srcOrd="4" destOrd="0" parTransId="{905CBE9C-7A9A-491F-B8F1-481CB2C735F4}" sibTransId="{39F69521-20D6-4AC5-9A44-25D5D0B8E394}"/>
    <dgm:cxn modelId="{D39BE752-749E-4F51-91AB-D9E6901DBB04}" type="presOf" srcId="{6B9ECF2F-932B-42A9-A7A1-970044F044E5}" destId="{B806BAFF-C034-4AB6-A8E2-585E444904F7}" srcOrd="0" destOrd="0" presId="urn:microsoft.com/office/officeart/2005/8/layout/venn1"/>
    <dgm:cxn modelId="{F63E1C57-7996-442C-883B-D5DB585F6741}" type="presOf" srcId="{49CBF615-53A4-4135-9578-624C373ABB49}" destId="{E6977D3B-8D4D-45A3-A3AC-6FB05954F68F}" srcOrd="0" destOrd="0" presId="urn:microsoft.com/office/officeart/2005/8/layout/venn1"/>
    <dgm:cxn modelId="{1D9302B1-029B-4AD6-94E7-48FC7F3830A3}" type="presOf" srcId="{95C0D419-5B39-4EB7-A495-8EED06019E5F}" destId="{1B128F98-F40F-462C-B950-53F38323D3BE}" srcOrd="0" destOrd="0" presId="urn:microsoft.com/office/officeart/2005/8/layout/venn1"/>
    <dgm:cxn modelId="{B5564DC1-30D7-4C47-8240-2A75D89EE7C2}" type="presOf" srcId="{FAD2AB5A-CBC1-4D67-816E-9802313E8866}" destId="{A1E3668F-9228-44A9-A23A-6AE83D49A40C}" srcOrd="0" destOrd="0" presId="urn:microsoft.com/office/officeart/2005/8/layout/venn1"/>
    <dgm:cxn modelId="{0CB1F6E8-F35F-42C9-8413-0F208573F294}" srcId="{DB73820A-7507-48CD-9C1E-7790508A64DE}" destId="{1698E134-8D4A-470F-82D6-EFCB6658A1B0}" srcOrd="3" destOrd="0" parTransId="{0B0D1252-BA41-42A8-8EE1-10A09590AD84}" sibTransId="{9362A45F-C923-4A2A-B713-7C80E18F50E0}"/>
    <dgm:cxn modelId="{C61A00FE-7001-4A64-91F8-C52B6E879316}" type="presOf" srcId="{DB73820A-7507-48CD-9C1E-7790508A64DE}" destId="{03CE3197-B261-43C8-A86D-C218ADA51C69}" srcOrd="0" destOrd="0" presId="urn:microsoft.com/office/officeart/2005/8/layout/venn1"/>
    <dgm:cxn modelId="{5FDBD063-56FD-483B-898B-F6231D2E948B}" type="presParOf" srcId="{03CE3197-B261-43C8-A86D-C218ADA51C69}" destId="{C35192C7-535E-4749-844D-6125B47AE21C}" srcOrd="0" destOrd="0" presId="urn:microsoft.com/office/officeart/2005/8/layout/venn1"/>
    <dgm:cxn modelId="{7EE5C9A0-D026-41F4-BB71-864E49AA1941}" type="presParOf" srcId="{03CE3197-B261-43C8-A86D-C218ADA51C69}" destId="{B806BAFF-C034-4AB6-A8E2-585E444904F7}" srcOrd="1" destOrd="0" presId="urn:microsoft.com/office/officeart/2005/8/layout/venn1"/>
    <dgm:cxn modelId="{DC463AC5-A5C0-4597-BCC8-DFA5709167E7}" type="presParOf" srcId="{03CE3197-B261-43C8-A86D-C218ADA51C69}" destId="{F6E65F0A-E509-42B9-A19B-7CDF0E4BD87D}" srcOrd="2" destOrd="0" presId="urn:microsoft.com/office/officeart/2005/8/layout/venn1"/>
    <dgm:cxn modelId="{C9C873C5-A711-4DB6-8D83-9337392AE13F}" type="presParOf" srcId="{03CE3197-B261-43C8-A86D-C218ADA51C69}" destId="{A1E3668F-9228-44A9-A23A-6AE83D49A40C}" srcOrd="3" destOrd="0" presId="urn:microsoft.com/office/officeart/2005/8/layout/venn1"/>
    <dgm:cxn modelId="{269C02DB-F8ED-45EB-8C67-A3C869910555}" type="presParOf" srcId="{03CE3197-B261-43C8-A86D-C218ADA51C69}" destId="{4A7B76A0-D997-453B-B74B-ECFBA47CBA9C}" srcOrd="4" destOrd="0" presId="urn:microsoft.com/office/officeart/2005/8/layout/venn1"/>
    <dgm:cxn modelId="{FD180D0F-A7C3-4D81-9B04-C0A5CAE6CFBB}" type="presParOf" srcId="{03CE3197-B261-43C8-A86D-C218ADA51C69}" destId="{1B128F98-F40F-462C-B950-53F38323D3BE}" srcOrd="5" destOrd="0" presId="urn:microsoft.com/office/officeart/2005/8/layout/venn1"/>
    <dgm:cxn modelId="{43EF7238-5F41-4511-8EEE-7C200264443B}" type="presParOf" srcId="{03CE3197-B261-43C8-A86D-C218ADA51C69}" destId="{BBC4D3A1-EE25-4230-8AF2-46800931A7FB}" srcOrd="6" destOrd="0" presId="urn:microsoft.com/office/officeart/2005/8/layout/venn1"/>
    <dgm:cxn modelId="{61E7C8BA-F127-4E3B-8221-CF34CE665EED}" type="presParOf" srcId="{03CE3197-B261-43C8-A86D-C218ADA51C69}" destId="{B42127A9-4533-4928-9D7E-559579BB203E}" srcOrd="7" destOrd="0" presId="urn:microsoft.com/office/officeart/2005/8/layout/venn1"/>
    <dgm:cxn modelId="{7B014628-C7CA-4EE7-8688-FADE32FCFB6A}" type="presParOf" srcId="{03CE3197-B261-43C8-A86D-C218ADA51C69}" destId="{6A70CE1E-2FBA-4DB7-A230-ED79FACD0108}" srcOrd="8" destOrd="0" presId="urn:microsoft.com/office/officeart/2005/8/layout/venn1"/>
    <dgm:cxn modelId="{6D6A3158-0BEB-469D-896B-745290DBB2E3}" type="presParOf" srcId="{03CE3197-B261-43C8-A86D-C218ADA51C69}" destId="{DAF67288-216B-4F03-A116-64C0C8DFE9F3}" srcOrd="9" destOrd="0" presId="urn:microsoft.com/office/officeart/2005/8/layout/venn1"/>
    <dgm:cxn modelId="{01409DA4-A051-4D79-B2FD-D272A61EF3F4}" type="presParOf" srcId="{03CE3197-B261-43C8-A86D-C218ADA51C69}" destId="{64686D94-A12F-4835-A0F6-ABD6D31C5E2C}" srcOrd="10" destOrd="0" presId="urn:microsoft.com/office/officeart/2005/8/layout/venn1"/>
    <dgm:cxn modelId="{1E20029B-656C-4CFB-BE51-959E06404AC4}" type="presParOf" srcId="{03CE3197-B261-43C8-A86D-C218ADA51C69}" destId="{6E2C500A-0E1B-4954-86B1-5B35FFE37BB1}" srcOrd="11" destOrd="0" presId="urn:microsoft.com/office/officeart/2005/8/layout/venn1"/>
    <dgm:cxn modelId="{73A339EF-E50D-4A6A-B049-298C02EF6B69}" type="presParOf" srcId="{03CE3197-B261-43C8-A86D-C218ADA51C69}" destId="{DE24FB36-28D9-4FED-9E8E-264E4E34626F}" srcOrd="12" destOrd="0" presId="urn:microsoft.com/office/officeart/2005/8/layout/venn1"/>
    <dgm:cxn modelId="{AC2EF45A-E408-445F-96E6-4AEE8D5F6AEC}" type="presParOf" srcId="{03CE3197-B261-43C8-A86D-C218ADA51C69}" destId="{E6977D3B-8D4D-45A3-A3AC-6FB05954F68F}" srcOrd="13" destOrd="0" presId="urn:microsoft.com/office/officeart/2005/8/layout/venn1"/>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3.xml><?xml version="1.0" encoding="utf-8"?>
<dgm:dataModel xmlns:dgm="http://schemas.openxmlformats.org/drawingml/2006/diagram" xmlns:a="http://schemas.openxmlformats.org/drawingml/2006/main">
  <dgm:ptLst>
    <dgm:pt modelId="{033A1319-8EE6-4694-B9B9-14692E9B930D}" type="doc">
      <dgm:prSet loTypeId="urn:microsoft.com/office/officeart/2005/8/layout/architecture" loCatId="hierarchy" qsTypeId="urn:microsoft.com/office/officeart/2005/8/quickstyle/simple1" qsCatId="simple" csTypeId="urn:microsoft.com/office/officeart/2005/8/colors/accent1_2" csCatId="accent1" phldr="1"/>
      <dgm:spPr/>
      <dgm:t>
        <a:bodyPr/>
        <a:lstStyle/>
        <a:p>
          <a:endParaRPr lang="fr-CH"/>
        </a:p>
      </dgm:t>
    </dgm:pt>
    <dgm:pt modelId="{5362430F-1388-4BFF-8A67-A10CF54B128A}">
      <dgm:prSet/>
      <dgm:spPr>
        <a:solidFill>
          <a:srgbClr val="4D7568"/>
        </a:solidFill>
      </dgm:spPr>
      <dgm:t>
        <a:bodyPr/>
        <a:lstStyle/>
        <a:p>
          <a:r>
            <a:rPr lang="fr-FR" b="1" dirty="0"/>
            <a:t>Perturbation de la sécurité de la famille et des réseaux communautaires (p. ex. séparation des membres de la famille)</a:t>
          </a:r>
        </a:p>
      </dgm:t>
    </dgm:pt>
    <dgm:pt modelId="{470CE0CC-3EAA-4C78-8CD0-6E94B6D310D6}" type="parTrans" cxnId="{0997747D-8DF9-417A-8CDD-CE1CB7E78F5C}">
      <dgm:prSet/>
      <dgm:spPr/>
      <dgm:t>
        <a:bodyPr/>
        <a:lstStyle/>
        <a:p>
          <a:endParaRPr lang="fr-CH"/>
        </a:p>
      </dgm:t>
    </dgm:pt>
    <dgm:pt modelId="{26653D0F-AB1E-499A-9122-9AD5EE0174EA}" type="sibTrans" cxnId="{0997747D-8DF9-417A-8CDD-CE1CB7E78F5C}">
      <dgm:prSet/>
      <dgm:spPr/>
      <dgm:t>
        <a:bodyPr/>
        <a:lstStyle/>
        <a:p>
          <a:endParaRPr lang="fr-CH"/>
        </a:p>
      </dgm:t>
    </dgm:pt>
    <dgm:pt modelId="{753C611B-90E5-4306-A656-F92CADC2BCA5}">
      <dgm:prSet/>
      <dgm:spPr>
        <a:solidFill>
          <a:srgbClr val="4D7568"/>
        </a:solidFill>
      </dgm:spPr>
      <dgm:t>
        <a:bodyPr/>
        <a:lstStyle/>
        <a:p>
          <a:r>
            <a:rPr lang="fr-FR" b="1" dirty="0"/>
            <a:t>Augmentation des situations d’insécurité, y compris sur les routes migratoires, pendant la fuite et dans les camps de personnes réfugiées ou déplacées</a:t>
          </a:r>
        </a:p>
      </dgm:t>
    </dgm:pt>
    <dgm:pt modelId="{150C0A2D-04C4-40C7-8049-4E3FEE88F817}" type="parTrans" cxnId="{5F872FD5-E406-4D8B-BFAD-9FA907A6B5A4}">
      <dgm:prSet/>
      <dgm:spPr/>
      <dgm:t>
        <a:bodyPr/>
        <a:lstStyle/>
        <a:p>
          <a:endParaRPr lang="fr-CH"/>
        </a:p>
      </dgm:t>
    </dgm:pt>
    <dgm:pt modelId="{1DE26953-B1DD-4243-9D5D-9F50E99F9486}" type="sibTrans" cxnId="{5F872FD5-E406-4D8B-BFAD-9FA907A6B5A4}">
      <dgm:prSet/>
      <dgm:spPr/>
      <dgm:t>
        <a:bodyPr/>
        <a:lstStyle/>
        <a:p>
          <a:endParaRPr lang="fr-CH"/>
        </a:p>
      </dgm:t>
    </dgm:pt>
    <dgm:pt modelId="{BA00109E-4B4D-4C99-9862-D4A4798153EE}">
      <dgm:prSet/>
      <dgm:spPr>
        <a:solidFill>
          <a:srgbClr val="4D7568"/>
        </a:solidFill>
      </dgm:spPr>
      <dgm:t>
        <a:bodyPr/>
        <a:lstStyle/>
        <a:p>
          <a:r>
            <a:rPr lang="fr-FR" b="1" dirty="0"/>
            <a:t>Interruption ou effondrement des services et activités de soutien normales (p. ex. SMSPS et autres soins de santé)</a:t>
          </a:r>
        </a:p>
      </dgm:t>
    </dgm:pt>
    <dgm:pt modelId="{52F67F69-A730-4BD6-BECF-4E2B9565050D}" type="parTrans" cxnId="{E88CDF14-7344-4B0F-97E0-3F881CBC9535}">
      <dgm:prSet/>
      <dgm:spPr/>
      <dgm:t>
        <a:bodyPr/>
        <a:lstStyle/>
        <a:p>
          <a:endParaRPr lang="fr-CH"/>
        </a:p>
      </dgm:t>
    </dgm:pt>
    <dgm:pt modelId="{34826CE1-680B-472A-9EE8-27F4ED7F4CF6}" type="sibTrans" cxnId="{E88CDF14-7344-4B0F-97E0-3F881CBC9535}">
      <dgm:prSet/>
      <dgm:spPr/>
      <dgm:t>
        <a:bodyPr/>
        <a:lstStyle/>
        <a:p>
          <a:endParaRPr lang="fr-CH"/>
        </a:p>
      </dgm:t>
    </dgm:pt>
    <dgm:pt modelId="{8E4DE1A3-F062-4FD8-A44A-6EBB0E4DB6BB}">
      <dgm:prSet/>
      <dgm:spPr>
        <a:solidFill>
          <a:srgbClr val="4D7568"/>
        </a:solidFill>
      </dgm:spPr>
      <dgm:t>
        <a:bodyPr/>
        <a:lstStyle/>
        <a:p>
          <a:r>
            <a:rPr lang="fr-FR" b="1" dirty="0"/>
            <a:t>Inégalités accrues et exacerbées de l’accès aux services, à l’information, à l’espace public et au processus décisionnel (pour certaines personnes, p. ex. en fonction du sexe, l’âge, la classe, l’appartenance ethnique)</a:t>
          </a:r>
        </a:p>
      </dgm:t>
    </dgm:pt>
    <dgm:pt modelId="{7E6C96BB-5BC2-4626-8DC2-A4175B49F40C}" type="parTrans" cxnId="{B45CB499-3AD1-4DF1-BE70-B24F4BC1A723}">
      <dgm:prSet/>
      <dgm:spPr/>
      <dgm:t>
        <a:bodyPr/>
        <a:lstStyle/>
        <a:p>
          <a:endParaRPr lang="fr-CH"/>
        </a:p>
      </dgm:t>
    </dgm:pt>
    <dgm:pt modelId="{67F0F10E-3FF4-485B-A4AB-D4A50352583D}" type="sibTrans" cxnId="{B45CB499-3AD1-4DF1-BE70-B24F4BC1A723}">
      <dgm:prSet/>
      <dgm:spPr/>
      <dgm:t>
        <a:bodyPr/>
        <a:lstStyle/>
        <a:p>
          <a:endParaRPr lang="fr-CH"/>
        </a:p>
      </dgm:t>
    </dgm:pt>
    <dgm:pt modelId="{3C4D55CF-EBD0-412B-BC85-AFCA3C6EE3FB}">
      <dgm:prSet/>
      <dgm:spPr>
        <a:solidFill>
          <a:srgbClr val="4D7568"/>
        </a:solidFill>
      </dgm:spPr>
      <dgm:t>
        <a:bodyPr/>
        <a:lstStyle/>
        <a:p>
          <a:r>
            <a:rPr lang="fr-FR" b="1" dirty="0"/>
            <a:t>Facteurs de violence, tels que : abus de drogues et d’alcool accru, détresse et traumatisme, stress économique (ce ne sont cependant pas des causes profondes)</a:t>
          </a:r>
        </a:p>
      </dgm:t>
    </dgm:pt>
    <dgm:pt modelId="{4EFB8CAB-7ACA-4EC9-B0D8-0C97CB2B16C0}" type="parTrans" cxnId="{8966D901-0E8B-40CB-B39A-76BAF713E8BD}">
      <dgm:prSet/>
      <dgm:spPr/>
      <dgm:t>
        <a:bodyPr/>
        <a:lstStyle/>
        <a:p>
          <a:endParaRPr lang="fr-CH"/>
        </a:p>
      </dgm:t>
    </dgm:pt>
    <dgm:pt modelId="{72492FBD-0460-45D8-B3A7-F7CD068E5911}" type="sibTrans" cxnId="{8966D901-0E8B-40CB-B39A-76BAF713E8BD}">
      <dgm:prSet/>
      <dgm:spPr/>
      <dgm:t>
        <a:bodyPr/>
        <a:lstStyle/>
        <a:p>
          <a:endParaRPr lang="fr-CH"/>
        </a:p>
      </dgm:t>
    </dgm:pt>
    <dgm:pt modelId="{584D89FF-8712-4648-94B9-0497B451AF11}" type="pres">
      <dgm:prSet presAssocID="{033A1319-8EE6-4694-B9B9-14692E9B930D}" presName="Name0" presStyleCnt="0">
        <dgm:presLayoutVars>
          <dgm:chPref val="1"/>
          <dgm:dir/>
          <dgm:animOne val="branch"/>
          <dgm:animLvl val="lvl"/>
          <dgm:resizeHandles/>
        </dgm:presLayoutVars>
      </dgm:prSet>
      <dgm:spPr/>
    </dgm:pt>
    <dgm:pt modelId="{CFBB1BE5-2AC4-49B5-8931-63AD83A1C16A}" type="pres">
      <dgm:prSet presAssocID="{5362430F-1388-4BFF-8A67-A10CF54B128A}" presName="vertOne" presStyleCnt="0"/>
      <dgm:spPr/>
    </dgm:pt>
    <dgm:pt modelId="{B36B0931-A1A4-48FE-AAD4-F621EB8278D6}" type="pres">
      <dgm:prSet presAssocID="{5362430F-1388-4BFF-8A67-A10CF54B128A}" presName="txOne" presStyleLbl="node0" presStyleIdx="0" presStyleCnt="5">
        <dgm:presLayoutVars>
          <dgm:chPref val="3"/>
        </dgm:presLayoutVars>
      </dgm:prSet>
      <dgm:spPr/>
    </dgm:pt>
    <dgm:pt modelId="{23346AC4-419C-42EE-B6FA-33687FB62801}" type="pres">
      <dgm:prSet presAssocID="{5362430F-1388-4BFF-8A67-A10CF54B128A}" presName="horzOne" presStyleCnt="0"/>
      <dgm:spPr/>
    </dgm:pt>
    <dgm:pt modelId="{C6C01C04-327E-4D07-92E4-878438883973}" type="pres">
      <dgm:prSet presAssocID="{26653D0F-AB1E-499A-9122-9AD5EE0174EA}" presName="sibSpaceOne" presStyleCnt="0"/>
      <dgm:spPr/>
    </dgm:pt>
    <dgm:pt modelId="{741778FC-0276-4C44-8AF4-FC885B9DA350}" type="pres">
      <dgm:prSet presAssocID="{753C611B-90E5-4306-A656-F92CADC2BCA5}" presName="vertOne" presStyleCnt="0"/>
      <dgm:spPr/>
    </dgm:pt>
    <dgm:pt modelId="{DE472C77-EA39-4709-A84A-85524E429F5C}" type="pres">
      <dgm:prSet presAssocID="{753C611B-90E5-4306-A656-F92CADC2BCA5}" presName="txOne" presStyleLbl="node0" presStyleIdx="1" presStyleCnt="5">
        <dgm:presLayoutVars>
          <dgm:chPref val="3"/>
        </dgm:presLayoutVars>
      </dgm:prSet>
      <dgm:spPr/>
    </dgm:pt>
    <dgm:pt modelId="{58BE7999-4CFA-4999-9E80-B931E2B3BEB9}" type="pres">
      <dgm:prSet presAssocID="{753C611B-90E5-4306-A656-F92CADC2BCA5}" presName="horzOne" presStyleCnt="0"/>
      <dgm:spPr/>
    </dgm:pt>
    <dgm:pt modelId="{A31CE0D5-31BC-4839-882B-433A138B4FEC}" type="pres">
      <dgm:prSet presAssocID="{1DE26953-B1DD-4243-9D5D-9F50E99F9486}" presName="sibSpaceOne" presStyleCnt="0"/>
      <dgm:spPr/>
    </dgm:pt>
    <dgm:pt modelId="{EA648830-3257-414B-9519-DA34BDB36341}" type="pres">
      <dgm:prSet presAssocID="{BA00109E-4B4D-4C99-9862-D4A4798153EE}" presName="vertOne" presStyleCnt="0"/>
      <dgm:spPr/>
    </dgm:pt>
    <dgm:pt modelId="{67C1CC1D-67C6-4244-93B6-A83DD16D68F1}" type="pres">
      <dgm:prSet presAssocID="{BA00109E-4B4D-4C99-9862-D4A4798153EE}" presName="txOne" presStyleLbl="node0" presStyleIdx="2" presStyleCnt="5">
        <dgm:presLayoutVars>
          <dgm:chPref val="3"/>
        </dgm:presLayoutVars>
      </dgm:prSet>
      <dgm:spPr/>
    </dgm:pt>
    <dgm:pt modelId="{21D4DF24-E127-4964-85D7-6A802EF91D5C}" type="pres">
      <dgm:prSet presAssocID="{BA00109E-4B4D-4C99-9862-D4A4798153EE}" presName="horzOne" presStyleCnt="0"/>
      <dgm:spPr/>
    </dgm:pt>
    <dgm:pt modelId="{B2633391-8AB5-4F9A-B720-7DC1E29629AE}" type="pres">
      <dgm:prSet presAssocID="{34826CE1-680B-472A-9EE8-27F4ED7F4CF6}" presName="sibSpaceOne" presStyleCnt="0"/>
      <dgm:spPr/>
    </dgm:pt>
    <dgm:pt modelId="{6D323017-902C-4481-A620-1EAC7F15E163}" type="pres">
      <dgm:prSet presAssocID="{8E4DE1A3-F062-4FD8-A44A-6EBB0E4DB6BB}" presName="vertOne" presStyleCnt="0"/>
      <dgm:spPr/>
    </dgm:pt>
    <dgm:pt modelId="{724E5D7E-F478-45A4-9F25-BFA6B2AE9A4F}" type="pres">
      <dgm:prSet presAssocID="{8E4DE1A3-F062-4FD8-A44A-6EBB0E4DB6BB}" presName="txOne" presStyleLbl="node0" presStyleIdx="3" presStyleCnt="5">
        <dgm:presLayoutVars>
          <dgm:chPref val="3"/>
        </dgm:presLayoutVars>
      </dgm:prSet>
      <dgm:spPr/>
    </dgm:pt>
    <dgm:pt modelId="{958A00C3-7DFE-4454-AD08-DA70F41F0D7E}" type="pres">
      <dgm:prSet presAssocID="{8E4DE1A3-F062-4FD8-A44A-6EBB0E4DB6BB}" presName="horzOne" presStyleCnt="0"/>
      <dgm:spPr/>
    </dgm:pt>
    <dgm:pt modelId="{EAD97A72-027D-4A7F-81A9-339E1BAE2AA6}" type="pres">
      <dgm:prSet presAssocID="{67F0F10E-3FF4-485B-A4AB-D4A50352583D}" presName="sibSpaceOne" presStyleCnt="0"/>
      <dgm:spPr/>
    </dgm:pt>
    <dgm:pt modelId="{C967B103-9E66-414C-94FA-D026D08421A9}" type="pres">
      <dgm:prSet presAssocID="{3C4D55CF-EBD0-412B-BC85-AFCA3C6EE3FB}" presName="vertOne" presStyleCnt="0"/>
      <dgm:spPr/>
    </dgm:pt>
    <dgm:pt modelId="{C4286CA2-C3C3-4199-A62D-9E7D64B6900F}" type="pres">
      <dgm:prSet presAssocID="{3C4D55CF-EBD0-412B-BC85-AFCA3C6EE3FB}" presName="txOne" presStyleLbl="node0" presStyleIdx="4" presStyleCnt="5">
        <dgm:presLayoutVars>
          <dgm:chPref val="3"/>
        </dgm:presLayoutVars>
      </dgm:prSet>
      <dgm:spPr/>
    </dgm:pt>
    <dgm:pt modelId="{7EA3D960-1739-445D-AD7B-1939F51ECE06}" type="pres">
      <dgm:prSet presAssocID="{3C4D55CF-EBD0-412B-BC85-AFCA3C6EE3FB}" presName="horzOne" presStyleCnt="0"/>
      <dgm:spPr/>
    </dgm:pt>
  </dgm:ptLst>
  <dgm:cxnLst>
    <dgm:cxn modelId="{8966D901-0E8B-40CB-B39A-76BAF713E8BD}" srcId="{033A1319-8EE6-4694-B9B9-14692E9B930D}" destId="{3C4D55CF-EBD0-412B-BC85-AFCA3C6EE3FB}" srcOrd="4" destOrd="0" parTransId="{4EFB8CAB-7ACA-4EC9-B0D8-0C97CB2B16C0}" sibTransId="{72492FBD-0460-45D8-B3A7-F7CD068E5911}"/>
    <dgm:cxn modelId="{171E7009-7524-4475-9683-F0AA55A82B8C}" type="presOf" srcId="{5362430F-1388-4BFF-8A67-A10CF54B128A}" destId="{B36B0931-A1A4-48FE-AAD4-F621EB8278D6}" srcOrd="0" destOrd="0" presId="urn:microsoft.com/office/officeart/2005/8/layout/architecture"/>
    <dgm:cxn modelId="{E88CDF14-7344-4B0F-97E0-3F881CBC9535}" srcId="{033A1319-8EE6-4694-B9B9-14692E9B930D}" destId="{BA00109E-4B4D-4C99-9862-D4A4798153EE}" srcOrd="2" destOrd="0" parTransId="{52F67F69-A730-4BD6-BECF-4E2B9565050D}" sibTransId="{34826CE1-680B-472A-9EE8-27F4ED7F4CF6}"/>
    <dgm:cxn modelId="{C405EE3D-634E-4E67-878C-2276A537C224}" type="presOf" srcId="{3C4D55CF-EBD0-412B-BC85-AFCA3C6EE3FB}" destId="{C4286CA2-C3C3-4199-A62D-9E7D64B6900F}" srcOrd="0" destOrd="0" presId="urn:microsoft.com/office/officeart/2005/8/layout/architecture"/>
    <dgm:cxn modelId="{0997747D-8DF9-417A-8CDD-CE1CB7E78F5C}" srcId="{033A1319-8EE6-4694-B9B9-14692E9B930D}" destId="{5362430F-1388-4BFF-8A67-A10CF54B128A}" srcOrd="0" destOrd="0" parTransId="{470CE0CC-3EAA-4C78-8CD0-6E94B6D310D6}" sibTransId="{26653D0F-AB1E-499A-9122-9AD5EE0174EA}"/>
    <dgm:cxn modelId="{8CEC1691-E4E2-43F9-AEC3-C0476092AC6F}" type="presOf" srcId="{753C611B-90E5-4306-A656-F92CADC2BCA5}" destId="{DE472C77-EA39-4709-A84A-85524E429F5C}" srcOrd="0" destOrd="0" presId="urn:microsoft.com/office/officeart/2005/8/layout/architecture"/>
    <dgm:cxn modelId="{B45CB499-3AD1-4DF1-BE70-B24F4BC1A723}" srcId="{033A1319-8EE6-4694-B9B9-14692E9B930D}" destId="{8E4DE1A3-F062-4FD8-A44A-6EBB0E4DB6BB}" srcOrd="3" destOrd="0" parTransId="{7E6C96BB-5BC2-4626-8DC2-A4175B49F40C}" sibTransId="{67F0F10E-3FF4-485B-A4AB-D4A50352583D}"/>
    <dgm:cxn modelId="{CD8643A0-8CD0-44CD-A5B3-45D80A7BC22F}" type="presOf" srcId="{BA00109E-4B4D-4C99-9862-D4A4798153EE}" destId="{67C1CC1D-67C6-4244-93B6-A83DD16D68F1}" srcOrd="0" destOrd="0" presId="urn:microsoft.com/office/officeart/2005/8/layout/architecture"/>
    <dgm:cxn modelId="{D1DEDCB9-61F4-4840-B2EE-D63BD0F50A49}" type="presOf" srcId="{033A1319-8EE6-4694-B9B9-14692E9B930D}" destId="{584D89FF-8712-4648-94B9-0497B451AF11}" srcOrd="0" destOrd="0" presId="urn:microsoft.com/office/officeart/2005/8/layout/architecture"/>
    <dgm:cxn modelId="{F9A5DEBB-79E1-40A8-97A3-69E83824B149}" type="presOf" srcId="{8E4DE1A3-F062-4FD8-A44A-6EBB0E4DB6BB}" destId="{724E5D7E-F478-45A4-9F25-BFA6B2AE9A4F}" srcOrd="0" destOrd="0" presId="urn:microsoft.com/office/officeart/2005/8/layout/architecture"/>
    <dgm:cxn modelId="{5F872FD5-E406-4D8B-BFAD-9FA907A6B5A4}" srcId="{033A1319-8EE6-4694-B9B9-14692E9B930D}" destId="{753C611B-90E5-4306-A656-F92CADC2BCA5}" srcOrd="1" destOrd="0" parTransId="{150C0A2D-04C4-40C7-8049-4E3FEE88F817}" sibTransId="{1DE26953-B1DD-4243-9D5D-9F50E99F9486}"/>
    <dgm:cxn modelId="{4654CFEC-280D-4D45-B6A3-E7508803C6E3}" type="presParOf" srcId="{584D89FF-8712-4648-94B9-0497B451AF11}" destId="{CFBB1BE5-2AC4-49B5-8931-63AD83A1C16A}" srcOrd="0" destOrd="0" presId="urn:microsoft.com/office/officeart/2005/8/layout/architecture"/>
    <dgm:cxn modelId="{988E9E20-AD10-4241-BD6A-F967E9D0D933}" type="presParOf" srcId="{CFBB1BE5-2AC4-49B5-8931-63AD83A1C16A}" destId="{B36B0931-A1A4-48FE-AAD4-F621EB8278D6}" srcOrd="0" destOrd="0" presId="urn:microsoft.com/office/officeart/2005/8/layout/architecture"/>
    <dgm:cxn modelId="{D69E8EDB-2B56-4EA1-93CC-BC44DC891544}" type="presParOf" srcId="{CFBB1BE5-2AC4-49B5-8931-63AD83A1C16A}" destId="{23346AC4-419C-42EE-B6FA-33687FB62801}" srcOrd="1" destOrd="0" presId="urn:microsoft.com/office/officeart/2005/8/layout/architecture"/>
    <dgm:cxn modelId="{9CA3872F-4458-44D7-A9BA-0A851EAE3560}" type="presParOf" srcId="{584D89FF-8712-4648-94B9-0497B451AF11}" destId="{C6C01C04-327E-4D07-92E4-878438883973}" srcOrd="1" destOrd="0" presId="urn:microsoft.com/office/officeart/2005/8/layout/architecture"/>
    <dgm:cxn modelId="{CCD165FC-7397-4209-8191-7028E6CCCC84}" type="presParOf" srcId="{584D89FF-8712-4648-94B9-0497B451AF11}" destId="{741778FC-0276-4C44-8AF4-FC885B9DA350}" srcOrd="2" destOrd="0" presId="urn:microsoft.com/office/officeart/2005/8/layout/architecture"/>
    <dgm:cxn modelId="{66B62876-F201-400A-946A-0A1AE3627A7C}" type="presParOf" srcId="{741778FC-0276-4C44-8AF4-FC885B9DA350}" destId="{DE472C77-EA39-4709-A84A-85524E429F5C}" srcOrd="0" destOrd="0" presId="urn:microsoft.com/office/officeart/2005/8/layout/architecture"/>
    <dgm:cxn modelId="{E7359E6D-4B55-4353-8B0D-EF63BB9ECD6B}" type="presParOf" srcId="{741778FC-0276-4C44-8AF4-FC885B9DA350}" destId="{58BE7999-4CFA-4999-9E80-B931E2B3BEB9}" srcOrd="1" destOrd="0" presId="urn:microsoft.com/office/officeart/2005/8/layout/architecture"/>
    <dgm:cxn modelId="{5903C16E-179F-474A-90E8-15FACE2B12CE}" type="presParOf" srcId="{584D89FF-8712-4648-94B9-0497B451AF11}" destId="{A31CE0D5-31BC-4839-882B-433A138B4FEC}" srcOrd="3" destOrd="0" presId="urn:microsoft.com/office/officeart/2005/8/layout/architecture"/>
    <dgm:cxn modelId="{3DD92C04-66A7-4362-A99A-0FE34C162FEB}" type="presParOf" srcId="{584D89FF-8712-4648-94B9-0497B451AF11}" destId="{EA648830-3257-414B-9519-DA34BDB36341}" srcOrd="4" destOrd="0" presId="urn:microsoft.com/office/officeart/2005/8/layout/architecture"/>
    <dgm:cxn modelId="{261D6A7F-E81F-4B24-97E0-F1638C805E23}" type="presParOf" srcId="{EA648830-3257-414B-9519-DA34BDB36341}" destId="{67C1CC1D-67C6-4244-93B6-A83DD16D68F1}" srcOrd="0" destOrd="0" presId="urn:microsoft.com/office/officeart/2005/8/layout/architecture"/>
    <dgm:cxn modelId="{D26EC271-178E-4013-A9D0-2B860CC1CBD3}" type="presParOf" srcId="{EA648830-3257-414B-9519-DA34BDB36341}" destId="{21D4DF24-E127-4964-85D7-6A802EF91D5C}" srcOrd="1" destOrd="0" presId="urn:microsoft.com/office/officeart/2005/8/layout/architecture"/>
    <dgm:cxn modelId="{30197F9C-7638-4BDD-AE10-5D0AF9572C5B}" type="presParOf" srcId="{584D89FF-8712-4648-94B9-0497B451AF11}" destId="{B2633391-8AB5-4F9A-B720-7DC1E29629AE}" srcOrd="5" destOrd="0" presId="urn:microsoft.com/office/officeart/2005/8/layout/architecture"/>
    <dgm:cxn modelId="{C175AEAE-EFCB-4021-AA74-4DFC563725D0}" type="presParOf" srcId="{584D89FF-8712-4648-94B9-0497B451AF11}" destId="{6D323017-902C-4481-A620-1EAC7F15E163}" srcOrd="6" destOrd="0" presId="urn:microsoft.com/office/officeart/2005/8/layout/architecture"/>
    <dgm:cxn modelId="{B960466A-A5EC-4BF1-BAA2-5F08374CDF00}" type="presParOf" srcId="{6D323017-902C-4481-A620-1EAC7F15E163}" destId="{724E5D7E-F478-45A4-9F25-BFA6B2AE9A4F}" srcOrd="0" destOrd="0" presId="urn:microsoft.com/office/officeart/2005/8/layout/architecture"/>
    <dgm:cxn modelId="{2AAFB478-D4EE-421D-925F-D4D1003C8782}" type="presParOf" srcId="{6D323017-902C-4481-A620-1EAC7F15E163}" destId="{958A00C3-7DFE-4454-AD08-DA70F41F0D7E}" srcOrd="1" destOrd="0" presId="urn:microsoft.com/office/officeart/2005/8/layout/architecture"/>
    <dgm:cxn modelId="{B7DC1343-6891-4B9A-8BD5-DB4DD86BF6E0}" type="presParOf" srcId="{584D89FF-8712-4648-94B9-0497B451AF11}" destId="{EAD97A72-027D-4A7F-81A9-339E1BAE2AA6}" srcOrd="7" destOrd="0" presId="urn:microsoft.com/office/officeart/2005/8/layout/architecture"/>
    <dgm:cxn modelId="{89102319-1169-481F-B5B3-0431E8D6FF91}" type="presParOf" srcId="{584D89FF-8712-4648-94B9-0497B451AF11}" destId="{C967B103-9E66-414C-94FA-D026D08421A9}" srcOrd="8" destOrd="0" presId="urn:microsoft.com/office/officeart/2005/8/layout/architecture"/>
    <dgm:cxn modelId="{D691F4A9-6006-49DB-9B82-5553FC855813}" type="presParOf" srcId="{C967B103-9E66-414C-94FA-D026D08421A9}" destId="{C4286CA2-C3C3-4199-A62D-9E7D64B6900F}" srcOrd="0" destOrd="0" presId="urn:microsoft.com/office/officeart/2005/8/layout/architecture"/>
    <dgm:cxn modelId="{D563A438-03A8-4C23-B085-28B61CF3BA1F}" type="presParOf" srcId="{C967B103-9E66-414C-94FA-D026D08421A9}" destId="{7EA3D960-1739-445D-AD7B-1939F51ECE06}" srcOrd="1" destOrd="0" presId="urn:microsoft.com/office/officeart/2005/8/layout/architecture"/>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4146E63-22C6-4EFA-A616-A8FE8582B553}">
      <dsp:nvSpPr>
        <dsp:cNvPr id="0" name=""/>
        <dsp:cNvSpPr/>
      </dsp:nvSpPr>
      <dsp:spPr>
        <a:xfrm>
          <a:off x="0" y="0"/>
          <a:ext cx="10515600" cy="4351338"/>
        </a:xfrm>
        <a:prstGeom prst="roundRect">
          <a:avLst>
            <a:gd name="adj" fmla="val 10000"/>
          </a:avLst>
        </a:prstGeom>
        <a:solidFill>
          <a:srgbClr val="78A392"/>
        </a:solidFill>
        <a:ln>
          <a:noFill/>
        </a:ln>
        <a:effectLst/>
      </dsp:spPr>
      <dsp:style>
        <a:lnRef idx="0">
          <a:scrgbClr r="0" g="0" b="0"/>
        </a:lnRef>
        <a:fillRef idx="1">
          <a:scrgbClr r="0" g="0" b="0"/>
        </a:fillRef>
        <a:effectRef idx="2">
          <a:scrgbClr r="0" g="0" b="0"/>
        </a:effectRef>
        <a:fontRef idx="minor"/>
      </dsp:style>
      <dsp:txBody>
        <a:bodyPr spcFirstLastPara="0" vert="horz" wrap="square" lIns="121920" tIns="121920" rIns="121920" bIns="121920" numCol="1" spcCol="1270" anchor="ctr" anchorCtr="0">
          <a:noAutofit/>
        </a:bodyPr>
        <a:lstStyle/>
        <a:p>
          <a:pPr marL="0" lvl="0" indent="0" algn="ctr" defTabSz="1422400" rtl="0">
            <a:lnSpc>
              <a:spcPct val="90000"/>
            </a:lnSpc>
            <a:spcBef>
              <a:spcPct val="0"/>
            </a:spcBef>
            <a:spcAft>
              <a:spcPct val="35000"/>
            </a:spcAft>
            <a:buNone/>
          </a:pPr>
          <a:r>
            <a:rPr lang="fr-FR" sz="3200" kern="1200" dirty="0"/>
            <a:t>Le viol et les autres formes de violence sexuelle sont </a:t>
          </a:r>
          <a:r>
            <a:rPr lang="fr-FR" sz="3200" b="1" kern="1200" dirty="0"/>
            <a:t>strictement interdits</a:t>
          </a:r>
          <a:r>
            <a:rPr lang="fr-FR" sz="3200" kern="1200" dirty="0"/>
            <a:t> </a:t>
          </a:r>
        </a:p>
      </dsp:txBody>
      <dsp:txXfrm>
        <a:off x="0" y="0"/>
        <a:ext cx="10515600" cy="1305401"/>
      </dsp:txXfrm>
    </dsp:sp>
    <dsp:sp modelId="{769CD911-851B-4A9D-84C2-1A6EF7E26C03}">
      <dsp:nvSpPr>
        <dsp:cNvPr id="0" name=""/>
        <dsp:cNvSpPr/>
      </dsp:nvSpPr>
      <dsp:spPr>
        <a:xfrm>
          <a:off x="1247486" y="1306676"/>
          <a:ext cx="8412480" cy="1311987"/>
        </a:xfrm>
        <a:prstGeom prst="roundRect">
          <a:avLst>
            <a:gd name="adj" fmla="val 10000"/>
          </a:avLst>
        </a:prstGeom>
        <a:solidFill>
          <a:schemeClr val="bg1"/>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60960" tIns="45720" rIns="60960" bIns="45720" numCol="1" spcCol="1270" anchor="ctr" anchorCtr="0">
          <a:noAutofit/>
        </a:bodyPr>
        <a:lstStyle/>
        <a:p>
          <a:pPr marL="0" lvl="0" indent="0" algn="ctr" defTabSz="1066800" rtl="0">
            <a:lnSpc>
              <a:spcPct val="90000"/>
            </a:lnSpc>
            <a:spcBef>
              <a:spcPct val="0"/>
            </a:spcBef>
            <a:spcAft>
              <a:spcPct val="35000"/>
            </a:spcAft>
            <a:buNone/>
          </a:pPr>
          <a:r>
            <a:rPr lang="fr-FR" sz="2400" kern="1200" dirty="0">
              <a:solidFill>
                <a:schemeClr val="tx1"/>
              </a:solidFill>
            </a:rPr>
            <a:t>En vertu du </a:t>
          </a:r>
          <a:r>
            <a:rPr lang="fr-FR" sz="2400" u="sng" kern="1200" dirty="0">
              <a:solidFill>
                <a:schemeClr val="tx1"/>
              </a:solidFill>
            </a:rPr>
            <a:t>droit international des droits humains </a:t>
          </a:r>
          <a:r>
            <a:rPr lang="fr-FR" sz="2400" kern="1200" dirty="0">
              <a:solidFill>
                <a:schemeClr val="tx1"/>
              </a:solidFill>
            </a:rPr>
            <a:t>(DIDH) </a:t>
          </a:r>
          <a:r>
            <a:rPr lang="fr-FR" sz="2400" b="1" i="1" kern="1200" dirty="0">
              <a:solidFill>
                <a:schemeClr val="tx1"/>
              </a:solidFill>
            </a:rPr>
            <a:t>en toute circonstance </a:t>
          </a:r>
        </a:p>
      </dsp:txBody>
      <dsp:txXfrm>
        <a:off x="1285913" y="1345103"/>
        <a:ext cx="8335626" cy="1235133"/>
      </dsp:txXfrm>
    </dsp:sp>
    <dsp:sp modelId="{821AD06B-5542-4E96-A585-B08A138407C7}">
      <dsp:nvSpPr>
        <dsp:cNvPr id="0" name=""/>
        <dsp:cNvSpPr/>
      </dsp:nvSpPr>
      <dsp:spPr>
        <a:xfrm>
          <a:off x="1260610" y="2807445"/>
          <a:ext cx="8412480" cy="1311987"/>
        </a:xfrm>
        <a:prstGeom prst="roundRect">
          <a:avLst>
            <a:gd name="adj" fmla="val 10000"/>
          </a:avLst>
        </a:prstGeom>
        <a:solidFill>
          <a:schemeClr val="bg1"/>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60960" tIns="45720" rIns="60960" bIns="45720" numCol="1" spcCol="1270" anchor="ctr" anchorCtr="0">
          <a:noAutofit/>
        </a:bodyPr>
        <a:lstStyle/>
        <a:p>
          <a:pPr marL="0" lvl="0" indent="0" algn="ctr" defTabSz="1066800" rtl="0">
            <a:lnSpc>
              <a:spcPct val="90000"/>
            </a:lnSpc>
            <a:spcBef>
              <a:spcPct val="0"/>
            </a:spcBef>
            <a:spcAft>
              <a:spcPct val="35000"/>
            </a:spcAft>
            <a:buNone/>
          </a:pPr>
          <a:r>
            <a:rPr lang="fr-FR" sz="2400" kern="1200" dirty="0">
              <a:solidFill>
                <a:schemeClr val="tx1"/>
              </a:solidFill>
            </a:rPr>
            <a:t>En vertu du </a:t>
          </a:r>
          <a:r>
            <a:rPr lang="fr-FR" sz="2400" u="sng" kern="1200" dirty="0">
              <a:solidFill>
                <a:schemeClr val="tx1"/>
              </a:solidFill>
            </a:rPr>
            <a:t>droit international humanitaire</a:t>
          </a:r>
          <a:r>
            <a:rPr lang="fr-FR" sz="2400" kern="1200" dirty="0">
              <a:solidFill>
                <a:schemeClr val="tx1"/>
              </a:solidFill>
            </a:rPr>
            <a:t> (DIH) </a:t>
          </a:r>
          <a:r>
            <a:rPr lang="fr-FR" sz="2400" b="1" i="1" kern="1200" dirty="0">
              <a:solidFill>
                <a:schemeClr val="tx1"/>
              </a:solidFill>
            </a:rPr>
            <a:t>dans les conflits armés internationaux et non internationaux</a:t>
          </a:r>
        </a:p>
      </dsp:txBody>
      <dsp:txXfrm>
        <a:off x="1299037" y="2845872"/>
        <a:ext cx="8335626" cy="123513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35192C7-535E-4749-844D-6125B47AE21C}">
      <dsp:nvSpPr>
        <dsp:cNvPr id="0" name=""/>
        <dsp:cNvSpPr/>
      </dsp:nvSpPr>
      <dsp:spPr>
        <a:xfrm>
          <a:off x="1832511" y="838101"/>
          <a:ext cx="1073664" cy="1073796"/>
        </a:xfrm>
        <a:prstGeom prst="ellipse">
          <a:avLst/>
        </a:prstGeom>
        <a:solidFill>
          <a:schemeClr val="accent3">
            <a:shade val="80000"/>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sp>
    <dsp:sp modelId="{B806BAFF-C034-4AB6-A8E2-585E444904F7}">
      <dsp:nvSpPr>
        <dsp:cNvPr id="0" name=""/>
        <dsp:cNvSpPr/>
      </dsp:nvSpPr>
      <dsp:spPr>
        <a:xfrm>
          <a:off x="1754222" y="0"/>
          <a:ext cx="1230241" cy="658367"/>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fr-FR" sz="1200" b="1" kern="1200" dirty="0">
              <a:solidFill>
                <a:schemeClr val="bg1"/>
              </a:solidFill>
            </a:rPr>
            <a:t>Viol</a:t>
          </a:r>
        </a:p>
      </dsp:txBody>
      <dsp:txXfrm>
        <a:off x="1754222" y="0"/>
        <a:ext cx="1230241" cy="658367"/>
      </dsp:txXfrm>
    </dsp:sp>
    <dsp:sp modelId="{F6E65F0A-E509-42B9-A19B-7CDF0E4BD87D}">
      <dsp:nvSpPr>
        <dsp:cNvPr id="0" name=""/>
        <dsp:cNvSpPr/>
      </dsp:nvSpPr>
      <dsp:spPr>
        <a:xfrm>
          <a:off x="2147452" y="989525"/>
          <a:ext cx="1073664" cy="1073796"/>
        </a:xfrm>
        <a:prstGeom prst="ellipse">
          <a:avLst/>
        </a:prstGeom>
        <a:solidFill>
          <a:schemeClr val="accent3">
            <a:shade val="80000"/>
            <a:alpha val="50000"/>
            <a:hueOff val="0"/>
            <a:satOff val="0"/>
            <a:lumOff val="751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sp>
    <dsp:sp modelId="{A1E3668F-9228-44A9-A23A-6AE83D49A40C}">
      <dsp:nvSpPr>
        <dsp:cNvPr id="0" name=""/>
        <dsp:cNvSpPr/>
      </dsp:nvSpPr>
      <dsp:spPr>
        <a:xfrm>
          <a:off x="3353536" y="625448"/>
          <a:ext cx="1163136" cy="724203"/>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fr-FR" sz="1200" b="1" kern="1200" dirty="0">
              <a:solidFill>
                <a:schemeClr val="bg1"/>
              </a:solidFill>
            </a:rPr>
            <a:t>Avortement forcé</a:t>
          </a:r>
        </a:p>
      </dsp:txBody>
      <dsp:txXfrm>
        <a:off x="3353536" y="625448"/>
        <a:ext cx="1163136" cy="724203"/>
      </dsp:txXfrm>
    </dsp:sp>
    <dsp:sp modelId="{4A7B76A0-D997-453B-B74B-ECFBA47CBA9C}">
      <dsp:nvSpPr>
        <dsp:cNvPr id="0" name=""/>
        <dsp:cNvSpPr/>
      </dsp:nvSpPr>
      <dsp:spPr>
        <a:xfrm>
          <a:off x="2224846" y="1330230"/>
          <a:ext cx="1073664" cy="1073796"/>
        </a:xfrm>
        <a:prstGeom prst="ellipse">
          <a:avLst/>
        </a:prstGeom>
        <a:solidFill>
          <a:schemeClr val="accent3">
            <a:shade val="80000"/>
            <a:alpha val="50000"/>
            <a:hueOff val="0"/>
            <a:satOff val="0"/>
            <a:lumOff val="1503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sp>
    <dsp:sp modelId="{1B128F98-F40F-462C-B950-53F38323D3BE}">
      <dsp:nvSpPr>
        <dsp:cNvPr id="0" name=""/>
        <dsp:cNvSpPr/>
      </dsp:nvSpPr>
      <dsp:spPr>
        <a:xfrm>
          <a:off x="3465376" y="1547162"/>
          <a:ext cx="1140768" cy="773581"/>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fr-FR" sz="1200" b="1" kern="1200" dirty="0">
              <a:solidFill>
                <a:schemeClr val="bg1"/>
              </a:solidFill>
            </a:rPr>
            <a:t>Grossesse forcée</a:t>
          </a:r>
        </a:p>
      </dsp:txBody>
      <dsp:txXfrm>
        <a:off x="3465376" y="1547162"/>
        <a:ext cx="1140768" cy="773581"/>
      </dsp:txXfrm>
    </dsp:sp>
    <dsp:sp modelId="{BBC4D3A1-EE25-4230-8AF2-46800931A7FB}">
      <dsp:nvSpPr>
        <dsp:cNvPr id="0" name=""/>
        <dsp:cNvSpPr/>
      </dsp:nvSpPr>
      <dsp:spPr>
        <a:xfrm>
          <a:off x="2006981" y="1603452"/>
          <a:ext cx="1073664" cy="1073796"/>
        </a:xfrm>
        <a:prstGeom prst="ellipse">
          <a:avLst/>
        </a:prstGeom>
        <a:solidFill>
          <a:schemeClr val="accent3">
            <a:shade val="80000"/>
            <a:alpha val="50000"/>
            <a:hueOff val="0"/>
            <a:satOff val="0"/>
            <a:lumOff val="2255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sp>
    <dsp:sp modelId="{B42127A9-4533-4928-9D7E-559579BB203E}">
      <dsp:nvSpPr>
        <dsp:cNvPr id="0" name=""/>
        <dsp:cNvSpPr/>
      </dsp:nvSpPr>
      <dsp:spPr>
        <a:xfrm>
          <a:off x="2973280" y="2584090"/>
          <a:ext cx="1230241" cy="707744"/>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fr-FR" sz="1200" b="1" kern="1200" dirty="0">
              <a:solidFill>
                <a:schemeClr val="bg1"/>
              </a:solidFill>
            </a:rPr>
            <a:t>Stérilisation forcée</a:t>
          </a:r>
        </a:p>
      </dsp:txBody>
      <dsp:txXfrm>
        <a:off x="2973280" y="2584090"/>
        <a:ext cx="1230241" cy="707744"/>
      </dsp:txXfrm>
    </dsp:sp>
    <dsp:sp modelId="{6A70CE1E-2FBA-4DB7-A230-ED79FACD0108}">
      <dsp:nvSpPr>
        <dsp:cNvPr id="0" name=""/>
        <dsp:cNvSpPr/>
      </dsp:nvSpPr>
      <dsp:spPr>
        <a:xfrm>
          <a:off x="1658040" y="1603452"/>
          <a:ext cx="1073664" cy="1073796"/>
        </a:xfrm>
        <a:prstGeom prst="ellipse">
          <a:avLst/>
        </a:prstGeom>
        <a:solidFill>
          <a:schemeClr val="accent3">
            <a:shade val="80000"/>
            <a:alpha val="50000"/>
            <a:hueOff val="0"/>
            <a:satOff val="0"/>
            <a:lumOff val="2255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sp>
    <dsp:sp modelId="{DAF67288-216B-4F03-A116-64C0C8DFE9F3}">
      <dsp:nvSpPr>
        <dsp:cNvPr id="0" name=""/>
        <dsp:cNvSpPr/>
      </dsp:nvSpPr>
      <dsp:spPr>
        <a:xfrm>
          <a:off x="535165" y="2584090"/>
          <a:ext cx="1230241" cy="707744"/>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fr-FR" sz="1200" b="1" kern="1200" dirty="0">
              <a:solidFill>
                <a:schemeClr val="bg1"/>
              </a:solidFill>
            </a:rPr>
            <a:t>Esclavage sexuel </a:t>
          </a:r>
        </a:p>
      </dsp:txBody>
      <dsp:txXfrm>
        <a:off x="535165" y="2584090"/>
        <a:ext cx="1230241" cy="707744"/>
      </dsp:txXfrm>
    </dsp:sp>
    <dsp:sp modelId="{64686D94-A12F-4835-A0F6-ABD6D31C5E2C}">
      <dsp:nvSpPr>
        <dsp:cNvPr id="0" name=""/>
        <dsp:cNvSpPr/>
      </dsp:nvSpPr>
      <dsp:spPr>
        <a:xfrm>
          <a:off x="1440175" y="1330230"/>
          <a:ext cx="1073664" cy="1073796"/>
        </a:xfrm>
        <a:prstGeom prst="ellipse">
          <a:avLst/>
        </a:prstGeom>
        <a:solidFill>
          <a:schemeClr val="accent3">
            <a:shade val="80000"/>
            <a:alpha val="50000"/>
            <a:hueOff val="0"/>
            <a:satOff val="0"/>
            <a:lumOff val="1503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sp>
    <dsp:sp modelId="{6E2C500A-0E1B-4954-86B1-5B35FFE37BB1}">
      <dsp:nvSpPr>
        <dsp:cNvPr id="0" name=""/>
        <dsp:cNvSpPr/>
      </dsp:nvSpPr>
      <dsp:spPr>
        <a:xfrm>
          <a:off x="132541" y="1547162"/>
          <a:ext cx="1140768" cy="773581"/>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fr-FR" sz="1200" b="1" kern="1200" dirty="0">
              <a:solidFill>
                <a:schemeClr val="bg1"/>
              </a:solidFill>
            </a:rPr>
            <a:t>Nudité forcée</a:t>
          </a:r>
        </a:p>
      </dsp:txBody>
      <dsp:txXfrm>
        <a:off x="132541" y="1547162"/>
        <a:ext cx="1140768" cy="773581"/>
      </dsp:txXfrm>
    </dsp:sp>
    <dsp:sp modelId="{DE24FB36-28D9-4FED-9E8E-264E4E34626F}">
      <dsp:nvSpPr>
        <dsp:cNvPr id="0" name=""/>
        <dsp:cNvSpPr/>
      </dsp:nvSpPr>
      <dsp:spPr>
        <a:xfrm>
          <a:off x="1517569" y="989525"/>
          <a:ext cx="1073664" cy="1073796"/>
        </a:xfrm>
        <a:prstGeom prst="ellipse">
          <a:avLst/>
        </a:prstGeom>
        <a:solidFill>
          <a:schemeClr val="accent3">
            <a:shade val="80000"/>
            <a:alpha val="50000"/>
            <a:hueOff val="0"/>
            <a:satOff val="0"/>
            <a:lumOff val="751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sp>
    <dsp:sp modelId="{E6977D3B-8D4D-45A3-A3AC-6FB05954F68F}">
      <dsp:nvSpPr>
        <dsp:cNvPr id="0" name=""/>
        <dsp:cNvSpPr/>
      </dsp:nvSpPr>
      <dsp:spPr>
        <a:xfrm>
          <a:off x="222013" y="625448"/>
          <a:ext cx="1163136" cy="724203"/>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fr-FR" sz="1200" b="1" kern="1200" dirty="0">
              <a:solidFill>
                <a:schemeClr val="bg1"/>
              </a:solidFill>
            </a:rPr>
            <a:t>Contrainte de commettre des violences sexuelles</a:t>
          </a:r>
        </a:p>
      </dsp:txBody>
      <dsp:txXfrm>
        <a:off x="222013" y="625448"/>
        <a:ext cx="1163136" cy="72420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36B0931-A1A4-48FE-AAD4-F621EB8278D6}">
      <dsp:nvSpPr>
        <dsp:cNvPr id="0" name=""/>
        <dsp:cNvSpPr/>
      </dsp:nvSpPr>
      <dsp:spPr>
        <a:xfrm>
          <a:off x="1068" y="0"/>
          <a:ext cx="1889957" cy="4497387"/>
        </a:xfrm>
        <a:prstGeom prst="roundRect">
          <a:avLst>
            <a:gd name="adj" fmla="val 10000"/>
          </a:avLst>
        </a:prstGeom>
        <a:solidFill>
          <a:srgbClr val="4D756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fr-FR" sz="1800" b="1" kern="1200" dirty="0"/>
            <a:t>Perturbation de la sécurité de la famille et des réseaux communautaires (p. ex. séparation des membres de la famille)</a:t>
          </a:r>
        </a:p>
      </dsp:txBody>
      <dsp:txXfrm>
        <a:off x="56423" y="55355"/>
        <a:ext cx="1779247" cy="4386677"/>
      </dsp:txXfrm>
    </dsp:sp>
    <dsp:sp modelId="{DE472C77-EA39-4709-A84A-85524E429F5C}">
      <dsp:nvSpPr>
        <dsp:cNvPr id="0" name=""/>
        <dsp:cNvSpPr/>
      </dsp:nvSpPr>
      <dsp:spPr>
        <a:xfrm>
          <a:off x="2208538" y="0"/>
          <a:ext cx="1889957" cy="4497387"/>
        </a:xfrm>
        <a:prstGeom prst="roundRect">
          <a:avLst>
            <a:gd name="adj" fmla="val 10000"/>
          </a:avLst>
        </a:prstGeom>
        <a:solidFill>
          <a:srgbClr val="4D756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fr-FR" sz="1800" b="1" kern="1200" dirty="0"/>
            <a:t>Augmentation des situations d’insécurité, y compris sur les routes migratoires, pendant la fuite et dans les camps de personnes réfugiées ou déplacées</a:t>
          </a:r>
        </a:p>
      </dsp:txBody>
      <dsp:txXfrm>
        <a:off x="2263893" y="55355"/>
        <a:ext cx="1779247" cy="4386677"/>
      </dsp:txXfrm>
    </dsp:sp>
    <dsp:sp modelId="{67C1CC1D-67C6-4244-93B6-A83DD16D68F1}">
      <dsp:nvSpPr>
        <dsp:cNvPr id="0" name=""/>
        <dsp:cNvSpPr/>
      </dsp:nvSpPr>
      <dsp:spPr>
        <a:xfrm>
          <a:off x="4416008" y="0"/>
          <a:ext cx="1889957" cy="4497387"/>
        </a:xfrm>
        <a:prstGeom prst="roundRect">
          <a:avLst>
            <a:gd name="adj" fmla="val 10000"/>
          </a:avLst>
        </a:prstGeom>
        <a:solidFill>
          <a:srgbClr val="4D756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fr-FR" sz="1800" b="1" kern="1200" dirty="0"/>
            <a:t>Interruption ou effondrement des services et activités de soutien normales (p. ex. SMSPS et autres soins de santé)</a:t>
          </a:r>
        </a:p>
      </dsp:txBody>
      <dsp:txXfrm>
        <a:off x="4471363" y="55355"/>
        <a:ext cx="1779247" cy="4386677"/>
      </dsp:txXfrm>
    </dsp:sp>
    <dsp:sp modelId="{724E5D7E-F478-45A4-9F25-BFA6B2AE9A4F}">
      <dsp:nvSpPr>
        <dsp:cNvPr id="0" name=""/>
        <dsp:cNvSpPr/>
      </dsp:nvSpPr>
      <dsp:spPr>
        <a:xfrm>
          <a:off x="6623479" y="0"/>
          <a:ext cx="1889957" cy="4497387"/>
        </a:xfrm>
        <a:prstGeom prst="roundRect">
          <a:avLst>
            <a:gd name="adj" fmla="val 10000"/>
          </a:avLst>
        </a:prstGeom>
        <a:solidFill>
          <a:srgbClr val="4D756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fr-FR" sz="1800" b="1" kern="1200" dirty="0"/>
            <a:t>Inégalités accrues et exacerbées de l’accès aux services, à l’information, à l’espace public et au processus décisionnel (pour certaines personnes, p. ex. en fonction du sexe, l’âge, la classe, l’appartenance ethnique)</a:t>
          </a:r>
        </a:p>
      </dsp:txBody>
      <dsp:txXfrm>
        <a:off x="6678834" y="55355"/>
        <a:ext cx="1779247" cy="4386677"/>
      </dsp:txXfrm>
    </dsp:sp>
    <dsp:sp modelId="{C4286CA2-C3C3-4199-A62D-9E7D64B6900F}">
      <dsp:nvSpPr>
        <dsp:cNvPr id="0" name=""/>
        <dsp:cNvSpPr/>
      </dsp:nvSpPr>
      <dsp:spPr>
        <a:xfrm>
          <a:off x="8830949" y="0"/>
          <a:ext cx="1889957" cy="4497387"/>
        </a:xfrm>
        <a:prstGeom prst="roundRect">
          <a:avLst>
            <a:gd name="adj" fmla="val 10000"/>
          </a:avLst>
        </a:prstGeom>
        <a:solidFill>
          <a:srgbClr val="4D756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fr-FR" sz="1800" b="1" kern="1200" dirty="0"/>
            <a:t>Facteurs de violence, tels que : abus de drogues et d’alcool accru, détresse et traumatisme, stress économique (ce ne sont cependant pas des causes profondes)</a:t>
          </a:r>
        </a:p>
      </dsp:txBody>
      <dsp:txXfrm>
        <a:off x="8886304" y="55355"/>
        <a:ext cx="1779247" cy="4386677"/>
      </dsp:txXfrm>
    </dsp:sp>
  </dsp:spTree>
</dsp:drawing>
</file>

<file path=ppt/diagrams/layout1.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architecture">
  <dgm:title val="Architecture Layout"/>
  <dgm:desc val="Use to show hierarchical relationships that build from the bottom up. This layout works well for showing architectural components or objects that build on other objects."/>
  <dgm:catLst>
    <dgm:cat type="hierarchy" pri="4500"/>
    <dgm:cat type="list" pri="24500"/>
    <dgm:cat type="relationship" pri="10500"/>
    <dgm:cat type="officeonline" pri="7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b"/>
        </dgm:alg>
      </dgm:if>
      <dgm:else name="Name3">
        <dgm:alg type="lin">
          <dgm:param type="linDir" val="fromR"/>
          <dgm:param type="nodeVertAlign" val="b"/>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B"/>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b"/>
              </dgm:alg>
            </dgm:if>
            <dgm:else name="Name10">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B"/>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b"/>
                    </dgm:alg>
                  </dgm:if>
                  <dgm:else name="Name17">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B"/>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b"/>
                          </dgm:alg>
                        </dgm:if>
                        <dgm:else name="Name24">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B"/>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b"/>
                                </dgm:alg>
                              </dgm:if>
                              <dgm:else name="Name30">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50435F9-E005-45F6-B70B-495DB1179B76}" type="datetimeFigureOut">
              <a:rPr lang="en-GB" smtClean="0"/>
              <a:t>05/06/2023</a:t>
            </a:fld>
            <a:endParaRPr lang="en-GB"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CB6252A-633C-4854-917D-2B156AD22AC0}" type="slidenum">
              <a:rPr lang="en-GB" smtClean="0"/>
              <a:t>‹#›</a:t>
            </a:fld>
            <a:endParaRPr lang="en-GB" dirty="0"/>
          </a:p>
        </p:txBody>
      </p:sp>
    </p:spTree>
    <p:extLst>
      <p:ext uri="{BB962C8B-B14F-4D97-AF65-F5344CB8AC3E}">
        <p14:creationId xmlns:p14="http://schemas.microsoft.com/office/powerpoint/2010/main" val="33681459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iccwomen.org/resources/crimesdefinition.html" TargetMode="External"/><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H"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3B04594-FEFF-42EB-9C0F-540470BC4440}" type="slidenum">
              <a:rPr kumimoji="0" lang="fr-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fr-CH"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8605029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sz="1200" kern="1200" dirty="0">
                <a:solidFill>
                  <a:schemeClr val="tx1"/>
                </a:solidFill>
                <a:effectLst/>
                <a:latin typeface="Arial" charset="0"/>
                <a:ea typeface="+mn-ea"/>
                <a:cs typeface="Arial" charset="0"/>
              </a:rPr>
              <a:t>Many victim/survivors of </a:t>
            </a:r>
            <a:r>
              <a:rPr lang="en-US" sz="1200" kern="1200" dirty="0">
                <a:solidFill>
                  <a:schemeClr val="tx1"/>
                </a:solidFill>
                <a:effectLst/>
                <a:latin typeface="Arial" charset="0"/>
                <a:ea typeface="+mn-ea"/>
                <a:cs typeface="Arial" charset="0"/>
              </a:rPr>
              <a:t>sexual and other forms of gender-based violence will never report or disclose their experience(s)</a:t>
            </a:r>
            <a:r>
              <a:rPr lang="en-GB" sz="1200" kern="1200" dirty="0">
                <a:solidFill>
                  <a:schemeClr val="tx1"/>
                </a:solidFill>
                <a:effectLst/>
                <a:latin typeface="Arial" charset="0"/>
                <a:ea typeface="+mn-ea"/>
                <a:cs typeface="Arial" charset="0"/>
              </a:rPr>
              <a:t> - at least not </a:t>
            </a:r>
            <a:r>
              <a:rPr lang="en-US" sz="1200" kern="1200" dirty="0">
                <a:solidFill>
                  <a:schemeClr val="tx1"/>
                </a:solidFill>
                <a:effectLst/>
                <a:latin typeface="Arial" charset="0"/>
                <a:ea typeface="+mn-ea"/>
                <a:cs typeface="Arial" charset="0"/>
              </a:rPr>
              <a:t>through formal channels </a:t>
            </a:r>
            <a:r>
              <a:rPr lang="en-GB" sz="1200" kern="1200" dirty="0">
                <a:solidFill>
                  <a:schemeClr val="tx1"/>
                </a:solidFill>
                <a:effectLst/>
                <a:latin typeface="Arial" charset="0"/>
                <a:ea typeface="+mn-ea"/>
                <a:cs typeface="Arial" charset="0"/>
              </a:rPr>
              <a:t>(</a:t>
            </a:r>
            <a:r>
              <a:rPr lang="en-GB" sz="1200" i="1" kern="1200" dirty="0">
                <a:solidFill>
                  <a:schemeClr val="tx1"/>
                </a:solidFill>
                <a:effectLst/>
                <a:latin typeface="Arial" charset="0"/>
                <a:ea typeface="+mn-ea"/>
                <a:cs typeface="Arial" charset="0"/>
              </a:rPr>
              <a:t>See Fiche 1.2 on Barriers to Accessing Services</a:t>
            </a:r>
            <a:r>
              <a:rPr lang="en-GB" sz="1200" kern="1200" dirty="0">
                <a:solidFill>
                  <a:schemeClr val="tx1"/>
                </a:solidFill>
                <a:effectLst/>
                <a:latin typeface="Arial" charset="0"/>
                <a:ea typeface="+mn-ea"/>
                <a:cs typeface="Arial" charset="0"/>
              </a:rPr>
              <a:t>). </a:t>
            </a:r>
            <a:r>
              <a:rPr lang="en-US" sz="1200" kern="1200" dirty="0">
                <a:solidFill>
                  <a:schemeClr val="tx1"/>
                </a:solidFill>
                <a:effectLst/>
                <a:latin typeface="Arial" charset="0"/>
                <a:ea typeface="+mn-ea"/>
                <a:cs typeface="Arial" charset="0"/>
              </a:rPr>
              <a:t>The likelihood of reporting or disclosing violence, and thereby obtaining an accurate picture of prevalence or incidence, can depend on a confluence of factors including, how sexual violence is understood in society, the surrounding legal environment, the trust (or lack thereof) placed in institutions or service-providers, even the competence of who’s recording the answers or asking the questions. </a:t>
            </a:r>
            <a:endParaRPr lang="en-GB" sz="1200" kern="1200" dirty="0">
              <a:solidFill>
                <a:schemeClr val="tx1"/>
              </a:solidFill>
              <a:effectLst/>
              <a:latin typeface="Arial" charset="0"/>
              <a:ea typeface="+mn-ea"/>
              <a:cs typeface="Arial" charset="0"/>
            </a:endParaRPr>
          </a:p>
          <a:p>
            <a:pPr marL="171450" indent="-171450">
              <a:buFont typeface="Arial" panose="020B0604020202020204" pitchFamily="34" charset="0"/>
              <a:buChar char="•"/>
            </a:pPr>
            <a:r>
              <a:rPr lang="en-US" sz="1200" kern="1200" dirty="0">
                <a:solidFill>
                  <a:schemeClr val="tx1"/>
                </a:solidFill>
                <a:effectLst/>
                <a:latin typeface="Arial" charset="0"/>
                <a:ea typeface="+mn-ea"/>
                <a:cs typeface="Arial" charset="0"/>
              </a:rPr>
              <a:t>While survey data is the closest proxy to prevalence that can be gathered, even something as seemingly simple as the way questions are worded can drastically alter results. This speaks to the complexity of interpreting trends in data, whether once-off or over time. </a:t>
            </a:r>
          </a:p>
          <a:p>
            <a:pPr marL="171450" indent="-171450">
              <a:buFont typeface="Arial" panose="020B0604020202020204" pitchFamily="34" charset="0"/>
              <a:buChar char="•"/>
            </a:pPr>
            <a:r>
              <a:rPr lang="en-US" sz="1200" kern="1200" dirty="0">
                <a:solidFill>
                  <a:schemeClr val="tx1"/>
                </a:solidFill>
                <a:effectLst/>
                <a:latin typeface="Arial" charset="0"/>
                <a:ea typeface="+mn-ea"/>
                <a:cs typeface="Arial" charset="0"/>
              </a:rPr>
              <a:t>For example, if a country displays a higher incidence of violence from one year to the next, this does not </a:t>
            </a:r>
            <a:r>
              <a:rPr lang="en-US" sz="1200" i="1" kern="1200" dirty="0">
                <a:solidFill>
                  <a:schemeClr val="tx1"/>
                </a:solidFill>
                <a:effectLst/>
                <a:latin typeface="Arial" charset="0"/>
                <a:ea typeface="+mn-ea"/>
                <a:cs typeface="Arial" charset="0"/>
              </a:rPr>
              <a:t>automatically </a:t>
            </a:r>
            <a:r>
              <a:rPr lang="en-US" sz="1200" kern="1200" dirty="0">
                <a:solidFill>
                  <a:schemeClr val="tx1"/>
                </a:solidFill>
                <a:effectLst/>
                <a:latin typeface="Arial" charset="0"/>
                <a:ea typeface="+mn-ea"/>
                <a:cs typeface="Arial" charset="0"/>
              </a:rPr>
              <a:t>infer that violence has increased. Changes in reporting could mean changes in dynamics of violence or, in dynamics</a:t>
            </a:r>
            <a:r>
              <a:rPr lang="en-US" sz="1200" i="1" kern="1200" dirty="0">
                <a:solidFill>
                  <a:schemeClr val="tx1"/>
                </a:solidFill>
                <a:effectLst/>
                <a:latin typeface="Arial" charset="0"/>
                <a:ea typeface="+mn-ea"/>
                <a:cs typeface="Arial" charset="0"/>
              </a:rPr>
              <a:t> </a:t>
            </a:r>
            <a:r>
              <a:rPr lang="en-US" sz="1200" kern="1200" dirty="0">
                <a:solidFill>
                  <a:schemeClr val="tx1"/>
                </a:solidFill>
                <a:effectLst/>
                <a:latin typeface="Arial" charset="0"/>
                <a:ea typeface="+mn-ea"/>
                <a:cs typeface="Arial" charset="0"/>
              </a:rPr>
              <a:t>of</a:t>
            </a:r>
            <a:r>
              <a:rPr lang="en-US" sz="1200" i="1" kern="1200" dirty="0">
                <a:solidFill>
                  <a:schemeClr val="tx1"/>
                </a:solidFill>
                <a:effectLst/>
                <a:latin typeface="Arial" charset="0"/>
                <a:ea typeface="+mn-ea"/>
                <a:cs typeface="Arial" charset="0"/>
              </a:rPr>
              <a:t> reporting</a:t>
            </a:r>
            <a:r>
              <a:rPr lang="en-GB" dirty="0">
                <a:effectLst/>
              </a:rPr>
              <a:t> </a:t>
            </a:r>
            <a:r>
              <a:rPr lang="en-US" sz="1200" kern="1200" dirty="0">
                <a:solidFill>
                  <a:schemeClr val="tx1"/>
                </a:solidFill>
                <a:effectLst/>
                <a:latin typeface="Arial" charset="0"/>
                <a:ea typeface="+mn-ea"/>
                <a:cs typeface="Arial" charset="0"/>
              </a:rPr>
              <a:t> </a:t>
            </a:r>
            <a:endParaRPr lang="en-GB" sz="1200" kern="1200" dirty="0">
              <a:solidFill>
                <a:schemeClr val="tx1"/>
              </a:solidFill>
              <a:effectLst/>
              <a:latin typeface="Arial" charset="0"/>
              <a:ea typeface="+mn-ea"/>
              <a:cs typeface="Arial" charset="0"/>
            </a:endParaRPr>
          </a:p>
          <a:p>
            <a:pPr marL="171450" indent="-171450">
              <a:buFont typeface="Arial" panose="020B0604020202020204" pitchFamily="34" charset="0"/>
              <a:buChar char="•"/>
            </a:pPr>
            <a:r>
              <a:rPr lang="en-US" sz="1200" kern="1200" dirty="0">
                <a:solidFill>
                  <a:schemeClr val="tx1"/>
                </a:solidFill>
                <a:effectLst/>
                <a:latin typeface="Arial" charset="0"/>
                <a:ea typeface="+mn-ea"/>
                <a:cs typeface="Arial" charset="0"/>
              </a:rPr>
              <a:t>Likely, there will always be a degree of disparity between the true prevalence/incidence of sexual violence and the extent to which it is captured through either survey data or reporting to service providers (what’s known as either ‘</a:t>
            </a:r>
            <a:r>
              <a:rPr lang="en-US" sz="1200" i="1" kern="1200" dirty="0">
                <a:solidFill>
                  <a:schemeClr val="tx1"/>
                </a:solidFill>
                <a:effectLst/>
                <a:latin typeface="Arial" charset="0"/>
                <a:ea typeface="+mn-ea"/>
                <a:cs typeface="Arial" charset="0"/>
              </a:rPr>
              <a:t>administrative data’ </a:t>
            </a:r>
            <a:r>
              <a:rPr lang="en-US" sz="1200" kern="1200" dirty="0">
                <a:solidFill>
                  <a:schemeClr val="tx1"/>
                </a:solidFill>
                <a:effectLst/>
                <a:latin typeface="Arial" charset="0"/>
                <a:ea typeface="+mn-ea"/>
                <a:cs typeface="Arial" charset="0"/>
              </a:rPr>
              <a:t>or ‘</a:t>
            </a:r>
            <a:r>
              <a:rPr lang="en-US" sz="1200" i="1" kern="1200" dirty="0">
                <a:solidFill>
                  <a:schemeClr val="tx1"/>
                </a:solidFill>
                <a:effectLst/>
                <a:latin typeface="Arial" charset="0"/>
                <a:ea typeface="+mn-ea"/>
                <a:cs typeface="Arial" charset="0"/>
              </a:rPr>
              <a:t>service-based data’) (See FIG 1.2.</a:t>
            </a:r>
            <a:r>
              <a:rPr lang="en-US" sz="1200" kern="1200" dirty="0">
                <a:solidFill>
                  <a:schemeClr val="tx1"/>
                </a:solidFill>
                <a:effectLst/>
                <a:latin typeface="Arial" charset="0"/>
                <a:ea typeface="+mn-ea"/>
                <a:cs typeface="Arial" charset="0"/>
              </a:rPr>
              <a:t> ). </a:t>
            </a:r>
            <a:r>
              <a:rPr lang="en-US" sz="1200" i="1" kern="1200" dirty="0">
                <a:solidFill>
                  <a:schemeClr val="tx1"/>
                </a:solidFill>
                <a:effectLst/>
                <a:latin typeface="Arial" charset="0"/>
                <a:ea typeface="+mn-ea"/>
                <a:cs typeface="Arial" charset="0"/>
              </a:rPr>
              <a:t>Simply put</a:t>
            </a:r>
            <a:r>
              <a:rPr lang="en-US" sz="1200" kern="1200" dirty="0">
                <a:solidFill>
                  <a:schemeClr val="tx1"/>
                </a:solidFill>
                <a:effectLst/>
                <a:latin typeface="Arial" charset="0"/>
                <a:ea typeface="+mn-ea"/>
                <a:cs typeface="Arial" charset="0"/>
              </a:rPr>
              <a:t>, when it comes to data on sexual violence, </a:t>
            </a:r>
            <a:r>
              <a:rPr lang="en-US" sz="1200" b="1" kern="1200" dirty="0">
                <a:solidFill>
                  <a:schemeClr val="tx1"/>
                </a:solidFill>
                <a:effectLst/>
                <a:latin typeface="Arial" charset="0"/>
                <a:ea typeface="+mn-ea"/>
                <a:cs typeface="Arial" charset="0"/>
              </a:rPr>
              <a:t>every picture we have is always only partial. </a:t>
            </a:r>
            <a:endParaRPr lang="en-GB" sz="1200" b="1" kern="1200" dirty="0">
              <a:solidFill>
                <a:schemeClr val="tx1"/>
              </a:solidFill>
              <a:effectLst/>
              <a:latin typeface="Arial" charset="0"/>
              <a:ea typeface="+mn-ea"/>
              <a:cs typeface="Arial" charset="0"/>
            </a:endParaRPr>
          </a:p>
          <a:p>
            <a:pPr marL="171450" indent="-171450">
              <a:buFont typeface="Arial" panose="020B0604020202020204" pitchFamily="34" charset="0"/>
              <a:buChar char="•"/>
            </a:pPr>
            <a:r>
              <a:rPr lang="en-US" sz="1200" kern="1200" dirty="0">
                <a:solidFill>
                  <a:schemeClr val="tx1"/>
                </a:solidFill>
                <a:effectLst/>
                <a:latin typeface="Arial" charset="0"/>
                <a:ea typeface="+mn-ea"/>
                <a:cs typeface="Arial" charset="0"/>
              </a:rPr>
              <a:t>Where services are non-existent, or ill-equipped to handle cases appropriately, and/or sexual violence remains heavily stigmatized however, estimations of prevalence will be both harder to obtain and even less accurate. This is because persons who experience sexual violence will be even less likely to come forward for well-founded fear of negative repercussions. Armed conflict and insecurity, add an additional layer of complexity, in that whatever capacity state institutions and other actors had to address said violence before the onset of a crisis, is further diminished.</a:t>
            </a:r>
            <a:endParaRPr lang="en-GB" sz="1200" kern="1200" dirty="0">
              <a:solidFill>
                <a:schemeClr val="tx1"/>
              </a:solidFill>
              <a:effectLst/>
              <a:latin typeface="Arial" charset="0"/>
              <a:ea typeface="+mn-ea"/>
              <a:cs typeface="Arial" charset="0"/>
            </a:endParaRPr>
          </a:p>
          <a:p>
            <a:endParaRPr lang="en-GB" dirty="0"/>
          </a:p>
          <a:p>
            <a:endParaRPr lang="en-GB" dirty="0"/>
          </a:p>
        </p:txBody>
      </p:sp>
      <p:sp>
        <p:nvSpPr>
          <p:cNvPr id="4" name="Slide Number Placeholder 3"/>
          <p:cNvSpPr>
            <a:spLocks noGrp="1"/>
          </p:cNvSpPr>
          <p:nvPr>
            <p:ph type="sldNum" sz="quarter" idx="10"/>
          </p:nvPr>
        </p:nvSpPr>
        <p:spPr/>
        <p:txBody>
          <a:bodyPr/>
          <a:lstStyle/>
          <a:p>
            <a:fld id="{6CB6252A-633C-4854-917D-2B156AD22AC0}" type="slidenum">
              <a:rPr lang="en-GB" smtClean="0"/>
              <a:t>12</a:t>
            </a:fld>
            <a:endParaRPr lang="en-GB" dirty="0"/>
          </a:p>
        </p:txBody>
      </p:sp>
    </p:spTree>
    <p:extLst>
      <p:ext uri="{BB962C8B-B14F-4D97-AF65-F5344CB8AC3E}">
        <p14:creationId xmlns:p14="http://schemas.microsoft.com/office/powerpoint/2010/main" val="346797596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6CB6252A-633C-4854-917D-2B156AD22AC0}" type="slidenum">
              <a:rPr lang="en-GB" smtClean="0"/>
              <a:t>14</a:t>
            </a:fld>
            <a:endParaRPr lang="en-GB" dirty="0"/>
          </a:p>
        </p:txBody>
      </p:sp>
    </p:spTree>
    <p:extLst>
      <p:ext uri="{BB962C8B-B14F-4D97-AF65-F5344CB8AC3E}">
        <p14:creationId xmlns:p14="http://schemas.microsoft.com/office/powerpoint/2010/main" val="4309806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6CB6252A-633C-4854-917D-2B156AD22AC0}" type="slidenum">
              <a:rPr lang="en-GB" smtClean="0"/>
              <a:t>16</a:t>
            </a:fld>
            <a:endParaRPr lang="en-GB" dirty="0"/>
          </a:p>
        </p:txBody>
      </p:sp>
    </p:spTree>
    <p:extLst>
      <p:ext uri="{BB962C8B-B14F-4D97-AF65-F5344CB8AC3E}">
        <p14:creationId xmlns:p14="http://schemas.microsoft.com/office/powerpoint/2010/main" val="41571112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s-IS" dirty="0"/>
              <a:t>Note: „</a:t>
            </a:r>
            <a:r>
              <a:rPr lang="en-US" sz="1200" kern="1200" dirty="0">
                <a:solidFill>
                  <a:schemeClr val="tx1"/>
                </a:solidFill>
                <a:latin typeface="IBM Plex Sans Bold" panose="020B0604020202020204" charset="0"/>
                <a:ea typeface="+mn-ea"/>
                <a:cs typeface="+mn-cs"/>
              </a:rPr>
              <a:t>Means of subsistence” can mean  different tings depending on whether one is looking at the impact on SV on the individual, household or community level. Think of what and how (and impact) of these disruptions.</a:t>
            </a:r>
          </a:p>
          <a:p>
            <a:r>
              <a:rPr lang="en-US" sz="1200" kern="1200" dirty="0">
                <a:solidFill>
                  <a:schemeClr val="tx1"/>
                </a:solidFill>
                <a:latin typeface="IBM Plex Sans Bold" panose="020B0604020202020204" charset="0"/>
                <a:ea typeface="+mn-ea"/>
                <a:cs typeface="+mn-cs"/>
              </a:rPr>
              <a:t>In our response, the focus would primarily be on on the individual or household level in terms of our response.</a:t>
            </a:r>
          </a:p>
          <a:p>
            <a:endParaRPr lang="fr-CH" dirty="0"/>
          </a:p>
          <a:p>
            <a:endParaRPr lang="en-US" sz="1200" kern="1200" dirty="0">
              <a:solidFill>
                <a:schemeClr val="tx1"/>
              </a:solidFill>
              <a:effectLst/>
              <a:latin typeface="IBM Plex Sans Bold" panose="020B0604020202020204" charset="0"/>
              <a:ea typeface="+mn-ea"/>
              <a:cs typeface="+mn-cs"/>
            </a:endParaRPr>
          </a:p>
          <a:p>
            <a:endParaRPr lang="fr-CH" sz="1200" kern="1200" dirty="0">
              <a:solidFill>
                <a:schemeClr val="tx1"/>
              </a:solidFill>
              <a:effectLst/>
              <a:latin typeface="IBM Plex Sans Bold" panose="020B0604020202020204" charset="0"/>
              <a:ea typeface="+mn-ea"/>
              <a:cs typeface="+mn-cs"/>
            </a:endParaRPr>
          </a:p>
          <a:p>
            <a:endParaRPr lang="fr-CH" dirty="0"/>
          </a:p>
        </p:txBody>
      </p:sp>
    </p:spTree>
    <p:extLst>
      <p:ext uri="{BB962C8B-B14F-4D97-AF65-F5344CB8AC3E}">
        <p14:creationId xmlns:p14="http://schemas.microsoft.com/office/powerpoint/2010/main" val="207789952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3237" rtl="0" eaLnBrk="1" fontAlgn="auto" latinLnBrk="0" hangingPunct="1">
              <a:lnSpc>
                <a:spcPct val="100000"/>
              </a:lnSpc>
              <a:spcBef>
                <a:spcPts val="0"/>
              </a:spcBef>
              <a:spcAft>
                <a:spcPts val="0"/>
              </a:spcAft>
              <a:buClrTx/>
              <a:buSzTx/>
              <a:buFontTx/>
              <a:buNone/>
              <a:tabLst/>
              <a:defRPr/>
            </a:pPr>
            <a:r>
              <a:rPr lang="en-GB" dirty="0"/>
              <a:t>Debrief = Interviews/registration of individuals </a:t>
            </a:r>
          </a:p>
          <a:p>
            <a:pPr marL="0" marR="0" lvl="0" indent="0" algn="l" defTabSz="933237" rtl="0" eaLnBrk="1" fontAlgn="auto" latinLnBrk="0" hangingPunct="1">
              <a:lnSpc>
                <a:spcPct val="100000"/>
              </a:lnSpc>
              <a:spcBef>
                <a:spcPts val="0"/>
              </a:spcBef>
              <a:spcAft>
                <a:spcPts val="0"/>
              </a:spcAft>
              <a:buClrTx/>
              <a:buSzTx/>
              <a:buFontTx/>
              <a:buNone/>
              <a:tabLst/>
              <a:defRPr/>
            </a:pPr>
            <a:r>
              <a:rPr lang="en-GB" dirty="0"/>
              <a:t>Tracking = Registration </a:t>
            </a:r>
          </a:p>
          <a:p>
            <a:pPr marL="0" marR="0" lvl="0" indent="0" algn="l" defTabSz="933237" rtl="0" eaLnBrk="1" fontAlgn="auto" latinLnBrk="0" hangingPunct="1">
              <a:lnSpc>
                <a:spcPct val="100000"/>
              </a:lnSpc>
              <a:spcBef>
                <a:spcPts val="0"/>
              </a:spcBef>
              <a:spcAft>
                <a:spcPts val="0"/>
              </a:spcAft>
              <a:buClrTx/>
              <a:buSzTx/>
              <a:buFontTx/>
              <a:buNone/>
              <a:tabLst/>
              <a:defRPr/>
            </a:pPr>
            <a:endParaRPr lang="en-GB" dirty="0"/>
          </a:p>
          <a:p>
            <a:pPr marL="0" marR="0" lvl="0" indent="0" algn="l" defTabSz="933237" rtl="0" eaLnBrk="1" fontAlgn="auto" latinLnBrk="0" hangingPunct="1">
              <a:lnSpc>
                <a:spcPct val="100000"/>
              </a:lnSpc>
              <a:spcBef>
                <a:spcPts val="0"/>
              </a:spcBef>
              <a:spcAft>
                <a:spcPts val="0"/>
              </a:spcAft>
              <a:buClrTx/>
              <a:buSzTx/>
              <a:buFontTx/>
              <a:buNone/>
              <a:tabLst/>
              <a:defRPr/>
            </a:pPr>
            <a:endParaRPr lang="en-GB" dirty="0"/>
          </a:p>
          <a:p>
            <a:pPr marL="0" marR="0" lvl="0" indent="0" algn="l" defTabSz="933237" rtl="0" eaLnBrk="1" fontAlgn="auto" latinLnBrk="0" hangingPunct="1">
              <a:lnSpc>
                <a:spcPct val="100000"/>
              </a:lnSpc>
              <a:spcBef>
                <a:spcPts val="0"/>
              </a:spcBef>
              <a:spcAft>
                <a:spcPts val="0"/>
              </a:spcAft>
              <a:buClrTx/>
              <a:buSzTx/>
              <a:buFontTx/>
              <a:buNone/>
              <a:tabLst/>
              <a:defRPr/>
            </a:pPr>
            <a:r>
              <a:rPr lang="en-GB" dirty="0"/>
              <a:t>Here you can see what services ICRC seeks to support or provide and what services ICRC does not provide. </a:t>
            </a:r>
          </a:p>
          <a:p>
            <a:pPr marL="0" marR="0" lvl="0" indent="0" algn="l" defTabSz="933237" rtl="0" eaLnBrk="1" fontAlgn="auto" latinLnBrk="0" hangingPunct="1">
              <a:lnSpc>
                <a:spcPct val="100000"/>
              </a:lnSpc>
              <a:spcBef>
                <a:spcPts val="0"/>
              </a:spcBef>
              <a:spcAft>
                <a:spcPts val="0"/>
              </a:spcAft>
              <a:buClrTx/>
              <a:buSzTx/>
              <a:buFontTx/>
              <a:buNone/>
              <a:tabLst/>
              <a:defRPr/>
            </a:pPr>
            <a:endParaRPr lang="en-GB" dirty="0"/>
          </a:p>
          <a:p>
            <a:pPr marL="0" marR="0" lvl="0" indent="0" algn="l" defTabSz="933237" rtl="0" eaLnBrk="1" fontAlgn="auto" latinLnBrk="0" hangingPunct="1">
              <a:lnSpc>
                <a:spcPct val="100000"/>
              </a:lnSpc>
              <a:spcBef>
                <a:spcPts val="0"/>
              </a:spcBef>
              <a:spcAft>
                <a:spcPts val="0"/>
              </a:spcAft>
              <a:buClrTx/>
              <a:buSzTx/>
              <a:buFontTx/>
              <a:buNone/>
              <a:tabLst/>
              <a:defRPr/>
            </a:pPr>
            <a:r>
              <a:rPr lang="en-GB" dirty="0"/>
              <a:t>The image represents the multi-disciplinary or multi-sectoral approach and since ICRC cannot meet all the needs of victims/survivors, we seek out cooperation with others as much as possible. </a:t>
            </a:r>
          </a:p>
          <a:p>
            <a:pPr marL="0" marR="0" lvl="0" indent="0" algn="l" defTabSz="933237" rtl="0" eaLnBrk="1" fontAlgn="auto" latinLnBrk="0" hangingPunct="1">
              <a:lnSpc>
                <a:spcPct val="100000"/>
              </a:lnSpc>
              <a:spcBef>
                <a:spcPts val="0"/>
              </a:spcBef>
              <a:spcAft>
                <a:spcPts val="0"/>
              </a:spcAft>
              <a:buClrTx/>
              <a:buSzTx/>
              <a:buFontTx/>
              <a:buNone/>
              <a:tabLst/>
              <a:defRPr/>
            </a:pPr>
            <a:endParaRPr lang="en-GB" dirty="0"/>
          </a:p>
          <a:p>
            <a:pPr defTabSz="933237">
              <a:defRPr/>
            </a:pPr>
            <a:r>
              <a:rPr lang="en-GB" dirty="0"/>
              <a:t>At the same time, what type of services ICRC provides in each context also depends on the capacity of ICRC compared to other available actors or service providers and the added value of having ICRC providing certain services. </a:t>
            </a:r>
          </a:p>
          <a:p>
            <a:pPr defTabSz="933237">
              <a:defRPr/>
            </a:pPr>
            <a:endParaRPr lang="en-GB" dirty="0"/>
          </a:p>
          <a:p>
            <a:pPr defTabSz="933237">
              <a:defRPr/>
            </a:pPr>
            <a:r>
              <a:rPr lang="en-GB" dirty="0"/>
              <a:t>For instance, </a:t>
            </a:r>
            <a:r>
              <a:rPr lang="en-GB" dirty="0">
                <a:highlight>
                  <a:srgbClr val="FFFF00"/>
                </a:highlight>
              </a:rPr>
              <a:t>if the only hospital in the vicinity of sectarian fighting between a state military and a rebel group is run by the state, there might be a high level of distrust among segment of the population and the rebel group preventing them to seek medical services. In such cases, what should ICRC do? </a:t>
            </a:r>
          </a:p>
          <a:p>
            <a:pPr defTabSz="933237">
              <a:defRPr/>
            </a:pPr>
            <a:endParaRPr lang="en-GB" dirty="0">
              <a:highlight>
                <a:srgbClr val="FFFF00"/>
              </a:highlight>
            </a:endParaRPr>
          </a:p>
          <a:p>
            <a:pPr marL="171450" indent="-171450" defTabSz="933237">
              <a:buFont typeface="Arial" panose="020B0604020202020204" pitchFamily="34" charset="0"/>
              <a:buChar char="•"/>
              <a:defRPr/>
            </a:pPr>
            <a:r>
              <a:rPr lang="en-GB" dirty="0">
                <a:highlight>
                  <a:srgbClr val="FFFF00"/>
                </a:highlight>
              </a:rPr>
              <a:t>Map other actors providing medial service which ICRC can refer to?</a:t>
            </a:r>
          </a:p>
          <a:p>
            <a:pPr marL="171450" indent="-171450" defTabSz="933237">
              <a:buFont typeface="Arial" panose="020B0604020202020204" pitchFamily="34" charset="0"/>
              <a:buChar char="•"/>
              <a:defRPr/>
            </a:pPr>
            <a:r>
              <a:rPr lang="en-GB" dirty="0">
                <a:highlight>
                  <a:srgbClr val="FFFF00"/>
                </a:highlight>
              </a:rPr>
              <a:t>Establish its own hospital as to ensure unimpeded humanitarian access to medical services? </a:t>
            </a:r>
          </a:p>
          <a:p>
            <a:pPr marL="0" marR="0" lvl="0" indent="0" algn="l" defTabSz="933237" rtl="0" eaLnBrk="1" fontAlgn="auto" latinLnBrk="0" hangingPunct="1">
              <a:lnSpc>
                <a:spcPct val="100000"/>
              </a:lnSpc>
              <a:spcBef>
                <a:spcPts val="0"/>
              </a:spcBef>
              <a:spcAft>
                <a:spcPts val="0"/>
              </a:spcAft>
              <a:buClrTx/>
              <a:buSzTx/>
              <a:buFontTx/>
              <a:buNone/>
              <a:tabLst/>
              <a:defRPr/>
            </a:pPr>
            <a:endParaRPr lang="en-GB" dirty="0"/>
          </a:p>
          <a:p>
            <a:pPr marL="0" marR="0" lvl="0" indent="0" algn="l" defTabSz="933237" rtl="0" eaLnBrk="1" fontAlgn="auto" latinLnBrk="0" hangingPunct="1">
              <a:lnSpc>
                <a:spcPct val="100000"/>
              </a:lnSpc>
              <a:spcBef>
                <a:spcPts val="0"/>
              </a:spcBef>
              <a:spcAft>
                <a:spcPts val="0"/>
              </a:spcAft>
              <a:buClrTx/>
              <a:buSzTx/>
              <a:buFontTx/>
              <a:buNone/>
              <a:tabLst/>
              <a:defRPr/>
            </a:pPr>
            <a:endParaRPr lang="en-GB" dirty="0"/>
          </a:p>
          <a:p>
            <a:pPr marL="0" marR="0" lvl="0" indent="0" algn="l" defTabSz="933237" rtl="0" eaLnBrk="1" fontAlgn="auto" latinLnBrk="0" hangingPunct="1">
              <a:lnSpc>
                <a:spcPct val="100000"/>
              </a:lnSpc>
              <a:spcBef>
                <a:spcPts val="0"/>
              </a:spcBef>
              <a:spcAft>
                <a:spcPts val="0"/>
              </a:spcAft>
              <a:buClrTx/>
              <a:buSzTx/>
              <a:buFontTx/>
              <a:buNone/>
              <a:tabLst/>
              <a:defRPr/>
            </a:pPr>
            <a:r>
              <a:rPr lang="en-AU" dirty="0"/>
              <a:t>This is something that needs to be considered context by context and we will discuss later. </a:t>
            </a:r>
          </a:p>
          <a:p>
            <a:pPr marL="0" marR="0" lvl="0" indent="0" algn="l" defTabSz="933237" rtl="0" eaLnBrk="1" fontAlgn="auto" latinLnBrk="0" hangingPunct="1">
              <a:lnSpc>
                <a:spcPct val="100000"/>
              </a:lnSpc>
              <a:spcBef>
                <a:spcPts val="0"/>
              </a:spcBef>
              <a:spcAft>
                <a:spcPts val="0"/>
              </a:spcAft>
              <a:buClrTx/>
              <a:buSzTx/>
              <a:buFontTx/>
              <a:buNone/>
              <a:tabLst/>
              <a:defRPr/>
            </a:pPr>
            <a:endParaRPr lang="en-AU" dirty="0"/>
          </a:p>
          <a:p>
            <a:pPr marL="0" marR="0" lvl="0" indent="0" algn="l" defTabSz="933237" rtl="0" eaLnBrk="1" fontAlgn="auto" latinLnBrk="0" hangingPunct="1">
              <a:lnSpc>
                <a:spcPct val="100000"/>
              </a:lnSpc>
              <a:spcBef>
                <a:spcPts val="0"/>
              </a:spcBef>
              <a:spcAft>
                <a:spcPts val="0"/>
              </a:spcAft>
              <a:buClrTx/>
              <a:buSzTx/>
              <a:buFontTx/>
              <a:buNone/>
              <a:tabLst/>
              <a:defRPr/>
            </a:pPr>
            <a:r>
              <a:rPr lang="en-AU" b="1" dirty="0"/>
              <a:t>Case management: </a:t>
            </a:r>
            <a:r>
              <a:rPr lang="en-AU" dirty="0"/>
              <a:t>Another important issue besides what services ICRC provides or does not provide is that ICRC does not provide traditional case management. You can read more about that in the guidance on establishing referral systems for victim/survivors. </a:t>
            </a:r>
            <a:r>
              <a:rPr lang="en-US" dirty="0"/>
              <a:t>Instead, ICRC can refer victims/survivors to specialized agencies for case management such as child SV cases. Also, victims/survivors can be supported by a trusted 3</a:t>
            </a:r>
            <a:r>
              <a:rPr lang="en-US" baseline="30000" dirty="0"/>
              <a:t>rd</a:t>
            </a:r>
            <a:r>
              <a:rPr lang="en-US" dirty="0"/>
              <a:t> party such as person from the community of the victim or a local organization who can accompany them to different appointments and thereby serve as witnesses and/or support during the often-stressful process of seeking services. </a:t>
            </a:r>
          </a:p>
          <a:p>
            <a:pPr marL="0" marR="0" lvl="0" indent="0" algn="l" defTabSz="933237" rtl="0" eaLnBrk="1" fontAlgn="auto" latinLnBrk="0" hangingPunct="1">
              <a:lnSpc>
                <a:spcPct val="100000"/>
              </a:lnSpc>
              <a:spcBef>
                <a:spcPts val="0"/>
              </a:spcBef>
              <a:spcAft>
                <a:spcPts val="0"/>
              </a:spcAft>
              <a:buClrTx/>
              <a:buSzTx/>
              <a:buFontTx/>
              <a:buNone/>
              <a:tabLst/>
              <a:defRPr/>
            </a:pPr>
            <a:endParaRPr lang="en-US" dirty="0"/>
          </a:p>
          <a:p>
            <a:pPr marL="0" marR="0" lvl="0" indent="0" algn="l" defTabSz="933237" rtl="0" eaLnBrk="1" fontAlgn="auto" latinLnBrk="0" hangingPunct="1">
              <a:lnSpc>
                <a:spcPct val="100000"/>
              </a:lnSpc>
              <a:spcBef>
                <a:spcPts val="0"/>
              </a:spcBef>
              <a:spcAft>
                <a:spcPts val="0"/>
              </a:spcAft>
              <a:buClrTx/>
              <a:buSzTx/>
              <a:buFontTx/>
              <a:buNone/>
              <a:tabLst/>
              <a:defRPr/>
            </a:pPr>
            <a:r>
              <a:rPr lang="en-US" b="1" dirty="0"/>
              <a:t>Legal aid: </a:t>
            </a:r>
            <a:r>
              <a:rPr lang="en-US" dirty="0"/>
              <a:t>ICRC does not provide legal support and representation. Instead, ICRC uses the term “legal signposting”, rather than “legal referral”, to indicate that while the ICRC may assess and list available legal services and provide information to victims/survivors about these, the ICRC will not communicate with the legal service regarding individual cases. In other words, ICRC is supposed to complete basic check about a legal service provider to which they may signpost victims/survivors of sexual violence. It is primarily intended for situations where signposting results in litigation, but also covers alternative means of dispute resolution, such as mediation or conciliation. Situations where traditional means of justice may play a role, or where the incident occurred in another State, require context-based analysis. See more on legal signposting in the guidance on establishing referral systems of victims/survivors of sexual violence. </a:t>
            </a:r>
          </a:p>
          <a:p>
            <a:endParaRPr lang="fr-CH"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973B52-9B9A-41F3-8E7B-59526C21C471}" type="slidenum">
              <a:rPr kumimoji="0" lang="fr-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fr-CH"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0602469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u="sng" dirty="0"/>
              <a:t>Supplies include</a:t>
            </a:r>
            <a:r>
              <a:rPr lang="en-GB" u="sng" baseline="0" dirty="0"/>
              <a:t>:</a:t>
            </a:r>
          </a:p>
          <a:p>
            <a:endParaRPr lang="en-GB" baseline="0" dirty="0"/>
          </a:p>
          <a:p>
            <a:r>
              <a:rPr lang="en-GB" baseline="0" dirty="0"/>
              <a:t>Consent forms; </a:t>
            </a:r>
          </a:p>
          <a:p>
            <a:r>
              <a:rPr lang="en-GB" baseline="0" dirty="0"/>
              <a:t>Medical chart with pictograms for documentation of injury; </a:t>
            </a:r>
          </a:p>
          <a:p>
            <a:r>
              <a:rPr lang="en-GB" baseline="0" dirty="0"/>
              <a:t>Filing cabinet or storage space with lock; </a:t>
            </a:r>
          </a:p>
          <a:p>
            <a:r>
              <a:rPr lang="en-GB" baseline="0" dirty="0"/>
              <a:t>Info pamphlets for follow on care; </a:t>
            </a:r>
          </a:p>
          <a:p>
            <a:endParaRPr lang="en-GB" baseline="0" dirty="0"/>
          </a:p>
          <a:p>
            <a:endParaRPr lang="en-GB" baseline="0" dirty="0"/>
          </a:p>
        </p:txBody>
      </p:sp>
      <p:sp>
        <p:nvSpPr>
          <p:cNvPr id="4" name="Slide Number Placeholder 3"/>
          <p:cNvSpPr>
            <a:spLocks noGrp="1"/>
          </p:cNvSpPr>
          <p:nvPr>
            <p:ph type="sldNum" sz="quarter" idx="10"/>
          </p:nvPr>
        </p:nvSpPr>
        <p:spPr/>
        <p:txBody>
          <a:bodyPr/>
          <a:lstStyle/>
          <a:p>
            <a:fld id="{63963286-1E8F-4283-897F-36A68BBBC3D3}" type="slidenum">
              <a:rPr lang="en-GB">
                <a:solidFill>
                  <a:prstClr val="black"/>
                </a:solidFill>
              </a:rPr>
              <a:pPr/>
              <a:t>20</a:t>
            </a:fld>
            <a:endParaRPr lang="en-GB" dirty="0">
              <a:solidFill>
                <a:prstClr val="black"/>
              </a:solidFill>
            </a:endParaRPr>
          </a:p>
        </p:txBody>
      </p:sp>
    </p:spTree>
    <p:extLst>
      <p:ext uri="{BB962C8B-B14F-4D97-AF65-F5344CB8AC3E}">
        <p14:creationId xmlns:p14="http://schemas.microsoft.com/office/powerpoint/2010/main" val="115724551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b="1" kern="1200" dirty="0">
                <a:solidFill>
                  <a:schemeClr val="tx1"/>
                </a:solidFill>
                <a:effectLst/>
                <a:latin typeface="Arial" charset="0"/>
                <a:ea typeface="+mn-ea"/>
                <a:cs typeface="Arial" charset="0"/>
              </a:rPr>
              <a:t>Criminalization/</a:t>
            </a:r>
            <a:r>
              <a:rPr lang="en-US" sz="1200" b="1" kern="1200" baseline="0" dirty="0">
                <a:solidFill>
                  <a:schemeClr val="tx1"/>
                </a:solidFill>
                <a:effectLst/>
                <a:latin typeface="Arial" charset="0"/>
                <a:ea typeface="+mn-ea"/>
                <a:cs typeface="Arial" charset="0"/>
              </a:rPr>
              <a:t> legal considerations</a:t>
            </a:r>
          </a:p>
          <a:p>
            <a:pPr marL="0" marR="0" lvl="0" indent="0" algn="l" defTabSz="914400" rtl="0" eaLnBrk="1" fontAlgn="base" latinLnBrk="0" hangingPunct="1">
              <a:lnSpc>
                <a:spcPct val="100000"/>
              </a:lnSpc>
              <a:spcBef>
                <a:spcPct val="30000"/>
              </a:spcBef>
              <a:spcAft>
                <a:spcPct val="0"/>
              </a:spcAft>
              <a:buClrTx/>
              <a:buSzTx/>
              <a:buFontTx/>
              <a:buNone/>
              <a:tabLst/>
              <a:defRPr/>
            </a:pPr>
            <a:r>
              <a:rPr lang="en-US" sz="1200" dirty="0"/>
              <a:t>Lack of recognition of potential victim/survivor-survivors within legal structure</a:t>
            </a:r>
            <a:r>
              <a:rPr lang="en-US" sz="1200" baseline="0" dirty="0"/>
              <a:t> (e.g. do not recognize men/boys as potential victims). </a:t>
            </a:r>
            <a:endParaRPr lang="en-US" sz="1200" b="1" kern="1200" baseline="0" dirty="0">
              <a:solidFill>
                <a:schemeClr val="tx1"/>
              </a:solidFill>
              <a:effectLst/>
              <a:latin typeface="Arial" charset="0"/>
              <a:ea typeface="+mn-ea"/>
              <a:cs typeface="Arial" charset="0"/>
            </a:endParaRPr>
          </a:p>
          <a:p>
            <a:pPr lvl="0"/>
            <a:r>
              <a:rPr lang="en-US" sz="1200" kern="1200" dirty="0">
                <a:solidFill>
                  <a:schemeClr val="tx1"/>
                </a:solidFill>
                <a:effectLst/>
                <a:latin typeface="Arial" charset="0"/>
                <a:ea typeface="+mn-ea"/>
                <a:cs typeface="Arial" charset="0"/>
              </a:rPr>
              <a:t>Existence of anti-homosexuality</a:t>
            </a:r>
            <a:r>
              <a:rPr lang="en-US" sz="1200" kern="1200" baseline="0" dirty="0">
                <a:solidFill>
                  <a:schemeClr val="tx1"/>
                </a:solidFill>
                <a:effectLst/>
                <a:latin typeface="Arial" charset="0"/>
                <a:ea typeface="+mn-ea"/>
                <a:cs typeface="Arial" charset="0"/>
              </a:rPr>
              <a:t> laws, impact upon male victim/survivor/survivors in particular: </a:t>
            </a:r>
          </a:p>
          <a:p>
            <a:pPr lvl="0"/>
            <a:r>
              <a:rPr lang="en-US" sz="1200" kern="1200" dirty="0">
                <a:solidFill>
                  <a:schemeClr val="tx1"/>
                </a:solidFill>
                <a:effectLst/>
                <a:latin typeface="Arial" charset="0"/>
                <a:ea typeface="+mn-ea"/>
                <a:cs typeface="Arial" charset="0"/>
              </a:rPr>
              <a:t>Female victim/survivor/</a:t>
            </a:r>
            <a:r>
              <a:rPr lang="en-US" sz="1200" kern="1200" baseline="0" dirty="0">
                <a:solidFill>
                  <a:schemeClr val="tx1"/>
                </a:solidFill>
                <a:effectLst/>
                <a:latin typeface="Arial" charset="0"/>
                <a:ea typeface="+mn-ea"/>
                <a:cs typeface="Arial" charset="0"/>
              </a:rPr>
              <a:t> survivors </a:t>
            </a:r>
            <a:r>
              <a:rPr lang="en-US" sz="1200" kern="1200" dirty="0">
                <a:solidFill>
                  <a:schemeClr val="tx1"/>
                </a:solidFill>
                <a:effectLst/>
                <a:latin typeface="Arial" charset="0"/>
                <a:ea typeface="+mn-ea"/>
                <a:cs typeface="Arial" charset="0"/>
              </a:rPr>
              <a:t>of sexual violence accused of adultery (“zina”)</a:t>
            </a:r>
            <a:endParaRPr lang="fr-CH" sz="1200" kern="1200" dirty="0">
              <a:solidFill>
                <a:schemeClr val="tx1"/>
              </a:solidFill>
              <a:effectLst/>
              <a:latin typeface="Arial" charset="0"/>
              <a:ea typeface="+mn-ea"/>
              <a:cs typeface="Arial" charset="0"/>
            </a:endParaRPr>
          </a:p>
          <a:p>
            <a:pPr lvl="0"/>
            <a:r>
              <a:rPr lang="en-US" sz="1200" kern="1200" dirty="0">
                <a:solidFill>
                  <a:schemeClr val="tx1"/>
                </a:solidFill>
                <a:effectLst/>
                <a:latin typeface="Arial" charset="0"/>
                <a:ea typeface="+mn-ea"/>
                <a:cs typeface="Arial" charset="0"/>
              </a:rPr>
              <a:t>Risk of administrative detention (to protect against</a:t>
            </a:r>
            <a:r>
              <a:rPr lang="en-US" sz="1200" kern="1200" baseline="0" dirty="0">
                <a:solidFill>
                  <a:schemeClr val="tx1"/>
                </a:solidFill>
                <a:effectLst/>
                <a:latin typeface="Arial" charset="0"/>
                <a:ea typeface="+mn-ea"/>
                <a:cs typeface="Arial" charset="0"/>
              </a:rPr>
              <a:t> killings in the name of so called ‘honour’</a:t>
            </a:r>
            <a:r>
              <a:rPr lang="en-US" sz="1200" kern="1200" dirty="0">
                <a:solidFill>
                  <a:schemeClr val="tx1"/>
                </a:solidFill>
                <a:effectLst/>
                <a:latin typeface="Arial" charset="0"/>
                <a:ea typeface="+mn-ea"/>
                <a:cs typeface="Arial" charset="0"/>
              </a:rPr>
              <a:t>)</a:t>
            </a:r>
          </a:p>
          <a:p>
            <a:pPr lvl="0"/>
            <a:r>
              <a:rPr lang="en-US" sz="1200" kern="1200" dirty="0">
                <a:solidFill>
                  <a:schemeClr val="tx1"/>
                </a:solidFill>
                <a:effectLst/>
                <a:latin typeface="Arial" charset="0"/>
                <a:ea typeface="+mn-ea"/>
                <a:cs typeface="Arial" charset="0"/>
              </a:rPr>
              <a:t>Existence of clauses</a:t>
            </a:r>
            <a:r>
              <a:rPr lang="en-US" sz="1200" kern="1200" baseline="0" dirty="0">
                <a:solidFill>
                  <a:schemeClr val="tx1"/>
                </a:solidFill>
                <a:effectLst/>
                <a:latin typeface="Arial" charset="0"/>
                <a:ea typeface="+mn-ea"/>
                <a:cs typeface="Arial" charset="0"/>
              </a:rPr>
              <a:t> exonerating perpetrators who marry the victim/survivor</a:t>
            </a:r>
          </a:p>
          <a:p>
            <a:pPr marL="0" marR="0" lvl="0" indent="0" algn="l" defTabSz="914400" rtl="0" eaLnBrk="1" fontAlgn="base" latinLnBrk="0" hangingPunct="1">
              <a:lnSpc>
                <a:spcPct val="100000"/>
              </a:lnSpc>
              <a:spcBef>
                <a:spcPct val="30000"/>
              </a:spcBef>
              <a:spcAft>
                <a:spcPct val="0"/>
              </a:spcAft>
              <a:buClrTx/>
              <a:buSzTx/>
              <a:buFontTx/>
              <a:buNone/>
              <a:tabLst/>
              <a:defRPr/>
            </a:pPr>
            <a:r>
              <a:rPr lang="en-US" sz="1200" dirty="0"/>
              <a:t>Irregular migration status </a:t>
            </a:r>
            <a:r>
              <a:rPr lang="en-US" sz="1200" dirty="0">
                <a:sym typeface="Wingdings" panose="05000000000000000000" pitchFamily="2" charset="2"/>
              </a:rPr>
              <a:t> lack of access to justice in the first place</a:t>
            </a:r>
            <a:endParaRPr lang="en-US" sz="1200" dirty="0"/>
          </a:p>
          <a:p>
            <a:endParaRPr lang="en-GB" dirty="0"/>
          </a:p>
        </p:txBody>
      </p:sp>
      <p:sp>
        <p:nvSpPr>
          <p:cNvPr id="4" name="Slide Number Placeholder 3"/>
          <p:cNvSpPr>
            <a:spLocks noGrp="1"/>
          </p:cNvSpPr>
          <p:nvPr>
            <p:ph type="sldNum" sz="quarter" idx="10"/>
          </p:nvPr>
        </p:nvSpPr>
        <p:spPr/>
        <p:txBody>
          <a:bodyPr/>
          <a:lstStyle/>
          <a:p>
            <a:fld id="{63963286-1E8F-4283-897F-36A68BBBC3D3}" type="slidenum">
              <a:rPr lang="en-GB" smtClean="0">
                <a:solidFill>
                  <a:prstClr val="black"/>
                </a:solidFill>
              </a:rPr>
              <a:pPr/>
              <a:t>21</a:t>
            </a:fld>
            <a:endParaRPr lang="en-GB" dirty="0">
              <a:solidFill>
                <a:prstClr val="black"/>
              </a:solidFill>
            </a:endParaRPr>
          </a:p>
        </p:txBody>
      </p:sp>
    </p:spTree>
    <p:extLst>
      <p:ext uri="{BB962C8B-B14F-4D97-AF65-F5344CB8AC3E}">
        <p14:creationId xmlns:p14="http://schemas.microsoft.com/office/powerpoint/2010/main" val="199034446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For use = not specific for places of det</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Disclosure: </a:t>
            </a:r>
            <a:endParaRPr lang="fr-CH"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Active listening</a:t>
            </a:r>
            <a:r>
              <a:rPr lang="en-US" sz="1200" kern="1200" dirty="0">
                <a:solidFill>
                  <a:schemeClr val="tx1"/>
                </a:solidFill>
                <a:effectLst/>
                <a:latin typeface="+mn-lt"/>
                <a:ea typeface="+mn-ea"/>
                <a:cs typeface="+mn-cs"/>
              </a:rPr>
              <a:t> – focus on assessing </a:t>
            </a:r>
            <a:r>
              <a:rPr lang="en-US" sz="1200" b="1" kern="1200" dirty="0">
                <a:solidFill>
                  <a:schemeClr val="tx1"/>
                </a:solidFill>
                <a:effectLst/>
                <a:latin typeface="+mn-lt"/>
                <a:ea typeface="+mn-ea"/>
                <a:cs typeface="+mn-cs"/>
              </a:rPr>
              <a:t>urgent needs</a:t>
            </a:r>
            <a:r>
              <a:rPr lang="en-US" sz="1200" kern="1200" dirty="0">
                <a:solidFill>
                  <a:schemeClr val="tx1"/>
                </a:solidFill>
                <a:effectLst/>
                <a:latin typeface="+mn-lt"/>
                <a:ea typeface="+mn-ea"/>
                <a:cs typeface="+mn-cs"/>
              </a:rPr>
              <a:t> and provide information about </a:t>
            </a:r>
            <a:r>
              <a:rPr lang="en-US" sz="1200" b="1" kern="1200" dirty="0">
                <a:solidFill>
                  <a:schemeClr val="tx1"/>
                </a:solidFill>
                <a:effectLst/>
                <a:latin typeface="+mn-lt"/>
                <a:ea typeface="+mn-ea"/>
                <a:cs typeface="+mn-cs"/>
              </a:rPr>
              <a:t>available services</a:t>
            </a:r>
            <a:r>
              <a:rPr lang="en-US" sz="1200" kern="1200" dirty="0">
                <a:solidFill>
                  <a:schemeClr val="tx1"/>
                </a:solidFill>
                <a:effectLst/>
                <a:latin typeface="+mn-lt"/>
                <a:ea typeface="+mn-ea"/>
                <a:cs typeface="+mn-cs"/>
              </a:rPr>
              <a:t> </a:t>
            </a:r>
            <a:endParaRPr lang="fr-CH"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Your priority is to assess the most urgent needs for services and refer. The “story” of what happened is not a priority and a victim feeling under pressure to repeat what took place can result in secondary exposure that can trigger re-traumatisation. However, if the person shares information spontaneously, it can be emotionally positive and should not be interrupted. Still, focus on the needs by listening carefully and providing information about available support and services. That is your priority. </a:t>
            </a:r>
          </a:p>
          <a:p>
            <a:endParaRPr lang="fr-CH"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Documentation, confidentiality and informed consent </a:t>
            </a:r>
            <a:endParaRPr lang="fr-CH"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Documentation of relevant information related to needs can be required to ensure that individuals receive help further down the line and do not have to repeat their story over and over again to different service providers which can trigger re-traumatisation. Make sure to explain the purpose of the documentation and its confidential sharing with relevant service providers in a clear manner before obtaining informed consent to document and share the records. Remember, the victim/survivor and their consent come first, documentation second, so in the absence of informed consent, do not document because doing that without consent can trigger traumatisation where the person re-lives to be overpowered by another person(s). </a:t>
            </a:r>
            <a:endParaRPr lang="fr-CH"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endParaRPr lang="fr-CH"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Referral and Informed Consent</a:t>
            </a:r>
            <a:endParaRPr lang="fr-CH"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fter sharing information about available services, only refer a person who has given her informed consent in a clear manner. Try not to advise or convince the person about what she should do. Just listen and offer information and then ask what they want. Note that persons differ in terms of capacities and </a:t>
            </a:r>
            <a:r>
              <a:rPr lang="en-CA" sz="1200" kern="1200" dirty="0">
                <a:solidFill>
                  <a:schemeClr val="tx1"/>
                </a:solidFill>
                <a:effectLst/>
                <a:latin typeface="+mn-lt"/>
                <a:ea typeface="+mn-ea"/>
                <a:cs typeface="+mn-cs"/>
              </a:rPr>
              <a:t>priorities so while one person’s priority could be to seek medical treatment, another’s could be to get themselves or their families away from perpetrator(s). Someone else might decide it is safest not to report or seek service at all.  </a:t>
            </a:r>
            <a:r>
              <a:rPr lang="en-US" sz="1200" kern="1200" dirty="0">
                <a:solidFill>
                  <a:schemeClr val="tx1"/>
                </a:solidFill>
                <a:effectLst/>
                <a:latin typeface="+mn-lt"/>
                <a:ea typeface="+mn-ea"/>
                <a:cs typeface="+mn-cs"/>
              </a:rPr>
              <a:t>Before doing anything, it is key to be clear about what the person wants by obtaining their informed consent that means that the person choses if she wants immediate support, no support at all or possibly later. Remember it is important to respect the decisions the person makes (survivor-centered approach). This empowers the person. If further support is refused, we should accept while also offering her to contact or reach out to you or the ICRC later for support if they change their mind. Referring without obtaining informed consent can trigger re-traumatisation where the person re-lives to be overpowered by another person(s).</a:t>
            </a:r>
            <a:endParaRPr lang="fr-CH"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endParaRPr lang="fr-CH"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Safety </a:t>
            </a:r>
            <a:endParaRPr lang="fr-CH"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ll staff members must place concerns for the safety of each individual at the center of decision making. Ensuring safety is a top priority whether the beneficiary talks about it or not. Still, remember that a </a:t>
            </a:r>
            <a:r>
              <a:rPr lang="en-CA" sz="1200" kern="1200" dirty="0">
                <a:solidFill>
                  <a:schemeClr val="tx1"/>
                </a:solidFill>
                <a:effectLst/>
                <a:latin typeface="+mn-lt"/>
                <a:ea typeface="+mn-ea"/>
                <a:cs typeface="+mn-cs"/>
              </a:rPr>
              <a:t>victim/survivor always knows their own safety situation best, and is best placed to choose any follow-up actions. We simply do not know enough about their situation to offer advice. The more information they have about service availability, the greater their power to take informed action.</a:t>
            </a:r>
            <a:endParaRPr lang="fr-CH"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endParaRPr lang="fr-CH"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endParaRPr lang="fr-CH"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Person starts crying </a:t>
            </a:r>
            <a:endParaRPr lang="fr-CH"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t this moment, the ideal is to be able to offer her emotional support by not becoming overwhelmed yourself. It would facilitate emotional venting and trust-building. By reacting emotionally, you risk the person feeling that she should contain herself as she is clearly affecting you, or she becomes defensive/reactive to you (e.g. “what do you know about my situation”). In any case, reacting emotionally will probably blur the lines of your professional relationship with the person and that will probably become an issue. </a:t>
            </a:r>
            <a:endParaRPr lang="fr-CH" sz="1200" kern="1200" dirty="0">
              <a:solidFill>
                <a:schemeClr val="tx1"/>
              </a:solidFill>
              <a:effectLst/>
              <a:latin typeface="+mn-lt"/>
              <a:ea typeface="+mn-ea"/>
              <a:cs typeface="+mn-cs"/>
            </a:endParaRPr>
          </a:p>
          <a:p>
            <a:endParaRPr lang="fr-CH"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9FC6F6-FA8B-44A4-9EEA-AA6C6807EB3D}" type="slidenum">
              <a:rPr kumimoji="0" lang="fr-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fr-CH"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2634721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6CB6252A-633C-4854-917D-2B156AD22AC0}" type="slidenum">
              <a:rPr lang="en-GB" smtClean="0"/>
              <a:t>24</a:t>
            </a:fld>
            <a:endParaRPr lang="en-GB" dirty="0"/>
          </a:p>
        </p:txBody>
      </p:sp>
    </p:spTree>
    <p:extLst>
      <p:ext uri="{BB962C8B-B14F-4D97-AF65-F5344CB8AC3E}">
        <p14:creationId xmlns:p14="http://schemas.microsoft.com/office/powerpoint/2010/main" val="206536026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Group exercise </a:t>
            </a:r>
            <a:endParaRPr lang="fr-CH" sz="12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Divide the participants into 4 groups, ask the participants to reflect on the video and think about how the principles relate to their work in first aid. Give each group one of the four guiding principles and ask them to write down on a flipchart:</a:t>
            </a:r>
          </a:p>
          <a:p>
            <a:pPr>
              <a:lnSpc>
                <a:spcPct val="107000"/>
              </a:lnSpc>
              <a:spcAft>
                <a:spcPts val="800"/>
              </a:spcAft>
            </a:pP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228600" indent="-228600">
              <a:lnSpc>
                <a:spcPct val="107000"/>
              </a:lnSpc>
              <a:spcAft>
                <a:spcPts val="800"/>
              </a:spcAft>
              <a:buFont typeface="+mj-lt"/>
              <a:buAutoNum type="arabicPeriod"/>
            </a:pPr>
            <a:r>
              <a:rPr lang="en-US" sz="1200" dirty="0">
                <a:effectLst/>
                <a:latin typeface="Calibri" panose="020F0502020204030204" pitchFamily="34" charset="0"/>
                <a:ea typeface="Calibri" panose="020F0502020204030204" pitchFamily="34" charset="0"/>
                <a:cs typeface="Times New Roman" panose="02020603050405020304" pitchFamily="18" charset="0"/>
              </a:rPr>
              <a:t>What are the ways you could show a survivor that you are honoring respect (group 1), safety (group 2), non-discrimination (group 3) and confidentiality (group 4)  in your work. </a:t>
            </a:r>
          </a:p>
          <a:p>
            <a:pPr marL="228600" indent="-228600">
              <a:lnSpc>
                <a:spcPct val="107000"/>
              </a:lnSpc>
              <a:spcAft>
                <a:spcPts val="800"/>
              </a:spcAft>
              <a:buFont typeface="+mj-lt"/>
              <a:buAutoNum type="arabicPeriod"/>
            </a:pPr>
            <a:r>
              <a:rPr lang="en-US" sz="1200" dirty="0">
                <a:effectLst/>
                <a:latin typeface="Calibri" panose="020F0502020204030204" pitchFamily="34" charset="0"/>
                <a:ea typeface="Calibri" panose="020F0502020204030204" pitchFamily="34" charset="0"/>
                <a:cs typeface="Times New Roman" panose="02020603050405020304" pitchFamily="18" charset="0"/>
              </a:rPr>
              <a:t>What are the possible negative consequences for the survivor, if the Guiding Principles are not adhered to? Respect (group 1), Safety (group 2), Non-discrimination (group 3) and Confidentiality (group 4)</a:t>
            </a:r>
          </a:p>
          <a:p>
            <a:pPr marL="0" indent="0">
              <a:lnSpc>
                <a:spcPct val="107000"/>
              </a:lnSpc>
              <a:spcAft>
                <a:spcPts val="800"/>
              </a:spcAft>
              <a:buFont typeface="+mj-lt"/>
              <a:buNone/>
            </a:pP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0" indent="0">
              <a:lnSpc>
                <a:spcPct val="107000"/>
              </a:lnSpc>
              <a:spcAft>
                <a:spcPts val="800"/>
              </a:spcAft>
              <a:buFont typeface="+mj-lt"/>
              <a:buNone/>
            </a:pPr>
            <a:r>
              <a:rPr lang="en-US" sz="1200" dirty="0">
                <a:effectLst/>
                <a:latin typeface="Calibri" panose="020F0502020204030204" pitchFamily="34" charset="0"/>
                <a:ea typeface="Calibri" panose="020F0502020204030204" pitchFamily="34" charset="0"/>
                <a:cs typeface="Times New Roman" panose="02020603050405020304" pitchFamily="18" charset="0"/>
              </a:rPr>
              <a:t>Give them 10 min and then let each group present in plenum another 10 min.  </a:t>
            </a:r>
            <a:endParaRPr lang="fr-CH" sz="1200" dirty="0">
              <a:effectLst/>
              <a:latin typeface="Calibri" panose="020F0502020204030204" pitchFamily="34" charset="0"/>
              <a:ea typeface="Calibri" panose="020F0502020204030204" pitchFamily="34" charset="0"/>
              <a:cs typeface="Times New Roman" panose="02020603050405020304" pitchFamily="18" charset="0"/>
            </a:endParaRPr>
          </a:p>
          <a:p>
            <a:pPr marL="0" lvl="0" indent="0">
              <a:lnSpc>
                <a:spcPct val="107000"/>
              </a:lnSpc>
              <a:spcAft>
                <a:spcPts val="800"/>
              </a:spcAft>
              <a:buFont typeface="Symbol" panose="05050102010706020507" pitchFamily="18" charset="2"/>
              <a:buNone/>
            </a:pPr>
            <a:r>
              <a:rPr lang="en-US" sz="1200" dirty="0">
                <a:effectLst/>
                <a:latin typeface="Calibri" panose="020F0502020204030204" pitchFamily="34" charset="0"/>
                <a:ea typeface="Calibri" panose="020F0502020204030204" pitchFamily="34" charset="0"/>
                <a:cs typeface="Times New Roman" panose="02020603050405020304" pitchFamily="18" charset="0"/>
              </a:rPr>
              <a:t>Present slide 10 recap on good practices when meeting a survivor </a:t>
            </a:r>
          </a:p>
          <a:p>
            <a:pPr marL="0" lvl="0" indent="0">
              <a:lnSpc>
                <a:spcPct val="107000"/>
              </a:lnSpc>
              <a:spcAft>
                <a:spcPts val="800"/>
              </a:spcAft>
              <a:buFont typeface="Symbol" panose="05050102010706020507" pitchFamily="18" charset="2"/>
              <a:buNone/>
            </a:pP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0" lvl="0" indent="0">
              <a:lnSpc>
                <a:spcPct val="107000"/>
              </a:lnSpc>
              <a:spcAft>
                <a:spcPts val="800"/>
              </a:spcAft>
              <a:buFont typeface="Symbol" panose="05050102010706020507" pitchFamily="18" charset="2"/>
              <a:buNone/>
            </a:pPr>
            <a:r>
              <a:rPr lang="en-US" sz="1200" dirty="0">
                <a:effectLst/>
                <a:latin typeface="Calibri" panose="020F0502020204030204" pitchFamily="34" charset="0"/>
                <a:ea typeface="Calibri" panose="020F0502020204030204" pitchFamily="34" charset="0"/>
                <a:cs typeface="Times New Roman" panose="02020603050405020304" pitchFamily="18" charset="0"/>
              </a:rPr>
              <a:t>Short version</a:t>
            </a:r>
            <a:r>
              <a:rPr kumimoji="0" lang="en-US" sz="1200" b="0" i="0" u="none" strike="noStrike" kern="1200" cap="none" spc="0" normalizeH="0" baseline="0" dirty="0">
                <a:ln>
                  <a:noFill/>
                </a:ln>
                <a:solidFill>
                  <a:schemeClr val="tx1"/>
                </a:solidFill>
                <a:effectLst/>
                <a:uLnTx/>
                <a:uFillTx/>
                <a:latin typeface="Calibri" panose="020F0502020204030204" pitchFamily="34" charset="0"/>
                <a:ea typeface="Calibri" panose="020F0502020204030204" pitchFamily="34" charset="0"/>
                <a:cs typeface="Times New Roman" panose="02020603050405020304" pitchFamily="18" charset="0"/>
              </a:rPr>
              <a:t> </a:t>
            </a:r>
            <a:r>
              <a:rPr kumimoji="0" lang="en-US" sz="1200" b="0" i="0" u="none" strike="noStrike" kern="1200" cap="none" spc="0" normalizeH="0" baseline="0" noProof="0" dirty="0">
                <a:ln>
                  <a:noFill/>
                </a:ln>
                <a:solidFill>
                  <a:prstClr val="black"/>
                </a:solidFill>
                <a:effectLst/>
                <a:uLnTx/>
                <a:uFillTx/>
                <a:latin typeface="+mn-lt"/>
                <a:ea typeface="+mn-ea"/>
                <a:cs typeface="+mn-cs"/>
              </a:rPr>
              <a:t>Brainstorming exercises (ca 10-15 mi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Go through each of the four principals and ask the group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What are the ways you could show a survivor that you are honoring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Respec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Safet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non-discrimination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Confidentiality </a:t>
            </a:r>
            <a:r>
              <a:rPr kumimoji="0" lang="en-US" sz="1200" b="1" i="0" u="none" strike="noStrike" kern="1200" cap="none" spc="0" normalizeH="0" baseline="0" noProof="0" dirty="0">
                <a:ln>
                  <a:noFill/>
                </a:ln>
                <a:solidFill>
                  <a:prstClr val="black"/>
                </a:solidFill>
                <a:effectLst/>
                <a:uLnTx/>
                <a:uFillTx/>
                <a:latin typeface="+mn-lt"/>
                <a:ea typeface="+mn-ea"/>
                <a:cs typeface="+mn-cs"/>
              </a:rPr>
              <a:t>also telling what is examination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ollowed by the question: What are the possible negative consequences for the survivor, if the Guiding Principles are not adhered to? Respect, Safety, Non-discrimination and Confidentiality</a:t>
            </a:r>
          </a:p>
          <a:p>
            <a:pPr marL="0" lvl="0" indent="0">
              <a:lnSpc>
                <a:spcPct val="107000"/>
              </a:lnSpc>
              <a:spcAft>
                <a:spcPts val="800"/>
              </a:spcAft>
              <a:buFont typeface="Symbol" panose="05050102010706020507" pitchFamily="18" charset="2"/>
              <a:buNone/>
            </a:pPr>
            <a:endParaRPr lang="fr-CH" sz="12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3B04594-FEFF-42EB-9C0F-540470BC4440}" type="slidenum">
              <a:rPr kumimoji="0" lang="fr-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fr-CH"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736686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1" i="0" u="none" strike="noStrike" kern="1200" dirty="0">
                <a:solidFill>
                  <a:schemeClr val="tx1"/>
                </a:solidFill>
                <a:effectLst/>
                <a:latin typeface="IBM Plex Sans Bold" panose="020B0604020202020204" charset="0"/>
                <a:ea typeface="+mn-ea"/>
                <a:cs typeface="+mn-cs"/>
              </a:rPr>
              <a:t>Cornelia Rau</a:t>
            </a:r>
            <a:r>
              <a:rPr lang="en-GB" sz="1200" b="0" i="0" u="none" strike="noStrike" kern="1200" dirty="0">
                <a:solidFill>
                  <a:schemeClr val="tx1"/>
                </a:solidFill>
                <a:effectLst/>
                <a:latin typeface="IBM Plex Sans Bold" panose="020B0604020202020204" charset="0"/>
                <a:ea typeface="+mn-ea"/>
                <a:cs typeface="+mn-cs"/>
              </a:rPr>
              <a:t> is a German and Australian citizen who was unlawfully detained for a period of ten months in 2004 and 2005 as part of the Australian Government mandatory detention program.   Her detention became the subject of a government inquiry which was later expanded to investigate over 200 other cases of suspected unlawful detention by the Australian government.  Cornelia  disappeared from hospital on 17 March 2004, and, in February 2005, it was revealed that she had been unlawfully detained at BWCC a prison, and later at Baxter IDC  after being classified as a suspected illegal immigrant or non-citizen by the Immigration Department when she refused to reveal her true identity.</a:t>
            </a:r>
            <a:endParaRPr lang="en-GB" sz="1200" b="0" i="0" u="none" strike="noStrike" kern="1200" baseline="30000" dirty="0">
              <a:solidFill>
                <a:schemeClr val="tx1"/>
              </a:solidFill>
              <a:effectLst/>
              <a:latin typeface="IBM Plex Sans Bold" panose="020B0604020202020204" charset="0"/>
              <a:ea typeface="+mn-ea"/>
              <a:cs typeface="+mn-cs"/>
            </a:endParaRPr>
          </a:p>
          <a:p>
            <a:endParaRPr lang="en-GB" sz="1200" b="0" i="0" u="none" strike="noStrike" kern="1200" baseline="30000" dirty="0">
              <a:solidFill>
                <a:schemeClr val="tx1"/>
              </a:solidFill>
              <a:effectLst/>
              <a:latin typeface="IBM Plex Sans Bold" panose="020B0604020202020204" charset="0"/>
              <a:ea typeface="+mn-ea"/>
              <a:cs typeface="+mn-cs"/>
            </a:endParaRPr>
          </a:p>
          <a:p>
            <a:r>
              <a:rPr lang="en-GB" sz="1200" b="1" i="0" u="none" strike="noStrike" kern="1200" dirty="0">
                <a:solidFill>
                  <a:schemeClr val="tx1"/>
                </a:solidFill>
                <a:effectLst/>
                <a:latin typeface="IBM Plex Sans Bold" panose="020B0604020202020204" charset="0"/>
                <a:ea typeface="+mn-ea"/>
                <a:cs typeface="+mn-cs"/>
              </a:rPr>
              <a:t>Vivian Alvarez Solon</a:t>
            </a:r>
            <a:r>
              <a:rPr lang="en-GB" sz="1200" b="0" i="0" u="none" strike="noStrike" kern="1200" dirty="0">
                <a:solidFill>
                  <a:schemeClr val="tx1"/>
                </a:solidFill>
                <a:effectLst/>
                <a:latin typeface="IBM Plex Sans Bold" panose="020B0604020202020204" charset="0"/>
                <a:ea typeface="+mn-ea"/>
                <a:cs typeface="+mn-cs"/>
              </a:rPr>
              <a:t> is an Australia who was unlawfully removed to the Philippines by the Immigration Department in July 2001. In May 2005, it became public knowledge that she had been deported although the government  knew of its mistake in 2003. Solon's family had listed her as a missing person since July 2003, and until May 2005, did not know that she had been deported. The circumstances surrounding Solon's unlawful deportation have caused much controversy in the media.</a:t>
            </a:r>
          </a:p>
          <a:p>
            <a:endParaRPr lang="en-GB" sz="1200" b="0" i="0" u="none" strike="noStrike" kern="1200" dirty="0">
              <a:solidFill>
                <a:schemeClr val="tx1"/>
              </a:solidFill>
              <a:effectLst/>
              <a:latin typeface="IBM Plex Sans Bold" panose="020B0604020202020204" charset="0"/>
              <a:ea typeface="+mn-ea"/>
              <a:cs typeface="+mn-cs"/>
            </a:endParaRPr>
          </a:p>
          <a:p>
            <a:r>
              <a:rPr lang="en-GB" sz="1200" b="0" i="0" u="none" strike="noStrike" kern="1200" dirty="0">
                <a:solidFill>
                  <a:schemeClr val="tx1"/>
                </a:solidFill>
                <a:effectLst/>
                <a:latin typeface="IBM Plex Sans Bold" panose="020B0604020202020204" charset="0"/>
                <a:ea typeface="+mn-ea"/>
                <a:cs typeface="+mn-cs"/>
              </a:rPr>
              <a:t>These two incidents led to a wide ranging review of the immigration.  The disbanding of a major government department and the forming of a new department with new leaders, new systems, new processes.  In October 2005, a report on Solon's deportation was released, following an inquiry conducted by a former police commissioner. The report revealed that several senior officials in knew about Solon's unlawful deportation in 2003 and 2004, and failed to act. It also found that Solon's mental and physical health problems were not given proper attention.</a:t>
            </a:r>
            <a:r>
              <a:rPr lang="en-GB" sz="1200" b="0" i="0" u="none" strike="noStrike" kern="1200" baseline="30000" dirty="0">
                <a:solidFill>
                  <a:schemeClr val="tx1"/>
                </a:solidFill>
                <a:effectLst/>
                <a:latin typeface="IBM Plex Sans Bold" panose="020B0604020202020204" charset="0"/>
                <a:ea typeface="+mn-ea"/>
                <a:cs typeface="+mn-cs"/>
              </a:rPr>
              <a:t>  </a:t>
            </a:r>
            <a:r>
              <a:rPr lang="en-GB" sz="1200" b="0" i="0" u="none" strike="noStrike" kern="1200" dirty="0">
                <a:solidFill>
                  <a:schemeClr val="tx1"/>
                </a:solidFill>
                <a:effectLst/>
                <a:latin typeface="IBM Plex Sans Bold" panose="020B0604020202020204" charset="0"/>
                <a:ea typeface="+mn-ea"/>
                <a:cs typeface="+mn-cs"/>
              </a:rPr>
              <a:t>Solon returned to Australia on 18 November 2005.</a:t>
            </a:r>
          </a:p>
          <a:p>
            <a:endParaRPr lang="en-GB" sz="1200" b="0" i="0" u="none" strike="noStrike" kern="1200" dirty="0">
              <a:solidFill>
                <a:schemeClr val="tx1"/>
              </a:solidFill>
              <a:effectLst/>
              <a:latin typeface="IBM Plex Sans Bold" panose="020B0604020202020204" charset="0"/>
              <a:ea typeface="+mn-ea"/>
              <a:cs typeface="+mn-cs"/>
            </a:endParaRPr>
          </a:p>
          <a:p>
            <a:r>
              <a:rPr lang="en-GB" sz="1200" b="0" i="0" u="none" strike="noStrike" kern="1200" dirty="0">
                <a:solidFill>
                  <a:schemeClr val="tx1"/>
                </a:solidFill>
                <a:effectLst/>
                <a:latin typeface="IBM Plex Sans Bold" panose="020B0604020202020204" charset="0"/>
                <a:ea typeface="+mn-ea"/>
                <a:cs typeface="+mn-cs"/>
              </a:rPr>
              <a:t>IDC on mainland….fruit pickers and airport turnaround, visa over stayers in each state</a:t>
            </a:r>
          </a:p>
          <a:p>
            <a:endParaRPr lang="en-GB" sz="1200" b="0" i="0" u="none" strike="noStrike" kern="1200" dirty="0">
              <a:solidFill>
                <a:schemeClr val="tx1"/>
              </a:solidFill>
              <a:effectLst/>
              <a:latin typeface="IBM Plex Sans Bold" panose="020B0604020202020204" charset="0"/>
              <a:ea typeface="+mn-ea"/>
              <a:cs typeface="+mn-cs"/>
            </a:endParaRPr>
          </a:p>
          <a:p>
            <a:r>
              <a:rPr lang="en-GB" sz="1200" b="0" i="0" u="none" strike="noStrike" kern="1200" dirty="0">
                <a:solidFill>
                  <a:schemeClr val="tx1"/>
                </a:solidFill>
                <a:effectLst/>
                <a:latin typeface="IBM Plex Sans Bold" panose="020B0604020202020204" charset="0"/>
                <a:ea typeface="+mn-ea"/>
                <a:cs typeface="+mn-cs"/>
              </a:rPr>
              <a:t>During 2007-2009 Suspected Illegal entry vessels remained low, total immigration detention numbers were at about 1000 with less than 30 on CI…the system was coping.  That changed in 2009….global factors.</a:t>
            </a:r>
          </a:p>
          <a:p>
            <a:endParaRPr lang="en-GB" sz="1200" b="0" i="0" u="none" strike="noStrike" kern="1200" dirty="0">
              <a:solidFill>
                <a:schemeClr val="tx1"/>
              </a:solidFill>
              <a:effectLst/>
              <a:latin typeface="IBM Plex Sans Bold" panose="020B0604020202020204" charset="0"/>
              <a:ea typeface="+mn-ea"/>
              <a:cs typeface="+mn-cs"/>
            </a:endParaRPr>
          </a:p>
          <a:p>
            <a:r>
              <a:rPr lang="en-GB" sz="1200" b="0" i="0" u="none" strike="noStrike" kern="1200" dirty="0">
                <a:solidFill>
                  <a:schemeClr val="tx1"/>
                </a:solidFill>
                <a:effectLst/>
                <a:latin typeface="IBM Plex Sans Bold" panose="020B0604020202020204" charset="0"/>
                <a:ea typeface="+mn-ea"/>
                <a:cs typeface="+mn-cs"/>
              </a:rPr>
              <a:t>Community detention was never used on CI and was rarely used in the mainland</a:t>
            </a:r>
          </a:p>
          <a:p>
            <a:endParaRPr lang="en-GB" sz="1200" b="0" i="0" u="none" strike="noStrike" kern="1200" dirty="0">
              <a:solidFill>
                <a:schemeClr val="tx1"/>
              </a:solidFill>
              <a:effectLst/>
              <a:latin typeface="IBM Plex Sans Bold" panose="020B0604020202020204" charset="0"/>
              <a:ea typeface="+mn-ea"/>
              <a:cs typeface="+mn-cs"/>
            </a:endParaRPr>
          </a:p>
          <a:p>
            <a:r>
              <a:rPr lang="en-GB" sz="1200" kern="1200" dirty="0">
                <a:solidFill>
                  <a:schemeClr val="tx1"/>
                </a:solidFill>
                <a:effectLst/>
                <a:latin typeface="IBM Plex Sans Bold" panose="020B0604020202020204" charset="0"/>
                <a:ea typeface="+mn-ea"/>
                <a:cs typeface="+mn-cs"/>
              </a:rPr>
              <a:t>The number of people in immigration detention on Christmas Island increased significantly from July 2009 since the Commission’s July 2009 visit. By the start of 2010  there were 2421 people in immigration detention on Christmas Island, including 250 minors.19 At the same time, there were 1045 irregular maritime arrivals in detention on the mainland, including 246 minors.20   CI numbers continued to increase to c 3550</a:t>
            </a:r>
          </a:p>
          <a:p>
            <a:endParaRPr lang="en-GB" dirty="0"/>
          </a:p>
          <a:p>
            <a:r>
              <a:rPr lang="en-GB" dirty="0"/>
              <a:t>Indefinite detention…not released, not returned..IMA</a:t>
            </a:r>
          </a:p>
          <a:p>
            <a:endParaRPr lang="en-GB" dirty="0"/>
          </a:p>
          <a:p>
            <a:endParaRPr lang="en-GB" sz="1200" b="0" i="0" u="none" strike="noStrike" kern="1200" dirty="0">
              <a:solidFill>
                <a:schemeClr val="tx1"/>
              </a:solidFill>
              <a:effectLst/>
              <a:latin typeface="IBM Plex Sans Bold" panose="020B0604020202020204" charset="0"/>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182782-6C10-4BAA-9345-28B1CB4B7A7F}" type="slidenum">
              <a:rPr kumimoji="0" lang="fr-CH" sz="1200" b="0" i="0" u="none" strike="noStrike" kern="1200" cap="none" spc="0" normalizeH="0" baseline="0" noProof="0" smtClean="0">
                <a:ln>
                  <a:noFill/>
                </a:ln>
                <a:solidFill>
                  <a:prstClr val="black"/>
                </a:solidFill>
                <a:effectLst/>
                <a:uLnTx/>
                <a:uFillTx/>
                <a:latin typeface="IBM Plex Sans Bold" panose="020B060402020202020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fr-CH" sz="1200" b="0" i="0" u="none" strike="noStrike" kern="1200" cap="none" spc="0" normalizeH="0" baseline="0" noProof="0" dirty="0">
              <a:ln>
                <a:noFill/>
              </a:ln>
              <a:solidFill>
                <a:prstClr val="black"/>
              </a:solidFill>
              <a:effectLst/>
              <a:uLnTx/>
              <a:uFillTx/>
              <a:latin typeface="IBM Plex Sans Bold" panose="020B0604020202020204" charset="0"/>
              <a:ea typeface="+mn-ea"/>
              <a:cs typeface="+mn-cs"/>
            </a:endParaRPr>
          </a:p>
        </p:txBody>
      </p:sp>
    </p:spTree>
    <p:extLst>
      <p:ext uri="{BB962C8B-B14F-4D97-AF65-F5344CB8AC3E}">
        <p14:creationId xmlns:p14="http://schemas.microsoft.com/office/powerpoint/2010/main" val="163254119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3237" rtl="0" eaLnBrk="1" fontAlgn="auto" latinLnBrk="0" hangingPunct="1">
              <a:lnSpc>
                <a:spcPct val="100000"/>
              </a:lnSpc>
              <a:spcBef>
                <a:spcPts val="0"/>
              </a:spcBef>
              <a:spcAft>
                <a:spcPts val="0"/>
              </a:spcAft>
              <a:buClrTx/>
              <a:buSzTx/>
              <a:buFontTx/>
              <a:buNone/>
              <a:tabLst/>
              <a:defRPr/>
            </a:pPr>
            <a:r>
              <a:rPr lang="en-GB" dirty="0"/>
              <a:t>Debrief = Interviews/registration of individuals </a:t>
            </a:r>
          </a:p>
          <a:p>
            <a:pPr marL="0" marR="0" lvl="0" indent="0" algn="l" defTabSz="933237" rtl="0" eaLnBrk="1" fontAlgn="auto" latinLnBrk="0" hangingPunct="1">
              <a:lnSpc>
                <a:spcPct val="100000"/>
              </a:lnSpc>
              <a:spcBef>
                <a:spcPts val="0"/>
              </a:spcBef>
              <a:spcAft>
                <a:spcPts val="0"/>
              </a:spcAft>
              <a:buClrTx/>
              <a:buSzTx/>
              <a:buFontTx/>
              <a:buNone/>
              <a:tabLst/>
              <a:defRPr/>
            </a:pPr>
            <a:r>
              <a:rPr lang="en-GB" dirty="0"/>
              <a:t>Tracking = Registration </a:t>
            </a:r>
          </a:p>
          <a:p>
            <a:pPr marL="0" marR="0" lvl="0" indent="0" algn="l" defTabSz="933237" rtl="0" eaLnBrk="1" fontAlgn="auto" latinLnBrk="0" hangingPunct="1">
              <a:lnSpc>
                <a:spcPct val="100000"/>
              </a:lnSpc>
              <a:spcBef>
                <a:spcPts val="0"/>
              </a:spcBef>
              <a:spcAft>
                <a:spcPts val="0"/>
              </a:spcAft>
              <a:buClrTx/>
              <a:buSzTx/>
              <a:buFontTx/>
              <a:buNone/>
              <a:tabLst/>
              <a:defRPr/>
            </a:pPr>
            <a:endParaRPr lang="en-GB" dirty="0"/>
          </a:p>
          <a:p>
            <a:pPr marL="0" marR="0" lvl="0" indent="0" algn="l" defTabSz="933237" rtl="0" eaLnBrk="1" fontAlgn="auto" latinLnBrk="0" hangingPunct="1">
              <a:lnSpc>
                <a:spcPct val="100000"/>
              </a:lnSpc>
              <a:spcBef>
                <a:spcPts val="0"/>
              </a:spcBef>
              <a:spcAft>
                <a:spcPts val="0"/>
              </a:spcAft>
              <a:buClrTx/>
              <a:buSzTx/>
              <a:buFontTx/>
              <a:buNone/>
              <a:tabLst/>
              <a:defRPr/>
            </a:pPr>
            <a:endParaRPr lang="en-GB" dirty="0"/>
          </a:p>
          <a:p>
            <a:pPr marL="0" marR="0" lvl="0" indent="0" algn="l" defTabSz="933237" rtl="0" eaLnBrk="1" fontAlgn="auto" latinLnBrk="0" hangingPunct="1">
              <a:lnSpc>
                <a:spcPct val="100000"/>
              </a:lnSpc>
              <a:spcBef>
                <a:spcPts val="0"/>
              </a:spcBef>
              <a:spcAft>
                <a:spcPts val="0"/>
              </a:spcAft>
              <a:buClrTx/>
              <a:buSzTx/>
              <a:buFontTx/>
              <a:buNone/>
              <a:tabLst/>
              <a:defRPr/>
            </a:pPr>
            <a:r>
              <a:rPr lang="en-GB" dirty="0"/>
              <a:t>Here you can see what services ICRC seeks to support or provide and what services ICRC does not provide. </a:t>
            </a:r>
          </a:p>
          <a:p>
            <a:pPr marL="0" marR="0" lvl="0" indent="0" algn="l" defTabSz="933237" rtl="0" eaLnBrk="1" fontAlgn="auto" latinLnBrk="0" hangingPunct="1">
              <a:lnSpc>
                <a:spcPct val="100000"/>
              </a:lnSpc>
              <a:spcBef>
                <a:spcPts val="0"/>
              </a:spcBef>
              <a:spcAft>
                <a:spcPts val="0"/>
              </a:spcAft>
              <a:buClrTx/>
              <a:buSzTx/>
              <a:buFontTx/>
              <a:buNone/>
              <a:tabLst/>
              <a:defRPr/>
            </a:pPr>
            <a:endParaRPr lang="en-GB" dirty="0"/>
          </a:p>
          <a:p>
            <a:pPr marL="0" marR="0" lvl="0" indent="0" algn="l" defTabSz="933237" rtl="0" eaLnBrk="1" fontAlgn="auto" latinLnBrk="0" hangingPunct="1">
              <a:lnSpc>
                <a:spcPct val="100000"/>
              </a:lnSpc>
              <a:spcBef>
                <a:spcPts val="0"/>
              </a:spcBef>
              <a:spcAft>
                <a:spcPts val="0"/>
              </a:spcAft>
              <a:buClrTx/>
              <a:buSzTx/>
              <a:buFontTx/>
              <a:buNone/>
              <a:tabLst/>
              <a:defRPr/>
            </a:pPr>
            <a:r>
              <a:rPr lang="en-GB" dirty="0"/>
              <a:t>The image represents the multi-disciplinary or multi-sectoral approach and since ICRC cannot meet all the needs of victims/survivors, we seek out cooperation with others as much as possible. </a:t>
            </a:r>
          </a:p>
          <a:p>
            <a:pPr marL="0" marR="0" lvl="0" indent="0" algn="l" defTabSz="933237" rtl="0" eaLnBrk="1" fontAlgn="auto" latinLnBrk="0" hangingPunct="1">
              <a:lnSpc>
                <a:spcPct val="100000"/>
              </a:lnSpc>
              <a:spcBef>
                <a:spcPts val="0"/>
              </a:spcBef>
              <a:spcAft>
                <a:spcPts val="0"/>
              </a:spcAft>
              <a:buClrTx/>
              <a:buSzTx/>
              <a:buFontTx/>
              <a:buNone/>
              <a:tabLst/>
              <a:defRPr/>
            </a:pPr>
            <a:endParaRPr lang="en-GB" dirty="0"/>
          </a:p>
          <a:p>
            <a:pPr defTabSz="933237">
              <a:defRPr/>
            </a:pPr>
            <a:r>
              <a:rPr lang="en-GB" dirty="0"/>
              <a:t>At the same time, what type of services ICRC provides in each context also depends on the capacity of ICRC compared to other available actors or service providers and the added value of having ICRC providing certain services. </a:t>
            </a:r>
          </a:p>
          <a:p>
            <a:pPr defTabSz="933237">
              <a:defRPr/>
            </a:pPr>
            <a:endParaRPr lang="en-GB" dirty="0"/>
          </a:p>
          <a:p>
            <a:pPr defTabSz="933237">
              <a:defRPr/>
            </a:pPr>
            <a:r>
              <a:rPr lang="en-GB" dirty="0"/>
              <a:t>For instance, </a:t>
            </a:r>
            <a:r>
              <a:rPr lang="en-GB" dirty="0">
                <a:highlight>
                  <a:srgbClr val="FFFF00"/>
                </a:highlight>
              </a:rPr>
              <a:t>if the only hospital in the vicinity of sectarian fighting between a state military and a rebel group is run by the state, there might be a high level of distrust among segment of the population and the rebel group preventing them to seek medical services. In such cases, what should ICRC do? </a:t>
            </a:r>
          </a:p>
          <a:p>
            <a:pPr defTabSz="933237">
              <a:defRPr/>
            </a:pPr>
            <a:endParaRPr lang="en-GB" dirty="0">
              <a:highlight>
                <a:srgbClr val="FFFF00"/>
              </a:highlight>
            </a:endParaRPr>
          </a:p>
          <a:p>
            <a:pPr marL="171450" indent="-171450" defTabSz="933237">
              <a:buFont typeface="Arial" panose="020B0604020202020204" pitchFamily="34" charset="0"/>
              <a:buChar char="•"/>
              <a:defRPr/>
            </a:pPr>
            <a:r>
              <a:rPr lang="en-GB" dirty="0">
                <a:highlight>
                  <a:srgbClr val="FFFF00"/>
                </a:highlight>
              </a:rPr>
              <a:t>Map other actors providing medial service which ICRC can refer to?</a:t>
            </a:r>
          </a:p>
          <a:p>
            <a:pPr marL="171450" indent="-171450" defTabSz="933237">
              <a:buFont typeface="Arial" panose="020B0604020202020204" pitchFamily="34" charset="0"/>
              <a:buChar char="•"/>
              <a:defRPr/>
            </a:pPr>
            <a:r>
              <a:rPr lang="en-GB" dirty="0">
                <a:highlight>
                  <a:srgbClr val="FFFF00"/>
                </a:highlight>
              </a:rPr>
              <a:t>Establish its own hospital as to ensure unimpeded humanitarian access to medical services? </a:t>
            </a:r>
          </a:p>
          <a:p>
            <a:pPr marL="0" marR="0" lvl="0" indent="0" algn="l" defTabSz="933237" rtl="0" eaLnBrk="1" fontAlgn="auto" latinLnBrk="0" hangingPunct="1">
              <a:lnSpc>
                <a:spcPct val="100000"/>
              </a:lnSpc>
              <a:spcBef>
                <a:spcPts val="0"/>
              </a:spcBef>
              <a:spcAft>
                <a:spcPts val="0"/>
              </a:spcAft>
              <a:buClrTx/>
              <a:buSzTx/>
              <a:buFontTx/>
              <a:buNone/>
              <a:tabLst/>
              <a:defRPr/>
            </a:pPr>
            <a:endParaRPr lang="en-GB" dirty="0"/>
          </a:p>
          <a:p>
            <a:pPr marL="0" marR="0" lvl="0" indent="0" algn="l" defTabSz="933237" rtl="0" eaLnBrk="1" fontAlgn="auto" latinLnBrk="0" hangingPunct="1">
              <a:lnSpc>
                <a:spcPct val="100000"/>
              </a:lnSpc>
              <a:spcBef>
                <a:spcPts val="0"/>
              </a:spcBef>
              <a:spcAft>
                <a:spcPts val="0"/>
              </a:spcAft>
              <a:buClrTx/>
              <a:buSzTx/>
              <a:buFontTx/>
              <a:buNone/>
              <a:tabLst/>
              <a:defRPr/>
            </a:pPr>
            <a:endParaRPr lang="en-GB" dirty="0"/>
          </a:p>
          <a:p>
            <a:pPr marL="0" marR="0" lvl="0" indent="0" algn="l" defTabSz="933237" rtl="0" eaLnBrk="1" fontAlgn="auto" latinLnBrk="0" hangingPunct="1">
              <a:lnSpc>
                <a:spcPct val="100000"/>
              </a:lnSpc>
              <a:spcBef>
                <a:spcPts val="0"/>
              </a:spcBef>
              <a:spcAft>
                <a:spcPts val="0"/>
              </a:spcAft>
              <a:buClrTx/>
              <a:buSzTx/>
              <a:buFontTx/>
              <a:buNone/>
              <a:tabLst/>
              <a:defRPr/>
            </a:pPr>
            <a:r>
              <a:rPr lang="en-AU" dirty="0"/>
              <a:t>This is something that needs to be considered context by context and we will discuss later. </a:t>
            </a:r>
          </a:p>
          <a:p>
            <a:pPr marL="0" marR="0" lvl="0" indent="0" algn="l" defTabSz="933237" rtl="0" eaLnBrk="1" fontAlgn="auto" latinLnBrk="0" hangingPunct="1">
              <a:lnSpc>
                <a:spcPct val="100000"/>
              </a:lnSpc>
              <a:spcBef>
                <a:spcPts val="0"/>
              </a:spcBef>
              <a:spcAft>
                <a:spcPts val="0"/>
              </a:spcAft>
              <a:buClrTx/>
              <a:buSzTx/>
              <a:buFontTx/>
              <a:buNone/>
              <a:tabLst/>
              <a:defRPr/>
            </a:pPr>
            <a:endParaRPr lang="en-AU" dirty="0"/>
          </a:p>
          <a:p>
            <a:pPr marL="0" marR="0" lvl="0" indent="0" algn="l" defTabSz="933237" rtl="0" eaLnBrk="1" fontAlgn="auto" latinLnBrk="0" hangingPunct="1">
              <a:lnSpc>
                <a:spcPct val="100000"/>
              </a:lnSpc>
              <a:spcBef>
                <a:spcPts val="0"/>
              </a:spcBef>
              <a:spcAft>
                <a:spcPts val="0"/>
              </a:spcAft>
              <a:buClrTx/>
              <a:buSzTx/>
              <a:buFontTx/>
              <a:buNone/>
              <a:tabLst/>
              <a:defRPr/>
            </a:pPr>
            <a:r>
              <a:rPr lang="en-AU" b="1" dirty="0"/>
              <a:t>Case management: </a:t>
            </a:r>
            <a:r>
              <a:rPr lang="en-AU" dirty="0"/>
              <a:t>Another important issue besides what services ICRC provides or does not provide is that ICRC does not provide traditional case management. You can read more about that in the guidance on establishing referral systems for victim/survivors. </a:t>
            </a:r>
            <a:r>
              <a:rPr lang="en-US" dirty="0"/>
              <a:t>Instead, ICRC can refer victims/survivors to specialized agencies for case management such as child SV cases. Also, victims/survivors can be supported by a trusted 3</a:t>
            </a:r>
            <a:r>
              <a:rPr lang="en-US" baseline="30000" dirty="0"/>
              <a:t>rd</a:t>
            </a:r>
            <a:r>
              <a:rPr lang="en-US" dirty="0"/>
              <a:t> party such as person from the community of the victim or a local organization who can accompany them to different appointments and thereby serve as witnesses and/or support during the often-stressful process of seeking services. </a:t>
            </a:r>
          </a:p>
          <a:p>
            <a:pPr marL="0" marR="0" lvl="0" indent="0" algn="l" defTabSz="933237" rtl="0" eaLnBrk="1" fontAlgn="auto" latinLnBrk="0" hangingPunct="1">
              <a:lnSpc>
                <a:spcPct val="100000"/>
              </a:lnSpc>
              <a:spcBef>
                <a:spcPts val="0"/>
              </a:spcBef>
              <a:spcAft>
                <a:spcPts val="0"/>
              </a:spcAft>
              <a:buClrTx/>
              <a:buSzTx/>
              <a:buFontTx/>
              <a:buNone/>
              <a:tabLst/>
              <a:defRPr/>
            </a:pPr>
            <a:endParaRPr lang="en-US" dirty="0"/>
          </a:p>
          <a:p>
            <a:pPr marL="0" marR="0" lvl="0" indent="0" algn="l" defTabSz="933237" rtl="0" eaLnBrk="1" fontAlgn="auto" latinLnBrk="0" hangingPunct="1">
              <a:lnSpc>
                <a:spcPct val="100000"/>
              </a:lnSpc>
              <a:spcBef>
                <a:spcPts val="0"/>
              </a:spcBef>
              <a:spcAft>
                <a:spcPts val="0"/>
              </a:spcAft>
              <a:buClrTx/>
              <a:buSzTx/>
              <a:buFontTx/>
              <a:buNone/>
              <a:tabLst/>
              <a:defRPr/>
            </a:pPr>
            <a:r>
              <a:rPr lang="en-US" b="1" dirty="0"/>
              <a:t>Legal aid: </a:t>
            </a:r>
            <a:r>
              <a:rPr lang="en-US" dirty="0"/>
              <a:t>ICRC does not provide legal support and representation. Instead, ICRC uses the term “legal signposting”, rather than “legal referral”, to indicate that while the ICRC may assess and list available legal services and provide information to victims/survivors about these, the ICRC will not communicate with the legal service regarding individual cases. In other words, ICRC is supposed to complete basic check about a legal service provider to which they may signpost victims/survivors of sexual violence. It is primarily intended for situations where signposting results in litigation, but also covers alternative means of dispute resolution, such as mediation or conciliation. Situations where traditional means of justice may play a role, or where the incident occurred in another State, require context-based analysis. See more on legal signposting in the guidance on establishing referral systems of victims/survivors of sexual violence. </a:t>
            </a:r>
          </a:p>
          <a:p>
            <a:endParaRPr lang="fr-CH"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973B52-9B9A-41F3-8E7B-59526C21C471}" type="slidenum">
              <a:rPr kumimoji="0" lang="fr-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fr-CH"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434796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6CB6252A-633C-4854-917D-2B156AD22AC0}" type="slidenum">
              <a:rPr lang="en-GB" smtClean="0"/>
              <a:t>36</a:t>
            </a:fld>
            <a:endParaRPr lang="en-GB" dirty="0"/>
          </a:p>
        </p:txBody>
      </p:sp>
    </p:spTree>
    <p:extLst>
      <p:ext uri="{BB962C8B-B14F-4D97-AF65-F5344CB8AC3E}">
        <p14:creationId xmlns:p14="http://schemas.microsoft.com/office/powerpoint/2010/main" val="225252707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6CB6252A-633C-4854-917D-2B156AD22AC0}" type="slidenum">
              <a:rPr lang="en-GB" smtClean="0"/>
              <a:t>37</a:t>
            </a:fld>
            <a:endParaRPr lang="en-GB" dirty="0"/>
          </a:p>
        </p:txBody>
      </p:sp>
    </p:spTree>
    <p:extLst>
      <p:ext uri="{BB962C8B-B14F-4D97-AF65-F5344CB8AC3E}">
        <p14:creationId xmlns:p14="http://schemas.microsoft.com/office/powerpoint/2010/main" val="319088225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6CB6252A-633C-4854-917D-2B156AD22AC0}" type="slidenum">
              <a:rPr lang="en-GB" smtClean="0"/>
              <a:t>38</a:t>
            </a:fld>
            <a:endParaRPr lang="en-GB" dirty="0"/>
          </a:p>
        </p:txBody>
      </p:sp>
    </p:spTree>
    <p:extLst>
      <p:ext uri="{BB962C8B-B14F-4D97-AF65-F5344CB8AC3E}">
        <p14:creationId xmlns:p14="http://schemas.microsoft.com/office/powerpoint/2010/main" val="36255171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noProof="0" dirty="0"/>
              <a:t>Definition based on the ICC Elements of the Crime of Sexual Violence: </a:t>
            </a:r>
          </a:p>
          <a:p>
            <a:endParaRPr lang="en-GB" noProof="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fr-FR" sz="1200" dirty="0">
                <a:solidFill>
                  <a:schemeClr val="tx1"/>
                </a:solidFill>
                <a:latin typeface="Century Gothic" panose="020B0502020202020204" pitchFamily="34" charset="0"/>
              </a:rPr>
              <a:t>“The perpetrator committed an act of a sexual nature against one or more persons or caused such person or persons to engage in an act of a sexual nature by force, or by threat of force or coercion, such as that caused by fear of violence, duress, detention, psychological oppression or abuse of power, against such a person or persons or another person, or by taking advantage of a coercive environment or such person’s or persons’ incapacity to give genuine consen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fr-FR" sz="1200" dirty="0">
              <a:solidFill>
                <a:schemeClr val="tx1"/>
              </a:solidFill>
              <a:latin typeface="Century Gothic" panose="020B0502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fr-FR" sz="1200" dirty="0">
                <a:solidFill>
                  <a:schemeClr val="tx1"/>
                </a:solidFill>
                <a:latin typeface="Century Gothic" panose="020B0502020202020204" pitchFamily="34" charset="0"/>
              </a:rPr>
              <a:t>See moer: </a:t>
            </a:r>
            <a:r>
              <a:rPr lang="en-US" dirty="0">
                <a:hlinkClick r:id="rId3"/>
              </a:rPr>
              <a:t>Definitions of Crimes of Sexual Violence in the ICC (iccwomen.org)</a:t>
            </a:r>
            <a:r>
              <a:rPr lang="en-US" dirty="0"/>
              <a:t> </a:t>
            </a:r>
            <a:endParaRPr lang="en-US" altLang="fr-FR" sz="1200" dirty="0">
              <a:solidFill>
                <a:schemeClr val="tx1"/>
              </a:solidFill>
              <a:latin typeface="Century Gothic" panose="020B0502020202020204" pitchFamily="34" charset="0"/>
            </a:endParaRPr>
          </a:p>
          <a:p>
            <a:endParaRPr lang="en-US" sz="1200" b="0" i="0" kern="1200" dirty="0">
              <a:solidFill>
                <a:schemeClr val="tx1"/>
              </a:solidFill>
              <a:effectLst/>
              <a:latin typeface="IBM Plex Sans Bold" panose="020B0604020202020204" charset="0"/>
              <a:ea typeface="+mn-ea"/>
              <a:cs typeface="+mn-cs"/>
            </a:endParaRPr>
          </a:p>
        </p:txBody>
      </p:sp>
      <p:sp>
        <p:nvSpPr>
          <p:cNvPr id="4" name="Slide Number Placeholder 3"/>
          <p:cNvSpPr>
            <a:spLocks noGrp="1"/>
          </p:cNvSpPr>
          <p:nvPr>
            <p:ph type="sldNum" sz="quarter" idx="5"/>
          </p:nvPr>
        </p:nvSpPr>
        <p:spPr/>
        <p:txBody>
          <a:bodyPr/>
          <a:lstStyle/>
          <a:p>
            <a:fld id="{80182782-6C10-4BAA-9345-28B1CB4B7A7F}" type="slidenum">
              <a:rPr lang="fr-CH" smtClean="0"/>
              <a:pPr/>
              <a:t>3</a:t>
            </a:fld>
            <a:endParaRPr lang="fr-CH" dirty="0"/>
          </a:p>
        </p:txBody>
      </p:sp>
    </p:spTree>
    <p:extLst>
      <p:ext uri="{BB962C8B-B14F-4D97-AF65-F5344CB8AC3E}">
        <p14:creationId xmlns:p14="http://schemas.microsoft.com/office/powerpoint/2010/main" val="36384750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6CB6252A-633C-4854-917D-2B156AD22AC0}" type="slidenum">
              <a:rPr lang="en-GB" smtClean="0"/>
              <a:t>4</a:t>
            </a:fld>
            <a:endParaRPr lang="en-GB" dirty="0"/>
          </a:p>
        </p:txBody>
      </p:sp>
    </p:spTree>
    <p:extLst>
      <p:ext uri="{BB962C8B-B14F-4D97-AF65-F5344CB8AC3E}">
        <p14:creationId xmlns:p14="http://schemas.microsoft.com/office/powerpoint/2010/main" val="27449903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IBM Plex Sans Bold" panose="020B0604020202020204" charset="0"/>
                <a:ea typeface="+mn-ea"/>
                <a:cs typeface="+mn-cs"/>
              </a:rPr>
              <a:t>- Sexual violence happens in relation to armed conflicts and other situation of violence in all continents and in all cultures. </a:t>
            </a:r>
            <a:endParaRPr lang="fr-CH" sz="1200" kern="1200" dirty="0">
              <a:solidFill>
                <a:schemeClr val="tx1"/>
              </a:solidFill>
              <a:effectLst/>
              <a:latin typeface="IBM Plex Sans Bold" panose="020B0604020202020204" charset="0"/>
              <a:ea typeface="+mn-ea"/>
              <a:cs typeface="+mn-cs"/>
            </a:endParaRPr>
          </a:p>
          <a:p>
            <a:r>
              <a:rPr lang="en-US" sz="1200" kern="1200" dirty="0">
                <a:solidFill>
                  <a:schemeClr val="tx1"/>
                </a:solidFill>
                <a:effectLst/>
                <a:latin typeface="IBM Plex Sans Bold" panose="020B0604020202020204" charset="0"/>
                <a:ea typeface="+mn-ea"/>
                <a:cs typeface="+mn-cs"/>
              </a:rPr>
              <a:t>- The perpetration of sexual and other forms of gender based violence varies between contexts and conflicts, among armed forces and armed groups, and even between units belonging to the same armed force/group depending on their organization (including centralised or de-centralised structures, rules of engagement, ideology and overall control or discipline).  </a:t>
            </a:r>
          </a:p>
          <a:p>
            <a:r>
              <a:rPr lang="en-US" sz="1200" kern="1200" dirty="0">
                <a:solidFill>
                  <a:schemeClr val="tx1"/>
                </a:solidFill>
                <a:effectLst/>
                <a:latin typeface="IBM Plex Sans Bold" panose="020B0604020202020204" charset="0"/>
                <a:ea typeface="+mn-ea"/>
                <a:cs typeface="+mn-cs"/>
              </a:rPr>
              <a:t>- Sexual violence can also be perpetrated by men (and women) in uniforms (or not) including border guards, security guards at IDP or refugee camps and by detention staff in prisons (detention). </a:t>
            </a:r>
          </a:p>
          <a:p>
            <a:endParaRPr lang="en-US" sz="1200" kern="1200" dirty="0">
              <a:solidFill>
                <a:schemeClr val="tx1"/>
              </a:solidFill>
              <a:effectLst/>
              <a:latin typeface="IBM Plex Sans Bold" panose="020B0604020202020204" charset="0"/>
              <a:ea typeface="+mn-ea"/>
              <a:cs typeface="+mn-cs"/>
            </a:endParaRPr>
          </a:p>
          <a:p>
            <a:endParaRPr lang="fr-CH" sz="1200" kern="1200" dirty="0">
              <a:solidFill>
                <a:schemeClr val="tx1"/>
              </a:solidFill>
              <a:effectLst/>
              <a:latin typeface="IBM Plex Sans Bold" panose="020B0604020202020204" charset="0"/>
              <a:ea typeface="+mn-ea"/>
              <a:cs typeface="+mn-cs"/>
            </a:endParaRPr>
          </a:p>
          <a:p>
            <a:endParaRPr lang="en-US" sz="1200" kern="1200" dirty="0">
              <a:solidFill>
                <a:schemeClr val="tx1"/>
              </a:solidFill>
              <a:effectLst/>
              <a:latin typeface="IBM Plex Sans Bold" panose="020B0604020202020204" charset="0"/>
              <a:ea typeface="+mn-ea"/>
              <a:cs typeface="+mn-cs"/>
            </a:endParaRPr>
          </a:p>
          <a:p>
            <a:endParaRPr lang="fr-CH"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182782-6C10-4BAA-9345-28B1CB4B7A7F}" type="slidenum">
              <a:rPr kumimoji="0" lang="fr-CH" sz="1200" b="0" i="0" u="none" strike="noStrike" kern="1200" cap="none" spc="0" normalizeH="0" baseline="0" noProof="0" smtClean="0">
                <a:ln>
                  <a:noFill/>
                </a:ln>
                <a:solidFill>
                  <a:prstClr val="black"/>
                </a:solidFill>
                <a:effectLst/>
                <a:uLnTx/>
                <a:uFillTx/>
                <a:latin typeface="IBM Plex Sans Bold" panose="020B060402020202020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fr-CH" sz="1200" b="0" i="0" u="none" strike="noStrike" kern="1200" cap="none" spc="0" normalizeH="0" baseline="0" noProof="0" dirty="0">
              <a:ln>
                <a:noFill/>
              </a:ln>
              <a:solidFill>
                <a:prstClr val="black"/>
              </a:solidFill>
              <a:effectLst/>
              <a:uLnTx/>
              <a:uFillTx/>
              <a:latin typeface="IBM Plex Sans Bold" panose="020B0604020202020204" charset="0"/>
              <a:ea typeface="+mn-ea"/>
              <a:cs typeface="+mn-cs"/>
            </a:endParaRPr>
          </a:p>
        </p:txBody>
      </p:sp>
    </p:spTree>
    <p:extLst>
      <p:ext uri="{BB962C8B-B14F-4D97-AF65-F5344CB8AC3E}">
        <p14:creationId xmlns:p14="http://schemas.microsoft.com/office/powerpoint/2010/main" val="21261808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e movie is embedded in the slide</a:t>
            </a:r>
          </a:p>
        </p:txBody>
      </p:sp>
      <p:sp>
        <p:nvSpPr>
          <p:cNvPr id="4" name="Slide Number Placeholder 3"/>
          <p:cNvSpPr>
            <a:spLocks noGrp="1"/>
          </p:cNvSpPr>
          <p:nvPr>
            <p:ph type="sldNum" sz="quarter" idx="10"/>
          </p:nvPr>
        </p:nvSpPr>
        <p:spPr/>
        <p:txBody>
          <a:bodyPr/>
          <a:lstStyle/>
          <a:p>
            <a:fld id="{6CB6252A-633C-4854-917D-2B156AD22AC0}" type="slidenum">
              <a:rPr lang="en-GB" smtClean="0"/>
              <a:t>7</a:t>
            </a:fld>
            <a:endParaRPr lang="en-GB" dirty="0"/>
          </a:p>
        </p:txBody>
      </p:sp>
    </p:spTree>
    <p:extLst>
      <p:ext uri="{BB962C8B-B14F-4D97-AF65-F5344CB8AC3E}">
        <p14:creationId xmlns:p14="http://schemas.microsoft.com/office/powerpoint/2010/main" val="2194871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159" indent="-171159" defTabSz="912846">
              <a:buFont typeface="Arial" pitchFamily="34" charset="0"/>
              <a:buChar char="•"/>
              <a:defRPr/>
            </a:pPr>
            <a:r>
              <a:rPr lang="en-US" sz="1200" dirty="0"/>
              <a:t>Humanitarian emergencies are time periods of instability which increase the vulnerabilities of affected population and leaves them at risk</a:t>
            </a:r>
          </a:p>
          <a:p>
            <a:pPr marL="171159" indent="-171159" defTabSz="912846">
              <a:buFont typeface="Arial" pitchFamily="34" charset="0"/>
              <a:buChar char="•"/>
              <a:defRPr/>
            </a:pPr>
            <a:r>
              <a:rPr lang="en-US" sz="1200" dirty="0"/>
              <a:t>it is not because there is not evidence that there is no incidence</a:t>
            </a:r>
          </a:p>
          <a:p>
            <a:pPr marL="171159" indent="-171159" defTabSz="912846">
              <a:buFont typeface="Arial" pitchFamily="34" charset="0"/>
              <a:buChar char="•"/>
              <a:defRPr/>
            </a:pPr>
            <a:r>
              <a:rPr lang="en-US" sz="1200" dirty="0"/>
              <a:t>Rape never occurs by accident</a:t>
            </a:r>
          </a:p>
          <a:p>
            <a:endParaRPr lang="en-GB" dirty="0"/>
          </a:p>
        </p:txBody>
      </p:sp>
      <p:sp>
        <p:nvSpPr>
          <p:cNvPr id="4" name="Slide Number Placeholder 3"/>
          <p:cNvSpPr>
            <a:spLocks noGrp="1"/>
          </p:cNvSpPr>
          <p:nvPr>
            <p:ph type="sldNum" sz="quarter" idx="10"/>
          </p:nvPr>
        </p:nvSpPr>
        <p:spPr/>
        <p:txBody>
          <a:bodyPr/>
          <a:lstStyle/>
          <a:p>
            <a:fld id="{6CB6252A-633C-4854-917D-2B156AD22AC0}" type="slidenum">
              <a:rPr lang="en-GB" smtClean="0"/>
              <a:t>9</a:t>
            </a:fld>
            <a:endParaRPr lang="en-GB" dirty="0"/>
          </a:p>
        </p:txBody>
      </p:sp>
    </p:spTree>
    <p:extLst>
      <p:ext uri="{BB962C8B-B14F-4D97-AF65-F5344CB8AC3E}">
        <p14:creationId xmlns:p14="http://schemas.microsoft.com/office/powerpoint/2010/main" val="26586940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GB" sz="1200" kern="1200" dirty="0">
                <a:solidFill>
                  <a:schemeClr val="tx1"/>
                </a:solidFill>
                <a:effectLst/>
                <a:latin typeface="Arial" charset="0"/>
                <a:ea typeface="+mn-ea"/>
                <a:cs typeface="Arial" charset="0"/>
              </a:rPr>
              <a:t>SV is a </a:t>
            </a:r>
            <a:r>
              <a:rPr lang="en-GB" sz="1200" b="1" kern="1200" dirty="0">
                <a:solidFill>
                  <a:schemeClr val="tx1"/>
                </a:solidFill>
                <a:effectLst/>
                <a:latin typeface="Arial" charset="0"/>
                <a:ea typeface="+mn-ea"/>
                <a:cs typeface="Arial" charset="0"/>
              </a:rPr>
              <a:t>gendered phenomenon </a:t>
            </a:r>
            <a:r>
              <a:rPr lang="en-GB" sz="1200" kern="1200" dirty="0">
                <a:solidFill>
                  <a:schemeClr val="tx1"/>
                </a:solidFill>
                <a:effectLst/>
                <a:latin typeface="Arial" charset="0"/>
                <a:ea typeface="+mn-ea"/>
                <a:cs typeface="Arial" charset="0"/>
              </a:rPr>
              <a:t>in that it is linked to, and stems from, harmful social practices based on perceptions of gender and the </a:t>
            </a:r>
            <a:r>
              <a:rPr lang="en-GB" sz="1200" b="1" kern="1200" dirty="0">
                <a:solidFill>
                  <a:schemeClr val="tx1"/>
                </a:solidFill>
                <a:effectLst/>
                <a:latin typeface="Arial" charset="0"/>
                <a:ea typeface="+mn-ea"/>
                <a:cs typeface="Arial" charset="0"/>
              </a:rPr>
              <a:t>power dynamics</a:t>
            </a:r>
            <a:r>
              <a:rPr lang="en-GB" sz="1200" kern="1200" dirty="0">
                <a:solidFill>
                  <a:schemeClr val="tx1"/>
                </a:solidFill>
                <a:effectLst/>
                <a:latin typeface="Arial" charset="0"/>
                <a:ea typeface="+mn-ea"/>
                <a:cs typeface="Arial" charset="0"/>
              </a:rPr>
              <a:t> surrounding them. </a:t>
            </a:r>
          </a:p>
          <a:p>
            <a:pPr lvl="0"/>
            <a:endParaRPr lang="en-US" sz="1200" kern="1200" dirty="0">
              <a:solidFill>
                <a:schemeClr val="tx1"/>
              </a:solidFill>
              <a:effectLst/>
              <a:latin typeface="Arial" charset="0"/>
              <a:ea typeface="+mn-ea"/>
              <a:cs typeface="Arial" charset="0"/>
            </a:endParaRPr>
          </a:p>
          <a:p>
            <a:pPr lvl="0"/>
            <a:r>
              <a:rPr lang="en-US" sz="1200" kern="1200" dirty="0">
                <a:solidFill>
                  <a:schemeClr val="tx1"/>
                </a:solidFill>
                <a:effectLst/>
                <a:latin typeface="Arial" charset="0"/>
                <a:ea typeface="+mn-ea"/>
                <a:cs typeface="Arial" charset="0"/>
              </a:rPr>
              <a:t>Adopting a gender analysis is useful in that it requires us to examine the </a:t>
            </a:r>
            <a:r>
              <a:rPr lang="en-US" sz="1200" b="1" kern="1200" dirty="0">
                <a:solidFill>
                  <a:schemeClr val="tx1"/>
                </a:solidFill>
                <a:effectLst/>
                <a:latin typeface="Arial" charset="0"/>
                <a:ea typeface="+mn-ea"/>
                <a:cs typeface="Arial" charset="0"/>
              </a:rPr>
              <a:t>power differrentials on which SV is propagated and through which it manifests</a:t>
            </a:r>
            <a:r>
              <a:rPr lang="en-US" sz="1200" kern="1200" dirty="0">
                <a:solidFill>
                  <a:schemeClr val="tx1"/>
                </a:solidFill>
                <a:effectLst/>
                <a:latin typeface="Arial" charset="0"/>
                <a:ea typeface="+mn-ea"/>
                <a:cs typeface="Arial" charset="0"/>
              </a:rPr>
              <a:t>. </a:t>
            </a:r>
          </a:p>
          <a:p>
            <a:pPr lvl="0"/>
            <a:endParaRPr lang="en-US" sz="1200" kern="1200" dirty="0">
              <a:solidFill>
                <a:schemeClr val="tx1"/>
              </a:solidFill>
              <a:effectLst/>
              <a:latin typeface="Arial" charset="0"/>
              <a:ea typeface="+mn-ea"/>
              <a:cs typeface="Arial" charset="0"/>
            </a:endParaRPr>
          </a:p>
          <a:p>
            <a:pPr lvl="0"/>
            <a:r>
              <a:rPr lang="en-US" sz="1200" kern="1200" dirty="0">
                <a:solidFill>
                  <a:schemeClr val="tx1"/>
                </a:solidFill>
                <a:effectLst/>
                <a:latin typeface="Arial" charset="0"/>
                <a:ea typeface="+mn-ea"/>
                <a:cs typeface="Arial" charset="0"/>
              </a:rPr>
              <a:t>We see gender</a:t>
            </a:r>
            <a:r>
              <a:rPr lang="en-US" sz="1200" kern="1200" baseline="0" dirty="0">
                <a:solidFill>
                  <a:schemeClr val="tx1"/>
                </a:solidFill>
                <a:effectLst/>
                <a:latin typeface="Arial" charset="0"/>
                <a:ea typeface="+mn-ea"/>
                <a:cs typeface="Arial" charset="0"/>
              </a:rPr>
              <a:t> dynamics at play in complex and interwoven ways within…. </a:t>
            </a:r>
          </a:p>
          <a:p>
            <a:pPr lvl="0"/>
            <a:endParaRPr lang="en-US" sz="1200" kern="1200" baseline="0" dirty="0">
              <a:solidFill>
                <a:schemeClr val="tx1"/>
              </a:solidFill>
              <a:effectLst/>
              <a:latin typeface="Arial" charset="0"/>
              <a:ea typeface="+mn-ea"/>
              <a:cs typeface="Arial" charset="0"/>
            </a:endParaRPr>
          </a:p>
          <a:p>
            <a:pPr marL="171450" lvl="0" indent="-171450">
              <a:buFont typeface="Arial" panose="020B0604020202020204" pitchFamily="34" charset="0"/>
              <a:buChar char="•"/>
            </a:pPr>
            <a:endParaRPr lang="en-US" sz="1200" kern="1200" baseline="0" dirty="0">
              <a:solidFill>
                <a:schemeClr val="tx1"/>
              </a:solidFill>
              <a:effectLst/>
              <a:latin typeface="Arial" charset="0"/>
              <a:ea typeface="+mn-ea"/>
              <a:cs typeface="Arial" charset="0"/>
            </a:endParaRPr>
          </a:p>
          <a:p>
            <a:pPr marL="171450" lvl="0" indent="-171450">
              <a:buFont typeface="Arial" panose="020B0604020202020204" pitchFamily="34" charset="0"/>
              <a:buChar char="•"/>
            </a:pPr>
            <a:r>
              <a:rPr lang="en-US" sz="1200" b="1" kern="1200" dirty="0">
                <a:solidFill>
                  <a:schemeClr val="tx1"/>
                </a:solidFill>
                <a:effectLst/>
                <a:latin typeface="Arial" charset="0"/>
                <a:ea typeface="+mn-ea"/>
                <a:cs typeface="Arial" charset="0"/>
              </a:rPr>
              <a:t>Motives</a:t>
            </a:r>
            <a:r>
              <a:rPr lang="en-US" sz="1200" b="1" kern="1200" baseline="0" dirty="0">
                <a:solidFill>
                  <a:schemeClr val="tx1"/>
                </a:solidFill>
                <a:effectLst/>
                <a:latin typeface="Arial" charset="0"/>
                <a:ea typeface="+mn-ea"/>
                <a:cs typeface="Arial" charset="0"/>
              </a:rPr>
              <a:t> for committing SV</a:t>
            </a:r>
            <a:r>
              <a:rPr lang="en-US" sz="1200" kern="1200" baseline="0" dirty="0">
                <a:solidFill>
                  <a:schemeClr val="tx1"/>
                </a:solidFill>
                <a:effectLst/>
                <a:latin typeface="Arial" charset="0"/>
                <a:ea typeface="+mn-ea"/>
                <a:cs typeface="Arial" charset="0"/>
              </a:rPr>
              <a:t>- Perpetrators often play off gender norms when committing of SV (even if unconsciously), for example prominent males within communities may be targeted as a means of dominating the adversary by symbolically ‘feminizing’ them e.g. putting a man in what is usually thought to be a woman’s place. Similarly as women are often understood to represent the cornerstones of community e.g. as mothers, those ‘responsible’ for reproduction etc. (itself a product of embedded gender relations), they are also often targeted with aim to weaken community ties, emasculate men in the community through their perceived failure to serve as protectorates etc.  Both examples are often employed as means to humiliate and demoralize the communities concerned. </a:t>
            </a:r>
          </a:p>
          <a:p>
            <a:pPr marL="0" lvl="0" indent="0">
              <a:buFont typeface="Arial" panose="020B0604020202020204" pitchFamily="34" charset="0"/>
              <a:buNone/>
            </a:pPr>
            <a:endParaRPr lang="en-US" sz="1200" kern="1200" baseline="0" dirty="0">
              <a:solidFill>
                <a:schemeClr val="tx1"/>
              </a:solidFill>
              <a:effectLst/>
              <a:latin typeface="Arial" charset="0"/>
              <a:ea typeface="+mn-ea"/>
              <a:cs typeface="Arial" charset="0"/>
            </a:endParaRPr>
          </a:p>
          <a:p>
            <a:pPr marL="171450" lvl="0" indent="-171450">
              <a:buFont typeface="Arial" panose="020B0604020202020204" pitchFamily="34" charset="0"/>
              <a:buChar char="•"/>
            </a:pPr>
            <a:r>
              <a:rPr lang="en-US" sz="1200" b="1" kern="1200" baseline="0" dirty="0">
                <a:solidFill>
                  <a:schemeClr val="tx1"/>
                </a:solidFill>
                <a:effectLst/>
                <a:latin typeface="Arial" charset="0"/>
                <a:ea typeface="+mn-ea"/>
                <a:cs typeface="Arial" charset="0"/>
              </a:rPr>
              <a:t>Ways in which SV is carried out- </a:t>
            </a:r>
            <a:r>
              <a:rPr lang="en-US" sz="1200" b="0" kern="1200" baseline="0" dirty="0">
                <a:solidFill>
                  <a:schemeClr val="tx1"/>
                </a:solidFill>
                <a:effectLst/>
                <a:latin typeface="Arial" charset="0"/>
                <a:ea typeface="+mn-ea"/>
                <a:cs typeface="Arial" charset="0"/>
              </a:rPr>
              <a:t>Similar to the above, perpetrators of SV will often employ understandings of gender as a means to compound its intended impact e.g. forcing male detainees to strip and perform degrading acts in front of female guards or other prisoners (with the purpose of being further emasculated).   </a:t>
            </a:r>
            <a:endParaRPr lang="en-US" sz="1200" b="1" kern="1200" baseline="0" dirty="0">
              <a:solidFill>
                <a:schemeClr val="tx1"/>
              </a:solidFill>
              <a:effectLst/>
              <a:latin typeface="Arial" charset="0"/>
              <a:ea typeface="+mn-ea"/>
              <a:cs typeface="Arial" charset="0"/>
            </a:endParaRPr>
          </a:p>
          <a:p>
            <a:pPr marL="0" lvl="0" indent="0">
              <a:buFont typeface="Arial" panose="020B0604020202020204" pitchFamily="34" charset="0"/>
              <a:buNone/>
            </a:pPr>
            <a:endParaRPr lang="en-US" sz="1200" kern="1200" dirty="0">
              <a:solidFill>
                <a:schemeClr val="tx1"/>
              </a:solidFill>
              <a:effectLst/>
              <a:latin typeface="Arial" charset="0"/>
              <a:ea typeface="+mn-ea"/>
              <a:cs typeface="Arial" charset="0"/>
            </a:endParaRPr>
          </a:p>
          <a:p>
            <a:pPr marL="171450" marR="0" lvl="0" indent="-171450" algn="l" defTabSz="914400" rtl="0" eaLnBrk="1" fontAlgn="base" latinLnBrk="0" hangingPunct="1">
              <a:lnSpc>
                <a:spcPct val="100000"/>
              </a:lnSpc>
              <a:spcBef>
                <a:spcPct val="30000"/>
              </a:spcBef>
              <a:spcAft>
                <a:spcPct val="0"/>
              </a:spcAft>
              <a:buClrTx/>
              <a:buSzTx/>
              <a:buFont typeface="Arial" panose="020B0604020202020204" pitchFamily="34" charset="0"/>
              <a:buChar char="•"/>
              <a:tabLst/>
              <a:defRPr/>
            </a:pPr>
            <a:r>
              <a:rPr lang="en-US" sz="1200" b="1" kern="1200" baseline="0" dirty="0">
                <a:solidFill>
                  <a:schemeClr val="tx1"/>
                </a:solidFill>
                <a:effectLst/>
                <a:latin typeface="Arial" charset="0"/>
                <a:ea typeface="+mn-ea"/>
                <a:cs typeface="Arial" charset="0"/>
              </a:rPr>
              <a:t>Vulnerability to SV- </a:t>
            </a:r>
            <a:r>
              <a:rPr lang="en-US" sz="1200" kern="1200" baseline="0" dirty="0">
                <a:solidFill>
                  <a:schemeClr val="tx1"/>
                </a:solidFill>
                <a:effectLst/>
                <a:latin typeface="Arial" charset="0"/>
                <a:ea typeface="+mn-ea"/>
                <a:cs typeface="Arial" charset="0"/>
              </a:rPr>
              <a:t>Persons of different genders will be vulnerable to SV in different way. </a:t>
            </a:r>
            <a:r>
              <a:rPr lang="en-US" sz="1200" kern="1200" dirty="0">
                <a:solidFill>
                  <a:schemeClr val="tx1"/>
                </a:solidFill>
                <a:effectLst/>
                <a:latin typeface="Arial" charset="0"/>
                <a:ea typeface="+mn-ea"/>
                <a:cs typeface="Arial" charset="0"/>
              </a:rPr>
              <a:t>LGBTI</a:t>
            </a:r>
            <a:r>
              <a:rPr lang="en-US" sz="1200" b="1" kern="1200" baseline="30000" dirty="0">
                <a:solidFill>
                  <a:schemeClr val="tx1"/>
                </a:solidFill>
                <a:effectLst/>
                <a:latin typeface="Arial" charset="0"/>
                <a:ea typeface="+mn-ea"/>
                <a:cs typeface="Arial" charset="0"/>
              </a:rPr>
              <a:t> </a:t>
            </a:r>
            <a:r>
              <a:rPr lang="en-US" sz="1200" kern="1200" dirty="0">
                <a:solidFill>
                  <a:schemeClr val="tx1"/>
                </a:solidFill>
                <a:effectLst/>
                <a:latin typeface="Arial" charset="0"/>
                <a:ea typeface="+mn-ea"/>
                <a:cs typeface="Arial" charset="0"/>
              </a:rPr>
              <a:t>persons, for instance, may be particularly vulnerable to SV given perceived transgressions of norms relating to gender expression and/or sexual orientation. </a:t>
            </a:r>
          </a:p>
          <a:p>
            <a:pPr marL="171450" marR="0" lvl="0" indent="-171450" algn="l" defTabSz="914400" rtl="0" eaLnBrk="1" fontAlgn="base" latinLnBrk="0" hangingPunct="1">
              <a:lnSpc>
                <a:spcPct val="100000"/>
              </a:lnSpc>
              <a:spcBef>
                <a:spcPct val="30000"/>
              </a:spcBef>
              <a:spcAft>
                <a:spcPct val="0"/>
              </a:spcAft>
              <a:buClrTx/>
              <a:buSzTx/>
              <a:buFont typeface="Arial" panose="020B0604020202020204" pitchFamily="34" charset="0"/>
              <a:buChar char="•"/>
              <a:tabLst/>
              <a:defRPr/>
            </a:pPr>
            <a:endParaRPr lang="en-US" sz="1200" kern="1200" dirty="0">
              <a:solidFill>
                <a:schemeClr val="tx1"/>
              </a:solidFill>
              <a:effectLst/>
              <a:latin typeface="Arial" charset="0"/>
              <a:ea typeface="+mn-ea"/>
              <a:cs typeface="Arial" charset="0"/>
            </a:endParaRPr>
          </a:p>
          <a:p>
            <a:pPr marL="171450" marR="0" lvl="0" indent="-171450" algn="l" defTabSz="914400" rtl="0" eaLnBrk="1" fontAlgn="base" latinLnBrk="0" hangingPunct="1">
              <a:lnSpc>
                <a:spcPct val="100000"/>
              </a:lnSpc>
              <a:spcBef>
                <a:spcPct val="30000"/>
              </a:spcBef>
              <a:spcAft>
                <a:spcPct val="0"/>
              </a:spcAft>
              <a:buClrTx/>
              <a:buSzTx/>
              <a:buFont typeface="Arial" panose="020B0604020202020204" pitchFamily="34" charset="0"/>
              <a:buChar char="•"/>
              <a:tabLst/>
              <a:defRPr/>
            </a:pPr>
            <a:r>
              <a:rPr lang="en-US" sz="1200" b="1" kern="1200" dirty="0">
                <a:solidFill>
                  <a:schemeClr val="tx1"/>
                </a:solidFill>
                <a:effectLst/>
                <a:latin typeface="Arial" charset="0"/>
                <a:ea typeface="+mn-ea"/>
                <a:cs typeface="Arial" charset="0"/>
              </a:rPr>
              <a:t>Ability to access care and services</a:t>
            </a:r>
            <a:r>
              <a:rPr lang="en-US" sz="1200" kern="1200" dirty="0">
                <a:solidFill>
                  <a:schemeClr val="tx1"/>
                </a:solidFill>
                <a:effectLst/>
                <a:latin typeface="Arial" charset="0"/>
                <a:ea typeface="+mn-ea"/>
                <a:cs typeface="Arial" charset="0"/>
              </a:rPr>
              <a:t> –</a:t>
            </a:r>
            <a:r>
              <a:rPr lang="en-US" sz="1200" kern="1200" baseline="0" dirty="0">
                <a:solidFill>
                  <a:schemeClr val="tx1"/>
                </a:solidFill>
                <a:effectLst/>
                <a:latin typeface="Arial" charset="0"/>
                <a:ea typeface="+mn-ea"/>
                <a:cs typeface="Arial" charset="0"/>
              </a:rPr>
              <a:t> Again, persons of different genders will face different challenges as a result. </a:t>
            </a:r>
            <a:r>
              <a:rPr lang="en-US" sz="1200" kern="1200" dirty="0">
                <a:solidFill>
                  <a:schemeClr val="tx1"/>
                </a:solidFill>
                <a:effectLst/>
                <a:latin typeface="Arial" charset="0"/>
                <a:ea typeface="+mn-ea"/>
                <a:cs typeface="Arial" charset="0"/>
              </a:rPr>
              <a:t>As one example, </a:t>
            </a:r>
            <a:r>
              <a:rPr lang="en-US" sz="1200" b="1" kern="1200" dirty="0">
                <a:solidFill>
                  <a:schemeClr val="tx1"/>
                </a:solidFill>
                <a:effectLst/>
                <a:latin typeface="Arial" charset="0"/>
                <a:ea typeface="+mn-ea"/>
                <a:cs typeface="Arial" charset="0"/>
              </a:rPr>
              <a:t>men</a:t>
            </a:r>
            <a:r>
              <a:rPr lang="en-US" sz="1200" kern="1200" dirty="0">
                <a:solidFill>
                  <a:schemeClr val="tx1"/>
                </a:solidFill>
                <a:effectLst/>
                <a:latin typeface="Arial" charset="0"/>
                <a:ea typeface="+mn-ea"/>
                <a:cs typeface="Arial" charset="0"/>
              </a:rPr>
              <a:t> often encounter major </a:t>
            </a:r>
            <a:r>
              <a:rPr lang="en-US" sz="1200" b="1" kern="1200" dirty="0">
                <a:solidFill>
                  <a:schemeClr val="tx1"/>
                </a:solidFill>
                <a:effectLst/>
                <a:latin typeface="Arial" charset="0"/>
                <a:ea typeface="+mn-ea"/>
                <a:cs typeface="Arial" charset="0"/>
              </a:rPr>
              <a:t>difficulties in disclosing</a:t>
            </a:r>
            <a:r>
              <a:rPr lang="en-US" sz="1200" kern="1200" dirty="0">
                <a:solidFill>
                  <a:schemeClr val="tx1"/>
                </a:solidFill>
                <a:effectLst/>
                <a:latin typeface="Arial" charset="0"/>
                <a:ea typeface="+mn-ea"/>
                <a:cs typeface="Arial" charset="0"/>
              </a:rPr>
              <a:t> incidence of violence, thus accessing care, precisely due to the belief that they cannot constitute a victim of SV (hereafter VSV), as a result of </a:t>
            </a:r>
            <a:r>
              <a:rPr lang="en-US" sz="1200" b="1" kern="1200" dirty="0">
                <a:solidFill>
                  <a:schemeClr val="tx1"/>
                </a:solidFill>
                <a:effectLst/>
                <a:latin typeface="Arial" charset="0"/>
                <a:ea typeface="+mn-ea"/>
                <a:cs typeface="Arial" charset="0"/>
              </a:rPr>
              <a:t>norms surrounding masculinity</a:t>
            </a:r>
            <a:r>
              <a:rPr lang="en-US" sz="1200" kern="1200" dirty="0">
                <a:solidFill>
                  <a:schemeClr val="tx1"/>
                </a:solidFill>
                <a:effectLst/>
                <a:latin typeface="Arial" charset="0"/>
                <a:ea typeface="+mn-ea"/>
                <a:cs typeface="Arial" charset="0"/>
              </a:rPr>
              <a:t>. </a:t>
            </a:r>
          </a:p>
          <a:p>
            <a:endParaRPr lang="en-GB" dirty="0"/>
          </a:p>
        </p:txBody>
      </p:sp>
      <p:sp>
        <p:nvSpPr>
          <p:cNvPr id="4" name="Slide Number Placeholder 3"/>
          <p:cNvSpPr>
            <a:spLocks noGrp="1"/>
          </p:cNvSpPr>
          <p:nvPr>
            <p:ph type="sldNum" sz="quarter" idx="10"/>
          </p:nvPr>
        </p:nvSpPr>
        <p:spPr/>
        <p:txBody>
          <a:bodyPr/>
          <a:lstStyle/>
          <a:p>
            <a:fld id="{6CB6252A-633C-4854-917D-2B156AD22AC0}" type="slidenum">
              <a:rPr lang="en-GB" smtClean="0"/>
              <a:t>10</a:t>
            </a:fld>
            <a:endParaRPr lang="en-GB" dirty="0"/>
          </a:p>
        </p:txBody>
      </p:sp>
    </p:spTree>
    <p:extLst>
      <p:ext uri="{BB962C8B-B14F-4D97-AF65-F5344CB8AC3E}">
        <p14:creationId xmlns:p14="http://schemas.microsoft.com/office/powerpoint/2010/main" val="419671156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IBM Plex Sans Bold" panose="020B0604020202020204" charset="0"/>
                <a:ea typeface="+mn-ea"/>
                <a:cs typeface="+mn-cs"/>
              </a:rPr>
              <a:t>Consider in this analysis and assessment along with disruption of services, the disruption/lack of forensic services or medico legal attention that are part of the basic emergency care in cases of SV.</a:t>
            </a:r>
          </a:p>
          <a:p>
            <a:endParaRPr lang="fr-CH"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182782-6C10-4BAA-9345-28B1CB4B7A7F}" type="slidenum">
              <a:rPr kumimoji="0" lang="fr-CH" sz="1200" b="0" i="0" u="none" strike="noStrike" kern="1200" cap="none" spc="0" normalizeH="0" baseline="0" noProof="0" smtClean="0">
                <a:ln>
                  <a:noFill/>
                </a:ln>
                <a:solidFill>
                  <a:prstClr val="black"/>
                </a:solidFill>
                <a:effectLst/>
                <a:uLnTx/>
                <a:uFillTx/>
                <a:latin typeface="IBM Plex Sans Bold" panose="020B060402020202020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fr-CH" sz="1200" b="0" i="0" u="none" strike="noStrike" kern="1200" cap="none" spc="0" normalizeH="0" baseline="0" noProof="0" dirty="0">
              <a:ln>
                <a:noFill/>
              </a:ln>
              <a:solidFill>
                <a:prstClr val="black"/>
              </a:solidFill>
              <a:effectLst/>
              <a:uLnTx/>
              <a:uFillTx/>
              <a:latin typeface="IBM Plex Sans Bold" panose="020B0604020202020204" charset="0"/>
              <a:ea typeface="+mn-ea"/>
              <a:cs typeface="+mn-cs"/>
            </a:endParaRPr>
          </a:p>
        </p:txBody>
      </p:sp>
    </p:spTree>
    <p:extLst>
      <p:ext uri="{BB962C8B-B14F-4D97-AF65-F5344CB8AC3E}">
        <p14:creationId xmlns:p14="http://schemas.microsoft.com/office/powerpoint/2010/main" val="82249336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8" Type="http://schemas.openxmlformats.org/officeDocument/2006/relationships/hyperlink" Target="https://collab.ext.icrc.org/sites/TS_OP_DIR/_layouts/15/WopiFrame.aspx?sourcedoc=/sites/TS_OP_DIR/sexualviolence/A%20-%20ICRC%20Internal%20documents/Internal%20documents%20global/SV%20Minimum%20Accountabilty%20Requirements-%20June%202020.docx&amp;action=default" TargetMode="External"/><Relationship Id="rId3" Type="http://schemas.openxmlformats.org/officeDocument/2006/relationships/image" Target="../media/image5.png"/><Relationship Id="rId7" Type="http://schemas.openxmlformats.org/officeDocument/2006/relationships/hyperlink" Target="https://collab.ext.icrc.org/sites/TS_OP_DIR/sexualviolence/A%20-%20ICRC%20Internal%20documents/Sexual%20Violence%20Strategy/ICRC%20Strategy%20on%20Sexual%20Violence%202018-2022%20Eng.pdf" TargetMode="External"/><Relationship Id="rId2" Type="http://schemas.openxmlformats.org/officeDocument/2006/relationships/image" Target="../media/image4.png"/><Relationship Id="rId1" Type="http://schemas.openxmlformats.org/officeDocument/2006/relationships/slideMaster" Target="../slideMasters/slideMaster2.xml"/><Relationship Id="rId6" Type="http://schemas.openxmlformats.org/officeDocument/2006/relationships/hyperlink" Target="https://xnet.ext.icrc.org/applic/extranet/rexdonors.nsf/0/D98CD9FAA80B751EC125852D001C0A23/$File/2020_SpecialAppeal_SV_ForExtranet.pdf" TargetMode="External"/><Relationship Id="rId5" Type="http://schemas.openxmlformats.org/officeDocument/2006/relationships/image" Target="../media/image7.png"/><Relationship Id="rId4" Type="http://schemas.openxmlformats.org/officeDocument/2006/relationships/image" Target="../media/image6.png"/><Relationship Id="rId9" Type="http://schemas.openxmlformats.org/officeDocument/2006/relationships/hyperlink" Target="https://communities.ext.icrc.org/community/opdir/adressing-sexual-violence" TargetMode="Externa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10" Type="http://schemas.openxmlformats.org/officeDocument/2006/relationships/image" Target="../media/image8.emf"/><Relationship Id="rId4" Type="http://schemas.openxmlformats.org/officeDocument/2006/relationships/tags" Target="../tags/tag4.xml"/><Relationship Id="rId9" Type="http://schemas.openxmlformats.org/officeDocument/2006/relationships/oleObject" Target="../embeddings/oleObject1.bin"/></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0.xml"/><Relationship Id="rId7" Type="http://schemas.openxmlformats.org/officeDocument/2006/relationships/tags" Target="../tags/tag14.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tags" Target="../tags/tag13.xml"/><Relationship Id="rId5" Type="http://schemas.openxmlformats.org/officeDocument/2006/relationships/tags" Target="../tags/tag12.xml"/><Relationship Id="rId10" Type="http://schemas.openxmlformats.org/officeDocument/2006/relationships/image" Target="../media/image8.emf"/><Relationship Id="rId4" Type="http://schemas.openxmlformats.org/officeDocument/2006/relationships/tags" Target="../tags/tag11.xml"/><Relationship Id="rId9" Type="http://schemas.openxmlformats.org/officeDocument/2006/relationships/oleObject" Target="../embeddings/oleObject2.bin"/></Relationships>
</file>

<file path=ppt/slideLayouts/_rels/slideLayout41.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17.xml"/><Relationship Id="rId7"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tags" Target="../tags/tag20.xml"/><Relationship Id="rId5" Type="http://schemas.openxmlformats.org/officeDocument/2006/relationships/tags" Target="../tags/tag19.xml"/><Relationship Id="rId4" Type="http://schemas.openxmlformats.org/officeDocument/2006/relationships/tags" Target="../tags/tag18.xml"/><Relationship Id="rId9" Type="http://schemas.openxmlformats.org/officeDocument/2006/relationships/image" Target="../media/image9.emf"/></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8" Type="http://schemas.openxmlformats.org/officeDocument/2006/relationships/hyperlink" Target="https://collab.ext.icrc.org/sites/TS_OP_DIR/_layouts/15/WopiFrame.aspx?sourcedoc=/sites/TS_OP_DIR/sexualviolence/A%20-%20ICRC%20Internal%20documents/Internal%20documents%20global/SV%20Minimum%20Accountabilty%20Requirements-%20June%202020.docx&amp;action=default" TargetMode="External"/><Relationship Id="rId3" Type="http://schemas.openxmlformats.org/officeDocument/2006/relationships/image" Target="../media/image5.png"/><Relationship Id="rId7" Type="http://schemas.openxmlformats.org/officeDocument/2006/relationships/hyperlink" Target="https://collab.ext.icrc.org/sites/TS_OP_DIR/sexualviolence/A%20-%20ICRC%20Internal%20documents/Sexual%20Violence%20Strategy/ICRC%20Strategy%20on%20Sexual%20Violence%202018-2022%20Eng.pdf" TargetMode="External"/><Relationship Id="rId2" Type="http://schemas.openxmlformats.org/officeDocument/2006/relationships/image" Target="../media/image4.png"/><Relationship Id="rId1" Type="http://schemas.openxmlformats.org/officeDocument/2006/relationships/slideMaster" Target="../slideMasters/slideMaster3.xml"/><Relationship Id="rId6" Type="http://schemas.openxmlformats.org/officeDocument/2006/relationships/hyperlink" Target="https://xnet.ext.icrc.org/applic/extranet/rexdonors.nsf/0/D98CD9FAA80B751EC125852D001C0A23/$File/2020_SpecialAppeal_SV_ForExtranet.pdf" TargetMode="External"/><Relationship Id="rId5" Type="http://schemas.openxmlformats.org/officeDocument/2006/relationships/image" Target="../media/image7.png"/><Relationship Id="rId4" Type="http://schemas.openxmlformats.org/officeDocument/2006/relationships/image" Target="../media/image6.png"/><Relationship Id="rId9" Type="http://schemas.openxmlformats.org/officeDocument/2006/relationships/hyperlink" Target="https://communities.ext.icrc.org/community/opdir/adressing-sexual-violence" TargetMode="Externa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23.xml"/><Relationship Id="rId7" Type="http://schemas.openxmlformats.org/officeDocument/2006/relationships/tags" Target="../tags/tag27.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tags" Target="../tags/tag26.xml"/><Relationship Id="rId5" Type="http://schemas.openxmlformats.org/officeDocument/2006/relationships/tags" Target="../tags/tag25.xml"/><Relationship Id="rId10" Type="http://schemas.openxmlformats.org/officeDocument/2006/relationships/image" Target="../media/image8.emf"/><Relationship Id="rId4" Type="http://schemas.openxmlformats.org/officeDocument/2006/relationships/tags" Target="../tags/tag24.xml"/><Relationship Id="rId9" Type="http://schemas.openxmlformats.org/officeDocument/2006/relationships/oleObject" Target="../embeddings/oleObject1.bin"/></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8" Type="http://schemas.openxmlformats.org/officeDocument/2006/relationships/hyperlink" Target="https://collab.ext.icrc.org/sites/TS_OP_DIR/_layouts/15/WopiFrame.aspx?sourcedoc=/sites/TS_OP_DIR/sexualviolence/A%20-%20ICRC%20Internal%20documents/Internal%20documents%20global/SV%20Minimum%20Accountabilty%20Requirements-%20June%202020.docx&amp;action=default" TargetMode="External"/><Relationship Id="rId3" Type="http://schemas.openxmlformats.org/officeDocument/2006/relationships/image" Target="../media/image5.png"/><Relationship Id="rId7" Type="http://schemas.openxmlformats.org/officeDocument/2006/relationships/hyperlink" Target="https://collab.ext.icrc.org/sites/TS_OP_DIR/sexualviolence/A%20-%20ICRC%20Internal%20documents/Sexual%20Violence%20Strategy/ICRC%20Strategy%20on%20Sexual%20Violence%202018-2022%20Eng.pdf" TargetMode="External"/><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hyperlink" Target="https://xnet.ext.icrc.org/applic/extranet/rexdonors.nsf/0/D98CD9FAA80B751EC125852D001C0A23/$File/2020_SpecialAppeal_SV_ForExtranet.pdf" TargetMode="External"/><Relationship Id="rId5" Type="http://schemas.openxmlformats.org/officeDocument/2006/relationships/image" Target="../media/image7.png"/><Relationship Id="rId4" Type="http://schemas.openxmlformats.org/officeDocument/2006/relationships/image" Target="../media/image6.png"/><Relationship Id="rId9" Type="http://schemas.openxmlformats.org/officeDocument/2006/relationships/hyperlink" Target="https://communities.ext.icrc.org/community/opdir/adressing-sexual-violence" TargetMode="Externa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4D7568"/>
        </a:solidFill>
        <a:effectLst/>
      </p:bgPr>
    </p:bg>
    <p:spTree>
      <p:nvGrpSpPr>
        <p:cNvPr id="1" name=""/>
        <p:cNvGrpSpPr/>
        <p:nvPr/>
      </p:nvGrpSpPr>
      <p:grpSpPr>
        <a:xfrm>
          <a:off x="0" y="0"/>
          <a:ext cx="0" cy="0"/>
          <a:chOff x="0" y="0"/>
          <a:chExt cx="0" cy="0"/>
        </a:xfrm>
      </p:grpSpPr>
      <p:pic>
        <p:nvPicPr>
          <p:cNvPr id="17" name="Picture 2">
            <a:extLst>
              <a:ext uri="{FF2B5EF4-FFF2-40B4-BE49-F238E27FC236}">
                <a16:creationId xmlns:a16="http://schemas.microsoft.com/office/drawing/2014/main" id="{79298EF3-24DA-4BEC-856B-E92B593C6E0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a:off x="-1" y="5462046"/>
            <a:ext cx="12192001" cy="1395955"/>
          </a:xfrm>
          <a:prstGeom prst="rect">
            <a:avLst/>
          </a:prstGeom>
        </p:spPr>
      </p:pic>
      <p:sp>
        <p:nvSpPr>
          <p:cNvPr id="6" name="Text Placeholder 5">
            <a:extLst>
              <a:ext uri="{FF2B5EF4-FFF2-40B4-BE49-F238E27FC236}">
                <a16:creationId xmlns:a16="http://schemas.microsoft.com/office/drawing/2014/main" id="{A2D9C43F-FFF2-4188-8DA0-C835E1401A8D}"/>
              </a:ext>
            </a:extLst>
          </p:cNvPr>
          <p:cNvSpPr>
            <a:spLocks noGrp="1"/>
          </p:cNvSpPr>
          <p:nvPr>
            <p:ph type="body" sz="quarter" idx="10"/>
          </p:nvPr>
        </p:nvSpPr>
        <p:spPr>
          <a:xfrm>
            <a:off x="5427664" y="4168776"/>
            <a:ext cx="6046787" cy="884238"/>
          </a:xfrm>
          <a:prstGeom prst="rect">
            <a:avLst/>
          </a:prstGeom>
        </p:spPr>
        <p:txBody>
          <a:bodyPr/>
          <a:lstStyle>
            <a:lvl1pPr>
              <a:defRPr>
                <a:solidFill>
                  <a:schemeClr val="bg1"/>
                </a:solidFill>
                <a:latin typeface="+mj-lt"/>
              </a:defRPr>
            </a:lvl1pPr>
            <a:lvl2pPr marL="457223" indent="0">
              <a:buNone/>
              <a:defRPr>
                <a:solidFill>
                  <a:schemeClr val="bg1"/>
                </a:solidFill>
                <a:latin typeface="+mj-lt"/>
              </a:defRPr>
            </a:lvl2pPr>
            <a:lvl3pPr>
              <a:defRPr>
                <a:solidFill>
                  <a:schemeClr val="bg1"/>
                </a:solidFill>
                <a:latin typeface="+mj-lt"/>
              </a:defRPr>
            </a:lvl3pPr>
            <a:lvl4pPr>
              <a:defRPr>
                <a:solidFill>
                  <a:schemeClr val="bg1"/>
                </a:solidFill>
                <a:latin typeface="+mj-lt"/>
              </a:defRPr>
            </a:lvl4pPr>
            <a:lvl5pPr>
              <a:defRPr>
                <a:solidFill>
                  <a:schemeClr val="bg1"/>
                </a:solidFill>
                <a:latin typeface="+mj-lt"/>
              </a:defRPr>
            </a:lvl5pPr>
          </a:lstStyle>
          <a:p>
            <a:pPr lvl="0"/>
            <a:r>
              <a:rPr lang="en-US" dirty="0"/>
              <a:t>Edit Master text style</a:t>
            </a:r>
          </a:p>
        </p:txBody>
      </p:sp>
      <p:sp>
        <p:nvSpPr>
          <p:cNvPr id="12" name="Text Placeholder 5">
            <a:extLst>
              <a:ext uri="{FF2B5EF4-FFF2-40B4-BE49-F238E27FC236}">
                <a16:creationId xmlns:a16="http://schemas.microsoft.com/office/drawing/2014/main" id="{C6AAF83A-24A2-4CF6-A7A4-47EB24E9DC49}"/>
              </a:ext>
            </a:extLst>
          </p:cNvPr>
          <p:cNvSpPr>
            <a:spLocks noGrp="1"/>
          </p:cNvSpPr>
          <p:nvPr>
            <p:ph type="body" sz="quarter" idx="11"/>
          </p:nvPr>
        </p:nvSpPr>
        <p:spPr>
          <a:xfrm>
            <a:off x="1568502" y="1922104"/>
            <a:ext cx="8952014" cy="884238"/>
          </a:xfrm>
          <a:prstGeom prst="rect">
            <a:avLst/>
          </a:prstGeom>
        </p:spPr>
        <p:txBody>
          <a:bodyPr/>
          <a:lstStyle>
            <a:lvl1pPr algn="l">
              <a:defRPr sz="4800">
                <a:solidFill>
                  <a:schemeClr val="bg1"/>
                </a:solidFill>
                <a:latin typeface="+mj-lt"/>
              </a:defRPr>
            </a:lvl1pPr>
            <a:lvl2pPr marL="457223" indent="0">
              <a:buNone/>
              <a:defRPr>
                <a:solidFill>
                  <a:schemeClr val="bg1"/>
                </a:solidFill>
                <a:latin typeface="+mj-lt"/>
              </a:defRPr>
            </a:lvl2pPr>
            <a:lvl3pPr>
              <a:defRPr>
                <a:solidFill>
                  <a:schemeClr val="bg1"/>
                </a:solidFill>
                <a:latin typeface="+mj-lt"/>
              </a:defRPr>
            </a:lvl3pPr>
            <a:lvl4pPr>
              <a:defRPr>
                <a:solidFill>
                  <a:schemeClr val="bg1"/>
                </a:solidFill>
                <a:latin typeface="+mj-lt"/>
              </a:defRPr>
            </a:lvl4pPr>
            <a:lvl5pPr>
              <a:defRPr>
                <a:solidFill>
                  <a:schemeClr val="bg1"/>
                </a:solidFill>
                <a:latin typeface="+mj-lt"/>
              </a:defRPr>
            </a:lvl5pPr>
          </a:lstStyle>
          <a:p>
            <a:pPr lvl="0"/>
            <a:r>
              <a:rPr lang="en-US" dirty="0"/>
              <a:t>Edit Master text style</a:t>
            </a:r>
          </a:p>
        </p:txBody>
      </p:sp>
      <p:sp>
        <p:nvSpPr>
          <p:cNvPr id="13" name="Text Placeholder 5">
            <a:extLst>
              <a:ext uri="{FF2B5EF4-FFF2-40B4-BE49-F238E27FC236}">
                <a16:creationId xmlns:a16="http://schemas.microsoft.com/office/drawing/2014/main" id="{8CB4846C-6878-4222-BA37-AAD438BF2E2C}"/>
              </a:ext>
            </a:extLst>
          </p:cNvPr>
          <p:cNvSpPr>
            <a:spLocks noGrp="1"/>
          </p:cNvSpPr>
          <p:nvPr>
            <p:ph type="body" sz="quarter" idx="12"/>
          </p:nvPr>
        </p:nvSpPr>
        <p:spPr>
          <a:xfrm>
            <a:off x="1568503" y="3029923"/>
            <a:ext cx="4208155" cy="884238"/>
          </a:xfrm>
          <a:prstGeom prst="rect">
            <a:avLst/>
          </a:prstGeom>
        </p:spPr>
        <p:txBody>
          <a:bodyPr/>
          <a:lstStyle>
            <a:lvl1pPr algn="l">
              <a:defRPr>
                <a:solidFill>
                  <a:schemeClr val="bg1"/>
                </a:solidFill>
                <a:latin typeface="+mj-lt"/>
              </a:defRPr>
            </a:lvl1pPr>
            <a:lvl2pPr marL="457223" indent="0">
              <a:buNone/>
              <a:defRPr>
                <a:solidFill>
                  <a:schemeClr val="bg1"/>
                </a:solidFill>
                <a:latin typeface="+mj-lt"/>
              </a:defRPr>
            </a:lvl2pPr>
            <a:lvl3pPr>
              <a:defRPr>
                <a:solidFill>
                  <a:schemeClr val="bg1"/>
                </a:solidFill>
                <a:latin typeface="+mj-lt"/>
              </a:defRPr>
            </a:lvl3pPr>
            <a:lvl4pPr>
              <a:defRPr>
                <a:solidFill>
                  <a:schemeClr val="bg1"/>
                </a:solidFill>
                <a:latin typeface="+mj-lt"/>
              </a:defRPr>
            </a:lvl4pPr>
            <a:lvl5pPr>
              <a:defRPr>
                <a:solidFill>
                  <a:schemeClr val="bg1"/>
                </a:solidFill>
                <a:latin typeface="+mj-lt"/>
              </a:defRPr>
            </a:lvl5pPr>
          </a:lstStyle>
          <a:p>
            <a:pPr lvl="0"/>
            <a:r>
              <a:rPr lang="en-US" dirty="0"/>
              <a:t>Edit Master text style</a:t>
            </a:r>
          </a:p>
        </p:txBody>
      </p:sp>
    </p:spTree>
    <p:extLst>
      <p:ext uri="{BB962C8B-B14F-4D97-AF65-F5344CB8AC3E}">
        <p14:creationId xmlns:p14="http://schemas.microsoft.com/office/powerpoint/2010/main" val="33535082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F15AD8-83B7-45C2-A989-8D5AB34EC06E}"/>
              </a:ext>
            </a:extLst>
          </p:cNvPr>
          <p:cNvSpPr>
            <a:spLocks noGrp="1"/>
          </p:cNvSpPr>
          <p:nvPr>
            <p:ph type="title"/>
          </p:nvPr>
        </p:nvSpPr>
        <p:spPr/>
        <p:txBody>
          <a:bodyPr/>
          <a:lstStyle/>
          <a:p>
            <a:r>
              <a:rPr lang="en-US"/>
              <a:t>Click to edit Master title style</a:t>
            </a:r>
            <a:endParaRPr lang="fr-CH"/>
          </a:p>
        </p:txBody>
      </p:sp>
      <p:sp>
        <p:nvSpPr>
          <p:cNvPr id="3" name="Content Placeholder 2">
            <a:extLst>
              <a:ext uri="{FF2B5EF4-FFF2-40B4-BE49-F238E27FC236}">
                <a16:creationId xmlns:a16="http://schemas.microsoft.com/office/drawing/2014/main" id="{D19938B5-A9CB-42FE-82FC-21C92D2E6BF4}"/>
              </a:ext>
            </a:extLst>
          </p:cNvPr>
          <p:cNvSpPr>
            <a:spLocks noGrp="1"/>
          </p:cNvSpPr>
          <p:nvPr>
            <p:ph sz="half" idx="1"/>
          </p:nvPr>
        </p:nvSpPr>
        <p:spPr>
          <a:xfrm>
            <a:off x="838200" y="1825626"/>
            <a:ext cx="5181600" cy="435133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CH" dirty="0"/>
          </a:p>
        </p:txBody>
      </p:sp>
      <p:sp>
        <p:nvSpPr>
          <p:cNvPr id="4" name="Content Placeholder 3">
            <a:extLst>
              <a:ext uri="{FF2B5EF4-FFF2-40B4-BE49-F238E27FC236}">
                <a16:creationId xmlns:a16="http://schemas.microsoft.com/office/drawing/2014/main" id="{4D436E75-6015-43AC-A2FA-6D4E203EEE96}"/>
              </a:ext>
            </a:extLst>
          </p:cNvPr>
          <p:cNvSpPr>
            <a:spLocks noGrp="1"/>
          </p:cNvSpPr>
          <p:nvPr>
            <p:ph sz="half" idx="2"/>
          </p:nvPr>
        </p:nvSpPr>
        <p:spPr>
          <a:xfrm>
            <a:off x="6172200" y="1825626"/>
            <a:ext cx="5181600" cy="435133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CH" dirty="0"/>
          </a:p>
        </p:txBody>
      </p:sp>
    </p:spTree>
    <p:extLst>
      <p:ext uri="{BB962C8B-B14F-4D97-AF65-F5344CB8AC3E}">
        <p14:creationId xmlns:p14="http://schemas.microsoft.com/office/powerpoint/2010/main" val="76030315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1"/>
            <a:ext cx="2743200" cy="365125"/>
          </a:xfrm>
          <a:prstGeom prst="rect">
            <a:avLst/>
          </a:prstGeom>
        </p:spPr>
        <p:txBody>
          <a:bodyPr/>
          <a:lstStyle/>
          <a:p>
            <a:fld id="{9CB69BE1-7EE2-4DCA-9D7C-8E2841949C68}" type="datetimeFigureOut">
              <a:rPr lang="fr-CH" smtClean="0"/>
              <a:t>05.06.2023</a:t>
            </a:fld>
            <a:endParaRPr lang="fr-CH" dirty="0"/>
          </a:p>
        </p:txBody>
      </p:sp>
      <p:sp>
        <p:nvSpPr>
          <p:cNvPr id="3" name="Footer Placeholder 2"/>
          <p:cNvSpPr>
            <a:spLocks noGrp="1"/>
          </p:cNvSpPr>
          <p:nvPr>
            <p:ph type="ftr" sz="quarter" idx="11"/>
          </p:nvPr>
        </p:nvSpPr>
        <p:spPr>
          <a:xfrm>
            <a:off x="4038600" y="6356351"/>
            <a:ext cx="4114800" cy="365125"/>
          </a:xfrm>
          <a:prstGeom prst="rect">
            <a:avLst/>
          </a:prstGeom>
        </p:spPr>
        <p:txBody>
          <a:bodyPr/>
          <a:lstStyle/>
          <a:p>
            <a:endParaRPr lang="fr-CH" dirty="0"/>
          </a:p>
        </p:txBody>
      </p:sp>
      <p:sp>
        <p:nvSpPr>
          <p:cNvPr id="4" name="Slide Number Placeholder 3"/>
          <p:cNvSpPr>
            <a:spLocks noGrp="1"/>
          </p:cNvSpPr>
          <p:nvPr>
            <p:ph type="sldNum" sz="quarter" idx="12"/>
          </p:nvPr>
        </p:nvSpPr>
        <p:spPr>
          <a:xfrm>
            <a:off x="8610600" y="6356351"/>
            <a:ext cx="2743200" cy="365125"/>
          </a:xfrm>
          <a:prstGeom prst="rect">
            <a:avLst/>
          </a:prstGeom>
        </p:spPr>
        <p:txBody>
          <a:bodyPr/>
          <a:lstStyle/>
          <a:p>
            <a:fld id="{E5FBD4B3-4394-46C3-A1C2-40436D007F4F}" type="slidenum">
              <a:rPr lang="fr-CH" smtClean="0"/>
              <a:t>‹#›</a:t>
            </a:fld>
            <a:endParaRPr lang="fr-CH" dirty="0"/>
          </a:p>
        </p:txBody>
      </p:sp>
      <p:pic>
        <p:nvPicPr>
          <p:cNvPr id="5" name="Picture 4">
            <a:extLst>
              <a:ext uri="{FF2B5EF4-FFF2-40B4-BE49-F238E27FC236}">
                <a16:creationId xmlns:a16="http://schemas.microsoft.com/office/drawing/2014/main" id="{45A0BE8D-C659-4B9D-B317-6F902E3B13CD}"/>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
            <a:ext cx="12192000" cy="6858001"/>
          </a:xfrm>
          <a:prstGeom prst="rect">
            <a:avLst/>
          </a:prstGeom>
        </p:spPr>
      </p:pic>
    </p:spTree>
    <p:extLst>
      <p:ext uri="{BB962C8B-B14F-4D97-AF65-F5344CB8AC3E}">
        <p14:creationId xmlns:p14="http://schemas.microsoft.com/office/powerpoint/2010/main" val="11042916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422D55-B8F2-4CAE-9E5D-2B0F7CF50CA8}"/>
              </a:ext>
            </a:extLst>
          </p:cNvPr>
          <p:cNvSpPr>
            <a:spLocks noGrp="1"/>
          </p:cNvSpPr>
          <p:nvPr>
            <p:ph type="title"/>
          </p:nvPr>
        </p:nvSpPr>
        <p:spPr/>
        <p:txBody>
          <a:bodyPr/>
          <a:lstStyle/>
          <a:p>
            <a:r>
              <a:rPr lang="en-US" dirty="0"/>
              <a:t>Click to edit Master title style</a:t>
            </a:r>
            <a:endParaRPr lang="fr-CH" dirty="0"/>
          </a:p>
        </p:txBody>
      </p:sp>
      <p:sp>
        <p:nvSpPr>
          <p:cNvPr id="8" name="Picture Placeholder 7">
            <a:extLst>
              <a:ext uri="{FF2B5EF4-FFF2-40B4-BE49-F238E27FC236}">
                <a16:creationId xmlns:a16="http://schemas.microsoft.com/office/drawing/2014/main" id="{6A93EF53-B627-41B5-8B87-E01DCE14C2E1}"/>
              </a:ext>
            </a:extLst>
          </p:cNvPr>
          <p:cNvSpPr>
            <a:spLocks noGrp="1"/>
          </p:cNvSpPr>
          <p:nvPr>
            <p:ph type="pic" sz="quarter" idx="10"/>
          </p:nvPr>
        </p:nvSpPr>
        <p:spPr>
          <a:xfrm>
            <a:off x="636589" y="1911351"/>
            <a:ext cx="11229975" cy="4581525"/>
          </a:xfrm>
          <a:prstGeom prst="rect">
            <a:avLst/>
          </a:prstGeom>
        </p:spPr>
        <p:txBody>
          <a:bodyPr/>
          <a:lstStyle/>
          <a:p>
            <a:endParaRPr lang="fr-CH" dirty="0"/>
          </a:p>
        </p:txBody>
      </p:sp>
    </p:spTree>
    <p:extLst>
      <p:ext uri="{BB962C8B-B14F-4D97-AF65-F5344CB8AC3E}">
        <p14:creationId xmlns:p14="http://schemas.microsoft.com/office/powerpoint/2010/main" val="697112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144D6A-4880-4380-8E1D-6891AC1DB386}"/>
              </a:ext>
            </a:extLst>
          </p:cNvPr>
          <p:cNvSpPr>
            <a:spLocks noGrp="1"/>
          </p:cNvSpPr>
          <p:nvPr>
            <p:ph type="title"/>
          </p:nvPr>
        </p:nvSpPr>
        <p:spPr/>
        <p:txBody>
          <a:bodyPr/>
          <a:lstStyle/>
          <a:p>
            <a:r>
              <a:rPr lang="en-US"/>
              <a:t>Click to edit Master title style</a:t>
            </a:r>
            <a:endParaRPr lang="fr-CH"/>
          </a:p>
        </p:txBody>
      </p:sp>
      <p:sp>
        <p:nvSpPr>
          <p:cNvPr id="4" name="SmartArt Placeholder 3">
            <a:extLst>
              <a:ext uri="{FF2B5EF4-FFF2-40B4-BE49-F238E27FC236}">
                <a16:creationId xmlns:a16="http://schemas.microsoft.com/office/drawing/2014/main" id="{D3898DCA-4882-4D41-912D-48BB3EBCC7CA}"/>
              </a:ext>
            </a:extLst>
          </p:cNvPr>
          <p:cNvSpPr>
            <a:spLocks noGrp="1"/>
          </p:cNvSpPr>
          <p:nvPr>
            <p:ph type="dgm" sz="quarter" idx="10"/>
          </p:nvPr>
        </p:nvSpPr>
        <p:spPr>
          <a:xfrm>
            <a:off x="595313" y="2054226"/>
            <a:ext cx="11147425" cy="4438650"/>
          </a:xfrm>
          <a:prstGeom prst="rect">
            <a:avLst/>
          </a:prstGeom>
        </p:spPr>
        <p:txBody>
          <a:bodyPr/>
          <a:lstStyle/>
          <a:p>
            <a:endParaRPr lang="fr-CH" dirty="0"/>
          </a:p>
        </p:txBody>
      </p:sp>
    </p:spTree>
    <p:extLst>
      <p:ext uri="{BB962C8B-B14F-4D97-AF65-F5344CB8AC3E}">
        <p14:creationId xmlns:p14="http://schemas.microsoft.com/office/powerpoint/2010/main" val="297209806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74F174-A64E-459F-B7CF-E8C4C1B1C115}"/>
              </a:ext>
            </a:extLst>
          </p:cNvPr>
          <p:cNvSpPr>
            <a:spLocks noGrp="1"/>
          </p:cNvSpPr>
          <p:nvPr>
            <p:ph type="title"/>
          </p:nvPr>
        </p:nvSpPr>
        <p:spPr/>
        <p:txBody>
          <a:bodyPr/>
          <a:lstStyle/>
          <a:p>
            <a:r>
              <a:rPr lang="en-US"/>
              <a:t>Click to edit Master title style</a:t>
            </a:r>
            <a:endParaRPr lang="fr-CH"/>
          </a:p>
        </p:txBody>
      </p:sp>
      <p:sp>
        <p:nvSpPr>
          <p:cNvPr id="4" name="Media Placeholder 3">
            <a:extLst>
              <a:ext uri="{FF2B5EF4-FFF2-40B4-BE49-F238E27FC236}">
                <a16:creationId xmlns:a16="http://schemas.microsoft.com/office/drawing/2014/main" id="{D08C3DBF-A99D-4956-A732-77567182904B}"/>
              </a:ext>
            </a:extLst>
          </p:cNvPr>
          <p:cNvSpPr>
            <a:spLocks noGrp="1"/>
          </p:cNvSpPr>
          <p:nvPr>
            <p:ph type="media" sz="quarter" idx="10"/>
          </p:nvPr>
        </p:nvSpPr>
        <p:spPr>
          <a:xfrm>
            <a:off x="698501" y="1911351"/>
            <a:ext cx="10931525" cy="4746625"/>
          </a:xfrm>
          <a:prstGeom prst="rect">
            <a:avLst/>
          </a:prstGeom>
        </p:spPr>
        <p:txBody>
          <a:bodyPr/>
          <a:lstStyle/>
          <a:p>
            <a:endParaRPr lang="fr-CH" dirty="0"/>
          </a:p>
        </p:txBody>
      </p:sp>
    </p:spTree>
    <p:extLst>
      <p:ext uri="{BB962C8B-B14F-4D97-AF65-F5344CB8AC3E}">
        <p14:creationId xmlns:p14="http://schemas.microsoft.com/office/powerpoint/2010/main" val="40295410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AFB5BA-B67B-4637-AF0A-66EBB7FEDF6A}"/>
              </a:ext>
            </a:extLst>
          </p:cNvPr>
          <p:cNvSpPr>
            <a:spLocks noGrp="1"/>
          </p:cNvSpPr>
          <p:nvPr>
            <p:ph type="title"/>
          </p:nvPr>
        </p:nvSpPr>
        <p:spPr/>
        <p:txBody>
          <a:bodyPr/>
          <a:lstStyle/>
          <a:p>
            <a:r>
              <a:rPr lang="en-US"/>
              <a:t>Click to edit Master title style</a:t>
            </a:r>
            <a:endParaRPr lang="fr-CH"/>
          </a:p>
        </p:txBody>
      </p:sp>
      <p:sp>
        <p:nvSpPr>
          <p:cNvPr id="4" name="Content Placeholder 3">
            <a:extLst>
              <a:ext uri="{FF2B5EF4-FFF2-40B4-BE49-F238E27FC236}">
                <a16:creationId xmlns:a16="http://schemas.microsoft.com/office/drawing/2014/main" id="{05D5B70F-E384-44EB-BFF9-F462FBB24C99}"/>
              </a:ext>
            </a:extLst>
          </p:cNvPr>
          <p:cNvSpPr>
            <a:spLocks noGrp="1"/>
          </p:cNvSpPr>
          <p:nvPr>
            <p:ph sz="quarter" idx="10"/>
          </p:nvPr>
        </p:nvSpPr>
        <p:spPr>
          <a:xfrm>
            <a:off x="976313" y="2024063"/>
            <a:ext cx="10706100" cy="4468812"/>
          </a:xfrm>
          <a:prstGeom prst="rect">
            <a:avLst/>
          </a:prstGeom>
        </p:spPr>
        <p:txBody>
          <a:bodyPr/>
          <a:lstStyle>
            <a:lvl1pPr marL="457223" indent="-457223" algn="l">
              <a:buFont typeface="Wingdings" panose="05000000000000000000" pitchFamily="2" charset="2"/>
              <a:buChar char="q"/>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CH" dirty="0"/>
          </a:p>
        </p:txBody>
      </p:sp>
    </p:spTree>
    <p:extLst>
      <p:ext uri="{BB962C8B-B14F-4D97-AF65-F5344CB8AC3E}">
        <p14:creationId xmlns:p14="http://schemas.microsoft.com/office/powerpoint/2010/main" val="86594883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4D7568"/>
        </a:solidFill>
        <a:effectLst/>
      </p:bgPr>
    </p:bg>
    <p:spTree>
      <p:nvGrpSpPr>
        <p:cNvPr id="1" name=""/>
        <p:cNvGrpSpPr/>
        <p:nvPr/>
      </p:nvGrpSpPr>
      <p:grpSpPr>
        <a:xfrm>
          <a:off x="0" y="0"/>
          <a:ext cx="0" cy="0"/>
          <a:chOff x="0" y="0"/>
          <a:chExt cx="0" cy="0"/>
        </a:xfrm>
      </p:grpSpPr>
      <p:pic>
        <p:nvPicPr>
          <p:cNvPr id="17" name="Picture 2">
            <a:extLst>
              <a:ext uri="{FF2B5EF4-FFF2-40B4-BE49-F238E27FC236}">
                <a16:creationId xmlns:a16="http://schemas.microsoft.com/office/drawing/2014/main" id="{79298EF3-24DA-4BEC-856B-E92B593C6E0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a:off x="-1" y="5462045"/>
            <a:ext cx="12192001" cy="1395955"/>
          </a:xfrm>
          <a:prstGeom prst="rect">
            <a:avLst/>
          </a:prstGeom>
        </p:spPr>
      </p:pic>
      <p:sp>
        <p:nvSpPr>
          <p:cNvPr id="18" name="TextBox 5">
            <a:extLst>
              <a:ext uri="{FF2B5EF4-FFF2-40B4-BE49-F238E27FC236}">
                <a16:creationId xmlns:a16="http://schemas.microsoft.com/office/drawing/2014/main" id="{608392D7-E0E0-4AE3-B799-10AE1134293B}"/>
              </a:ext>
            </a:extLst>
          </p:cNvPr>
          <p:cNvSpPr txBox="1"/>
          <p:nvPr userDrawn="1"/>
        </p:nvSpPr>
        <p:spPr>
          <a:xfrm>
            <a:off x="9686260" y="4376202"/>
            <a:ext cx="1566984" cy="679738"/>
          </a:xfrm>
          <a:prstGeom prst="rect">
            <a:avLst/>
          </a:prstGeom>
        </p:spPr>
        <p:txBody>
          <a:bodyPr wrap="square" lIns="0" tIns="0" rIns="0" bIns="0" rtlCol="0" anchor="t">
            <a:spAutoFit/>
          </a:bodyPr>
          <a:lstStyle/>
          <a:p>
            <a:pPr algn="r">
              <a:lnSpc>
                <a:spcPts val="5974"/>
              </a:lnSpc>
            </a:pPr>
            <a:r>
              <a:rPr lang="en-US" sz="3514" spc="175" dirty="0">
                <a:solidFill>
                  <a:srgbClr val="FFFFFF"/>
                </a:solidFill>
                <a:latin typeface="IBM Plex Sans Bold"/>
              </a:rPr>
              <a:t>Date</a:t>
            </a:r>
          </a:p>
        </p:txBody>
      </p:sp>
      <p:sp>
        <p:nvSpPr>
          <p:cNvPr id="19" name="TextBox 6">
            <a:extLst>
              <a:ext uri="{FF2B5EF4-FFF2-40B4-BE49-F238E27FC236}">
                <a16:creationId xmlns:a16="http://schemas.microsoft.com/office/drawing/2014/main" id="{E4D3B599-99FD-43FC-9D91-605660A36F7C}"/>
              </a:ext>
            </a:extLst>
          </p:cNvPr>
          <p:cNvSpPr txBox="1"/>
          <p:nvPr userDrawn="1"/>
        </p:nvSpPr>
        <p:spPr>
          <a:xfrm>
            <a:off x="1178663" y="1901348"/>
            <a:ext cx="7761999" cy="1051570"/>
          </a:xfrm>
          <a:prstGeom prst="rect">
            <a:avLst/>
          </a:prstGeom>
        </p:spPr>
        <p:txBody>
          <a:bodyPr wrap="square" lIns="0" tIns="0" rIns="0" bIns="0" rtlCol="0" anchor="t">
            <a:spAutoFit/>
          </a:bodyPr>
          <a:lstStyle/>
          <a:p>
            <a:pPr>
              <a:lnSpc>
                <a:spcPts val="8175"/>
              </a:lnSpc>
            </a:pPr>
            <a:r>
              <a:rPr lang="en-US" sz="7500" b="1" dirty="0">
                <a:solidFill>
                  <a:srgbClr val="FFFFFF"/>
                </a:solidFill>
                <a:latin typeface="IBM Plex Sans Bold"/>
              </a:rPr>
              <a:t>Title</a:t>
            </a:r>
          </a:p>
        </p:txBody>
      </p:sp>
      <p:sp>
        <p:nvSpPr>
          <p:cNvPr id="20" name="TextBox 7">
            <a:extLst>
              <a:ext uri="{FF2B5EF4-FFF2-40B4-BE49-F238E27FC236}">
                <a16:creationId xmlns:a16="http://schemas.microsoft.com/office/drawing/2014/main" id="{3CD143FC-AFC8-4DDE-B7C5-4AEB91B42167}"/>
              </a:ext>
            </a:extLst>
          </p:cNvPr>
          <p:cNvSpPr txBox="1"/>
          <p:nvPr userDrawn="1"/>
        </p:nvSpPr>
        <p:spPr>
          <a:xfrm>
            <a:off x="1297172" y="3188468"/>
            <a:ext cx="6188371" cy="476092"/>
          </a:xfrm>
          <a:prstGeom prst="rect">
            <a:avLst/>
          </a:prstGeom>
        </p:spPr>
        <p:txBody>
          <a:bodyPr wrap="square" lIns="0" tIns="0" rIns="0" bIns="0" rtlCol="0" anchor="t">
            <a:spAutoFit/>
          </a:bodyPr>
          <a:lstStyle/>
          <a:p>
            <a:pPr>
              <a:lnSpc>
                <a:spcPts val="4116"/>
              </a:lnSpc>
            </a:pPr>
            <a:r>
              <a:rPr lang="en-US" sz="2800" dirty="0">
                <a:solidFill>
                  <a:srgbClr val="FFFFFF"/>
                </a:solidFill>
                <a:latin typeface="IBM Plex Sans Thin"/>
              </a:rPr>
              <a:t>Intro line</a:t>
            </a:r>
          </a:p>
        </p:txBody>
      </p:sp>
      <p:sp>
        <p:nvSpPr>
          <p:cNvPr id="21" name="TextBox 8">
            <a:extLst>
              <a:ext uri="{FF2B5EF4-FFF2-40B4-BE49-F238E27FC236}">
                <a16:creationId xmlns:a16="http://schemas.microsoft.com/office/drawing/2014/main" id="{B898328E-40D9-43CD-90B5-827EEF015001}"/>
              </a:ext>
            </a:extLst>
          </p:cNvPr>
          <p:cNvSpPr txBox="1"/>
          <p:nvPr userDrawn="1"/>
        </p:nvSpPr>
        <p:spPr>
          <a:xfrm>
            <a:off x="1178663" y="906834"/>
            <a:ext cx="2457672" cy="827727"/>
          </a:xfrm>
          <a:prstGeom prst="rect">
            <a:avLst/>
          </a:prstGeom>
        </p:spPr>
        <p:txBody>
          <a:bodyPr wrap="square" lIns="0" tIns="0" rIns="0" bIns="0" rtlCol="0" anchor="t">
            <a:spAutoFit/>
          </a:bodyPr>
          <a:lstStyle/>
          <a:p>
            <a:pPr>
              <a:lnSpc>
                <a:spcPts val="7310"/>
              </a:lnSpc>
            </a:pPr>
            <a:r>
              <a:rPr lang="en-US" sz="4300" spc="215" dirty="0">
                <a:solidFill>
                  <a:srgbClr val="FFFFFF"/>
                </a:solidFill>
                <a:latin typeface="IBM Plex Sans Thin" panose="020B0604020202020204" charset="0"/>
              </a:rPr>
              <a:t>Text</a:t>
            </a:r>
          </a:p>
        </p:txBody>
      </p:sp>
    </p:spTree>
    <p:extLst>
      <p:ext uri="{BB962C8B-B14F-4D97-AF65-F5344CB8AC3E}">
        <p14:creationId xmlns:p14="http://schemas.microsoft.com/office/powerpoint/2010/main" val="190878886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A296D6-1213-427D-BD83-D57981BC5F3E}"/>
              </a:ext>
            </a:extLst>
          </p:cNvPr>
          <p:cNvSpPr>
            <a:spLocks noGrp="1"/>
          </p:cNvSpPr>
          <p:nvPr>
            <p:ph type="title"/>
          </p:nvPr>
        </p:nvSpPr>
        <p:spPr/>
        <p:txBody>
          <a:bodyPr/>
          <a:lstStyle/>
          <a:p>
            <a:r>
              <a:rPr lang="en-US" dirty="0"/>
              <a:t>Click to edit Master title style</a:t>
            </a:r>
            <a:endParaRPr lang="fr-CH" dirty="0"/>
          </a:p>
        </p:txBody>
      </p:sp>
      <p:sp>
        <p:nvSpPr>
          <p:cNvPr id="4" name="Content Placeholder 2">
            <a:extLst>
              <a:ext uri="{FF2B5EF4-FFF2-40B4-BE49-F238E27FC236}">
                <a16:creationId xmlns:a16="http://schemas.microsoft.com/office/drawing/2014/main" id="{6FDD6568-3F6E-4AA8-ACFF-3AB9B8529EA0}"/>
              </a:ext>
            </a:extLst>
          </p:cNvPr>
          <p:cNvSpPr>
            <a:spLocks noGrp="1"/>
          </p:cNvSpPr>
          <p:nvPr>
            <p:ph idx="13" hasCustomPrompt="1"/>
          </p:nvPr>
        </p:nvSpPr>
        <p:spPr>
          <a:xfrm>
            <a:off x="565354" y="1995319"/>
            <a:ext cx="10722076" cy="4497556"/>
          </a:xfrm>
          <a:prstGeom prst="rect">
            <a:avLst/>
          </a:prstGeom>
          <a:solidFill>
            <a:srgbClr val="CAD4C1"/>
          </a:solidFill>
        </p:spPr>
        <p:txBody>
          <a:bodyPr anchor="ctr"/>
          <a:lstStyle>
            <a:lvl1pPr marL="1000125" indent="-457200" algn="l">
              <a:buFont typeface="Arial" panose="020B0604020202020204" pitchFamily="34" charset="0"/>
              <a:buChar char="•"/>
              <a:defRPr sz="2560"/>
            </a:lvl1pPr>
          </a:lstStyle>
          <a:p>
            <a:pPr lvl="0"/>
            <a:r>
              <a:rPr lang="en-AU" dirty="0"/>
              <a:t>Your text goes here</a:t>
            </a:r>
          </a:p>
          <a:p>
            <a:pPr lvl="0"/>
            <a:r>
              <a:rPr lang="en-AU" dirty="0"/>
              <a:t>Sample</a:t>
            </a:r>
          </a:p>
          <a:p>
            <a:pPr lvl="0"/>
            <a:r>
              <a:rPr lang="en-AU" dirty="0"/>
              <a:t>Testing</a:t>
            </a:r>
          </a:p>
          <a:p>
            <a:pPr lvl="0"/>
            <a:r>
              <a:rPr lang="en-AU" dirty="0"/>
              <a:t>Other examples</a:t>
            </a:r>
            <a:endParaRPr lang="fr-CH" dirty="0"/>
          </a:p>
        </p:txBody>
      </p:sp>
    </p:spTree>
    <p:extLst>
      <p:ext uri="{BB962C8B-B14F-4D97-AF65-F5344CB8AC3E}">
        <p14:creationId xmlns:p14="http://schemas.microsoft.com/office/powerpoint/2010/main" val="296487795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D3F731-D0E3-4C0D-A4A7-ED5F7FCA8142}"/>
              </a:ext>
            </a:extLst>
          </p:cNvPr>
          <p:cNvSpPr>
            <a:spLocks noGrp="1"/>
          </p:cNvSpPr>
          <p:nvPr>
            <p:ph type="title" hasCustomPrompt="1"/>
          </p:nvPr>
        </p:nvSpPr>
        <p:spPr>
          <a:xfrm>
            <a:off x="0" y="1"/>
            <a:ext cx="12192000" cy="1690688"/>
          </a:xfrm>
          <a:prstGeom prst="rect">
            <a:avLst/>
          </a:prstGeom>
        </p:spPr>
        <p:txBody>
          <a:bodyPr anchor="ctr"/>
          <a:lstStyle>
            <a:lvl1pPr marL="542925" indent="0">
              <a:defRPr b="0"/>
            </a:lvl1pPr>
          </a:lstStyle>
          <a:p>
            <a:r>
              <a:rPr lang="en-US" dirty="0"/>
              <a:t>Title:</a:t>
            </a:r>
            <a:br>
              <a:rPr lang="en-US" dirty="0"/>
            </a:br>
            <a:r>
              <a:rPr lang="en-US" dirty="0"/>
              <a:t>	Subtitle</a:t>
            </a:r>
            <a:endParaRPr lang="fr-CH" dirty="0"/>
          </a:p>
        </p:txBody>
      </p:sp>
      <p:sp>
        <p:nvSpPr>
          <p:cNvPr id="7" name="Content Placeholder 2">
            <a:extLst>
              <a:ext uri="{FF2B5EF4-FFF2-40B4-BE49-F238E27FC236}">
                <a16:creationId xmlns:a16="http://schemas.microsoft.com/office/drawing/2014/main" id="{1E6B184D-9D17-4463-9B1B-3B27A5A04257}"/>
              </a:ext>
            </a:extLst>
          </p:cNvPr>
          <p:cNvSpPr>
            <a:spLocks noGrp="1"/>
          </p:cNvSpPr>
          <p:nvPr>
            <p:ph idx="10" hasCustomPrompt="1"/>
          </p:nvPr>
        </p:nvSpPr>
        <p:spPr>
          <a:xfrm>
            <a:off x="0" y="2088732"/>
            <a:ext cx="8065168" cy="741112"/>
          </a:xfrm>
          <a:prstGeom prst="rect">
            <a:avLst/>
          </a:prstGeom>
          <a:solidFill>
            <a:srgbClr val="CAD4C1"/>
          </a:solidFill>
        </p:spPr>
        <p:txBody>
          <a:bodyPr anchor="ctr"/>
          <a:lstStyle>
            <a:lvl1pPr marL="542925" indent="0" algn="l">
              <a:defRPr sz="2560"/>
            </a:lvl1pPr>
          </a:lstStyle>
          <a:p>
            <a:pPr lvl="0"/>
            <a:r>
              <a:rPr lang="en-AU" dirty="0"/>
              <a:t>Point 1</a:t>
            </a:r>
            <a:endParaRPr lang="fr-CH" dirty="0"/>
          </a:p>
        </p:txBody>
      </p:sp>
      <p:sp>
        <p:nvSpPr>
          <p:cNvPr id="18" name="Freeform 10">
            <a:extLst>
              <a:ext uri="{FF2B5EF4-FFF2-40B4-BE49-F238E27FC236}">
                <a16:creationId xmlns:a16="http://schemas.microsoft.com/office/drawing/2014/main" id="{C8360514-0B0E-4FAB-A09D-2DE1E745A639}"/>
              </a:ext>
            </a:extLst>
          </p:cNvPr>
          <p:cNvSpPr/>
          <p:nvPr/>
        </p:nvSpPr>
        <p:spPr>
          <a:xfrm>
            <a:off x="561157" y="5645302"/>
            <a:ext cx="123245" cy="106627"/>
          </a:xfrm>
          <a:custGeom>
            <a:avLst/>
            <a:gdLst/>
            <a:ahLst/>
            <a:cxnLst/>
            <a:rect l="l" t="t" r="r" b="b"/>
            <a:pathLst>
              <a:path w="450850" h="450850">
                <a:moveTo>
                  <a:pt x="450850" y="450850"/>
                </a:moveTo>
                <a:lnTo>
                  <a:pt x="0" y="450850"/>
                </a:lnTo>
                <a:lnTo>
                  <a:pt x="450850" y="0"/>
                </a:lnTo>
                <a:close/>
              </a:path>
            </a:pathLst>
          </a:custGeom>
          <a:solidFill>
            <a:srgbClr val="3E6055"/>
          </a:solidFill>
        </p:spPr>
      </p:sp>
      <p:sp>
        <p:nvSpPr>
          <p:cNvPr id="23" name="Content Placeholder 2">
            <a:extLst>
              <a:ext uri="{FF2B5EF4-FFF2-40B4-BE49-F238E27FC236}">
                <a16:creationId xmlns:a16="http://schemas.microsoft.com/office/drawing/2014/main" id="{3A345C08-8739-48FE-872B-70167008D035}"/>
              </a:ext>
            </a:extLst>
          </p:cNvPr>
          <p:cNvSpPr>
            <a:spLocks noGrp="1"/>
          </p:cNvSpPr>
          <p:nvPr>
            <p:ph idx="11" hasCustomPrompt="1"/>
          </p:nvPr>
        </p:nvSpPr>
        <p:spPr>
          <a:xfrm>
            <a:off x="0" y="4802686"/>
            <a:ext cx="8065168" cy="741112"/>
          </a:xfrm>
          <a:prstGeom prst="rect">
            <a:avLst/>
          </a:prstGeom>
          <a:solidFill>
            <a:srgbClr val="CAD4C1"/>
          </a:solidFill>
        </p:spPr>
        <p:txBody>
          <a:bodyPr anchor="ctr"/>
          <a:lstStyle>
            <a:lvl1pPr marL="542925" indent="0" algn="l">
              <a:defRPr sz="2560"/>
            </a:lvl1pPr>
          </a:lstStyle>
          <a:p>
            <a:pPr lvl="0"/>
            <a:r>
              <a:rPr lang="en-AU" dirty="0"/>
              <a:t>Point 2</a:t>
            </a:r>
            <a:endParaRPr lang="fr-CH" dirty="0"/>
          </a:p>
        </p:txBody>
      </p:sp>
      <p:sp>
        <p:nvSpPr>
          <p:cNvPr id="20" name="Content Placeholder 2">
            <a:extLst>
              <a:ext uri="{FF2B5EF4-FFF2-40B4-BE49-F238E27FC236}">
                <a16:creationId xmlns:a16="http://schemas.microsoft.com/office/drawing/2014/main" id="{B9A36F04-9552-4800-B4A8-D6B7C6364DD6}"/>
              </a:ext>
            </a:extLst>
          </p:cNvPr>
          <p:cNvSpPr>
            <a:spLocks noGrp="1"/>
          </p:cNvSpPr>
          <p:nvPr>
            <p:ph idx="12" hasCustomPrompt="1"/>
          </p:nvPr>
        </p:nvSpPr>
        <p:spPr>
          <a:xfrm>
            <a:off x="840657" y="2943875"/>
            <a:ext cx="10722077" cy="741112"/>
          </a:xfrm>
          <a:prstGeom prst="rect">
            <a:avLst/>
          </a:prstGeom>
          <a:solidFill>
            <a:srgbClr val="CAD4C1"/>
          </a:solidFill>
        </p:spPr>
        <p:txBody>
          <a:bodyPr anchor="ctr"/>
          <a:lstStyle>
            <a:lvl1pPr marL="542925" indent="0" algn="l">
              <a:defRPr sz="2560"/>
            </a:lvl1pPr>
          </a:lstStyle>
          <a:p>
            <a:pPr lvl="0"/>
            <a:r>
              <a:rPr lang="en-AU" dirty="0"/>
              <a:t>Point 1a</a:t>
            </a:r>
            <a:endParaRPr lang="fr-CH" dirty="0"/>
          </a:p>
        </p:txBody>
      </p:sp>
      <p:sp>
        <p:nvSpPr>
          <p:cNvPr id="21" name="Content Placeholder 2">
            <a:extLst>
              <a:ext uri="{FF2B5EF4-FFF2-40B4-BE49-F238E27FC236}">
                <a16:creationId xmlns:a16="http://schemas.microsoft.com/office/drawing/2014/main" id="{39AAAF21-4952-401F-AAF8-8ADB1D2AD015}"/>
              </a:ext>
            </a:extLst>
          </p:cNvPr>
          <p:cNvSpPr>
            <a:spLocks noGrp="1"/>
          </p:cNvSpPr>
          <p:nvPr>
            <p:ph idx="13" hasCustomPrompt="1"/>
          </p:nvPr>
        </p:nvSpPr>
        <p:spPr>
          <a:xfrm>
            <a:off x="840658" y="3873280"/>
            <a:ext cx="10722076" cy="741112"/>
          </a:xfrm>
          <a:prstGeom prst="rect">
            <a:avLst/>
          </a:prstGeom>
          <a:solidFill>
            <a:srgbClr val="CAD4C1"/>
          </a:solidFill>
        </p:spPr>
        <p:txBody>
          <a:bodyPr anchor="ctr"/>
          <a:lstStyle>
            <a:lvl1pPr marL="542925" indent="0" algn="l">
              <a:defRPr sz="2560"/>
            </a:lvl1pPr>
          </a:lstStyle>
          <a:p>
            <a:pPr lvl="0"/>
            <a:r>
              <a:rPr lang="en-AU" dirty="0"/>
              <a:t>Point 1b</a:t>
            </a:r>
            <a:endParaRPr lang="fr-CH" dirty="0"/>
          </a:p>
        </p:txBody>
      </p:sp>
      <p:sp>
        <p:nvSpPr>
          <p:cNvPr id="22" name="Content Placeholder 2">
            <a:extLst>
              <a:ext uri="{FF2B5EF4-FFF2-40B4-BE49-F238E27FC236}">
                <a16:creationId xmlns:a16="http://schemas.microsoft.com/office/drawing/2014/main" id="{A9FDBD89-7803-41C0-9BCC-15F362B61848}"/>
              </a:ext>
            </a:extLst>
          </p:cNvPr>
          <p:cNvSpPr>
            <a:spLocks noGrp="1"/>
          </p:cNvSpPr>
          <p:nvPr>
            <p:ph idx="14" hasCustomPrompt="1"/>
          </p:nvPr>
        </p:nvSpPr>
        <p:spPr>
          <a:xfrm>
            <a:off x="840658" y="5818902"/>
            <a:ext cx="10722076" cy="741112"/>
          </a:xfrm>
          <a:prstGeom prst="rect">
            <a:avLst/>
          </a:prstGeom>
          <a:solidFill>
            <a:srgbClr val="CAD4C1"/>
          </a:solidFill>
        </p:spPr>
        <p:txBody>
          <a:bodyPr anchor="ctr"/>
          <a:lstStyle>
            <a:lvl1pPr marL="542925" indent="0" algn="l">
              <a:defRPr sz="2560"/>
            </a:lvl1pPr>
          </a:lstStyle>
          <a:p>
            <a:pPr lvl="0"/>
            <a:r>
              <a:rPr lang="en-AU" dirty="0"/>
              <a:t>Point 1b</a:t>
            </a:r>
            <a:endParaRPr lang="fr-CH" dirty="0"/>
          </a:p>
        </p:txBody>
      </p:sp>
    </p:spTree>
    <p:extLst>
      <p:ext uri="{BB962C8B-B14F-4D97-AF65-F5344CB8AC3E}">
        <p14:creationId xmlns:p14="http://schemas.microsoft.com/office/powerpoint/2010/main" val="96262357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BA8938-75BC-48CB-9F55-DA914FB2F725}"/>
              </a:ext>
            </a:extLst>
          </p:cNvPr>
          <p:cNvSpPr>
            <a:spLocks noGrp="1"/>
          </p:cNvSpPr>
          <p:nvPr>
            <p:ph type="title"/>
          </p:nvPr>
        </p:nvSpPr>
        <p:spPr>
          <a:xfrm>
            <a:off x="839788" y="365125"/>
            <a:ext cx="10515600" cy="1325563"/>
          </a:xfrm>
          <a:prstGeom prst="rect">
            <a:avLst/>
          </a:prstGeom>
        </p:spPr>
        <p:txBody>
          <a:bodyPr/>
          <a:lstStyle/>
          <a:p>
            <a:r>
              <a:rPr lang="en-US" dirty="0"/>
              <a:t>Click to edit Master title style</a:t>
            </a:r>
            <a:endParaRPr lang="fr-CH" dirty="0"/>
          </a:p>
        </p:txBody>
      </p:sp>
      <p:sp>
        <p:nvSpPr>
          <p:cNvPr id="3" name="Text Placeholder 2">
            <a:extLst>
              <a:ext uri="{FF2B5EF4-FFF2-40B4-BE49-F238E27FC236}">
                <a16:creationId xmlns:a16="http://schemas.microsoft.com/office/drawing/2014/main" id="{13A597E3-0F46-4EB3-ABEA-97053A9B8089}"/>
              </a:ext>
            </a:extLst>
          </p:cNvPr>
          <p:cNvSpPr>
            <a:spLocks noGrp="1"/>
          </p:cNvSpPr>
          <p:nvPr>
            <p:ph type="body" idx="1"/>
          </p:nvPr>
        </p:nvSpPr>
        <p:spPr>
          <a:xfrm>
            <a:off x="839788" y="1681163"/>
            <a:ext cx="5157787" cy="823912"/>
          </a:xfrm>
          <a:prstGeom prst="rect">
            <a:avLst/>
          </a:prstGeom>
        </p:spPr>
        <p:txBody>
          <a:bodyPr anchor="b"/>
          <a:lstStyle>
            <a:lvl1pPr marL="0" indent="0" algn="l">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4" name="Content Placeholder 3">
            <a:extLst>
              <a:ext uri="{FF2B5EF4-FFF2-40B4-BE49-F238E27FC236}">
                <a16:creationId xmlns:a16="http://schemas.microsoft.com/office/drawing/2014/main" id="{4C032AE0-27AC-4288-9037-99630CEBF32E}"/>
              </a:ext>
            </a:extLst>
          </p:cNvPr>
          <p:cNvSpPr>
            <a:spLocks noGrp="1"/>
          </p:cNvSpPr>
          <p:nvPr>
            <p:ph sz="half" idx="2"/>
          </p:nvPr>
        </p:nvSpPr>
        <p:spPr>
          <a:xfrm>
            <a:off x="839788" y="2505075"/>
            <a:ext cx="5157787" cy="3684588"/>
          </a:xfrm>
          <a:prstGeom prst="rect">
            <a:avLst/>
          </a:prstGeom>
        </p:spPr>
        <p:txBody>
          <a:bodyPr/>
          <a:lstStyle>
            <a:lvl1pPr algn="l">
              <a:defRPr/>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CH" dirty="0"/>
          </a:p>
        </p:txBody>
      </p:sp>
      <p:sp>
        <p:nvSpPr>
          <p:cNvPr id="5" name="Text Placeholder 4">
            <a:extLst>
              <a:ext uri="{FF2B5EF4-FFF2-40B4-BE49-F238E27FC236}">
                <a16:creationId xmlns:a16="http://schemas.microsoft.com/office/drawing/2014/main" id="{D436D96C-93A5-4CF5-A122-EFC870CB657F}"/>
              </a:ext>
            </a:extLst>
          </p:cNvPr>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6" name="Content Placeholder 5">
            <a:extLst>
              <a:ext uri="{FF2B5EF4-FFF2-40B4-BE49-F238E27FC236}">
                <a16:creationId xmlns:a16="http://schemas.microsoft.com/office/drawing/2014/main" id="{CCA9CBB9-D693-4CEA-86F8-2205AA67CBA8}"/>
              </a:ext>
            </a:extLst>
          </p:cNvPr>
          <p:cNvSpPr>
            <a:spLocks noGrp="1"/>
          </p:cNvSpPr>
          <p:nvPr>
            <p:ph sz="quarter" idx="4"/>
          </p:nvPr>
        </p:nvSpPr>
        <p:spPr>
          <a:xfrm>
            <a:off x="6172200" y="2505075"/>
            <a:ext cx="5183188" cy="368458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CH"/>
          </a:p>
        </p:txBody>
      </p:sp>
    </p:spTree>
    <p:extLst>
      <p:ext uri="{BB962C8B-B14F-4D97-AF65-F5344CB8AC3E}">
        <p14:creationId xmlns:p14="http://schemas.microsoft.com/office/powerpoint/2010/main" val="277722158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A296D6-1213-427D-BD83-D57981BC5F3E}"/>
              </a:ext>
            </a:extLst>
          </p:cNvPr>
          <p:cNvSpPr>
            <a:spLocks noGrp="1"/>
          </p:cNvSpPr>
          <p:nvPr>
            <p:ph type="title"/>
          </p:nvPr>
        </p:nvSpPr>
        <p:spPr/>
        <p:txBody>
          <a:bodyPr/>
          <a:lstStyle/>
          <a:p>
            <a:r>
              <a:rPr lang="en-US" dirty="0"/>
              <a:t>Click to edit Master title style</a:t>
            </a:r>
            <a:endParaRPr lang="fr-CH" dirty="0"/>
          </a:p>
        </p:txBody>
      </p:sp>
      <p:sp>
        <p:nvSpPr>
          <p:cNvPr id="4" name="Content Placeholder 2">
            <a:extLst>
              <a:ext uri="{FF2B5EF4-FFF2-40B4-BE49-F238E27FC236}">
                <a16:creationId xmlns:a16="http://schemas.microsoft.com/office/drawing/2014/main" id="{6FDD6568-3F6E-4AA8-ACFF-3AB9B8529EA0}"/>
              </a:ext>
            </a:extLst>
          </p:cNvPr>
          <p:cNvSpPr>
            <a:spLocks noGrp="1"/>
          </p:cNvSpPr>
          <p:nvPr>
            <p:ph idx="13" hasCustomPrompt="1"/>
          </p:nvPr>
        </p:nvSpPr>
        <p:spPr>
          <a:xfrm>
            <a:off x="565354" y="1995319"/>
            <a:ext cx="10722076" cy="4497556"/>
          </a:xfrm>
          <a:prstGeom prst="rect">
            <a:avLst/>
          </a:prstGeom>
          <a:solidFill>
            <a:srgbClr val="CAD4C1"/>
          </a:solidFill>
        </p:spPr>
        <p:txBody>
          <a:bodyPr anchor="ctr"/>
          <a:lstStyle>
            <a:lvl1pPr marL="1000175" indent="-457223" algn="l">
              <a:buFont typeface="Arial" panose="020B0604020202020204" pitchFamily="34" charset="0"/>
              <a:buChar char="•"/>
              <a:defRPr sz="2560"/>
            </a:lvl1pPr>
          </a:lstStyle>
          <a:p>
            <a:pPr lvl="0"/>
            <a:r>
              <a:rPr lang="en-AU" dirty="0"/>
              <a:t>Your text goes here</a:t>
            </a:r>
          </a:p>
          <a:p>
            <a:pPr lvl="0"/>
            <a:r>
              <a:rPr lang="en-AU" dirty="0"/>
              <a:t>Sample</a:t>
            </a:r>
          </a:p>
          <a:p>
            <a:pPr lvl="0"/>
            <a:r>
              <a:rPr lang="en-AU" dirty="0"/>
              <a:t>Testing</a:t>
            </a:r>
          </a:p>
          <a:p>
            <a:pPr lvl="0"/>
            <a:r>
              <a:rPr lang="en-AU" dirty="0"/>
              <a:t>Other examples</a:t>
            </a:r>
            <a:endParaRPr lang="fr-CH" dirty="0"/>
          </a:p>
        </p:txBody>
      </p:sp>
    </p:spTree>
    <p:extLst>
      <p:ext uri="{BB962C8B-B14F-4D97-AF65-F5344CB8AC3E}">
        <p14:creationId xmlns:p14="http://schemas.microsoft.com/office/powerpoint/2010/main" val="347378525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8E133FD-2B13-4C75-890D-D1506D30F3F5}"/>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 y="0"/>
            <a:ext cx="12191999" cy="6858000"/>
          </a:xfrm>
          <a:prstGeom prst="rect">
            <a:avLst/>
          </a:prstGeom>
        </p:spPr>
      </p:pic>
    </p:spTree>
    <p:extLst>
      <p:ext uri="{BB962C8B-B14F-4D97-AF65-F5344CB8AC3E}">
        <p14:creationId xmlns:p14="http://schemas.microsoft.com/office/powerpoint/2010/main" val="134436033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FC541AD-931F-440A-9086-A8F90F1006C5}"/>
              </a:ext>
            </a:extLst>
          </p:cNvPr>
          <p:cNvSpPr>
            <a:spLocks noGrp="1"/>
          </p:cNvSpPr>
          <p:nvPr>
            <p:ph type="dt" sz="half" idx="10"/>
          </p:nvPr>
        </p:nvSpPr>
        <p:spPr>
          <a:xfrm>
            <a:off x="838200" y="6356350"/>
            <a:ext cx="2743200" cy="365125"/>
          </a:xfrm>
          <a:prstGeom prst="rect">
            <a:avLst/>
          </a:prstGeom>
        </p:spPr>
        <p:txBody>
          <a:bodyPr/>
          <a:lstStyle/>
          <a:p>
            <a:fld id="{9CB69BE1-7EE2-4DCA-9D7C-8E2841949C68}" type="datetimeFigureOut">
              <a:rPr lang="fr-CH" smtClean="0"/>
              <a:t>05.06.2023</a:t>
            </a:fld>
            <a:endParaRPr lang="fr-CH" dirty="0"/>
          </a:p>
        </p:txBody>
      </p:sp>
      <p:sp>
        <p:nvSpPr>
          <p:cNvPr id="3" name="Footer Placeholder 2">
            <a:extLst>
              <a:ext uri="{FF2B5EF4-FFF2-40B4-BE49-F238E27FC236}">
                <a16:creationId xmlns:a16="http://schemas.microsoft.com/office/drawing/2014/main" id="{4E495729-A6CD-428A-A676-5EC5DAA93E8F}"/>
              </a:ext>
            </a:extLst>
          </p:cNvPr>
          <p:cNvSpPr>
            <a:spLocks noGrp="1"/>
          </p:cNvSpPr>
          <p:nvPr>
            <p:ph type="ftr" sz="quarter" idx="11"/>
          </p:nvPr>
        </p:nvSpPr>
        <p:spPr>
          <a:xfrm>
            <a:off x="4038600" y="6356350"/>
            <a:ext cx="4114800" cy="365125"/>
          </a:xfrm>
          <a:prstGeom prst="rect">
            <a:avLst/>
          </a:prstGeom>
        </p:spPr>
        <p:txBody>
          <a:bodyPr/>
          <a:lstStyle/>
          <a:p>
            <a:endParaRPr lang="fr-CH" dirty="0"/>
          </a:p>
        </p:txBody>
      </p:sp>
      <p:sp>
        <p:nvSpPr>
          <p:cNvPr id="4" name="Slide Number Placeholder 3">
            <a:extLst>
              <a:ext uri="{FF2B5EF4-FFF2-40B4-BE49-F238E27FC236}">
                <a16:creationId xmlns:a16="http://schemas.microsoft.com/office/drawing/2014/main" id="{0A8C0970-FD76-4485-BD42-D4C2DBC785DB}"/>
              </a:ext>
            </a:extLst>
          </p:cNvPr>
          <p:cNvSpPr>
            <a:spLocks noGrp="1"/>
          </p:cNvSpPr>
          <p:nvPr>
            <p:ph type="sldNum" sz="quarter" idx="12"/>
          </p:nvPr>
        </p:nvSpPr>
        <p:spPr>
          <a:xfrm>
            <a:off x="8610600" y="6356350"/>
            <a:ext cx="2743200" cy="365125"/>
          </a:xfrm>
          <a:prstGeom prst="rect">
            <a:avLst/>
          </a:prstGeom>
        </p:spPr>
        <p:txBody>
          <a:bodyPr/>
          <a:lstStyle/>
          <a:p>
            <a:fld id="{E5FBD4B3-4394-46C3-A1C2-40436D007F4F}" type="slidenum">
              <a:rPr lang="fr-CH" smtClean="0"/>
              <a:t>‹#›</a:t>
            </a:fld>
            <a:endParaRPr lang="fr-CH" dirty="0"/>
          </a:p>
        </p:txBody>
      </p:sp>
      <p:pic>
        <p:nvPicPr>
          <p:cNvPr id="5" name="Picture 4">
            <a:extLst>
              <a:ext uri="{FF2B5EF4-FFF2-40B4-BE49-F238E27FC236}">
                <a16:creationId xmlns:a16="http://schemas.microsoft.com/office/drawing/2014/main" id="{86AFFA7D-438B-48A4-A59E-638FD27C1896}"/>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
            <a:ext cx="12192000" cy="6858001"/>
          </a:xfrm>
          <a:prstGeom prst="rect">
            <a:avLst/>
          </a:prstGeom>
        </p:spPr>
      </p:pic>
    </p:spTree>
    <p:extLst>
      <p:ext uri="{BB962C8B-B14F-4D97-AF65-F5344CB8AC3E}">
        <p14:creationId xmlns:p14="http://schemas.microsoft.com/office/powerpoint/2010/main" val="249261514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A7AC43-42F5-4C77-B616-3F19F3BFE5F2}"/>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endParaRPr lang="fr-CH"/>
          </a:p>
        </p:txBody>
      </p:sp>
      <p:sp>
        <p:nvSpPr>
          <p:cNvPr id="3" name="Picture Placeholder 2">
            <a:extLst>
              <a:ext uri="{FF2B5EF4-FFF2-40B4-BE49-F238E27FC236}">
                <a16:creationId xmlns:a16="http://schemas.microsoft.com/office/drawing/2014/main" id="{7D21B6D5-6F2A-4747-93D6-DD0D5B319C26}"/>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CH" dirty="0"/>
          </a:p>
        </p:txBody>
      </p:sp>
      <p:sp>
        <p:nvSpPr>
          <p:cNvPr id="4" name="Text Placeholder 3">
            <a:extLst>
              <a:ext uri="{FF2B5EF4-FFF2-40B4-BE49-F238E27FC236}">
                <a16:creationId xmlns:a16="http://schemas.microsoft.com/office/drawing/2014/main" id="{FEE57B9F-2AA0-4501-8A1B-5CCEF78A10B3}"/>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endParaRPr lang="en-US" dirty="0"/>
          </a:p>
        </p:txBody>
      </p:sp>
    </p:spTree>
    <p:extLst>
      <p:ext uri="{BB962C8B-B14F-4D97-AF65-F5344CB8AC3E}">
        <p14:creationId xmlns:p14="http://schemas.microsoft.com/office/powerpoint/2010/main" val="393200027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Vertical Title and Text">
    <p:spTree>
      <p:nvGrpSpPr>
        <p:cNvPr id="1" name=""/>
        <p:cNvGrpSpPr/>
        <p:nvPr/>
      </p:nvGrpSpPr>
      <p:grpSpPr>
        <a:xfrm>
          <a:off x="0" y="0"/>
          <a:ext cx="0" cy="0"/>
          <a:chOff x="0" y="0"/>
          <a:chExt cx="0" cy="0"/>
        </a:xfrm>
      </p:grpSpPr>
      <p:grpSp>
        <p:nvGrpSpPr>
          <p:cNvPr id="7" name="Group 2">
            <a:extLst>
              <a:ext uri="{FF2B5EF4-FFF2-40B4-BE49-F238E27FC236}">
                <a16:creationId xmlns:a16="http://schemas.microsoft.com/office/drawing/2014/main" id="{5A720A8F-79CF-46ED-93B8-CFD285EDF9A5}"/>
              </a:ext>
            </a:extLst>
          </p:cNvPr>
          <p:cNvGrpSpPr>
            <a:grpSpLocks noChangeAspect="1"/>
          </p:cNvGrpSpPr>
          <p:nvPr userDrawn="1"/>
        </p:nvGrpSpPr>
        <p:grpSpPr>
          <a:xfrm>
            <a:off x="867755" y="1500522"/>
            <a:ext cx="2568002" cy="1472975"/>
            <a:chOff x="0" y="0"/>
            <a:chExt cx="7981950" cy="4578350"/>
          </a:xfrm>
        </p:grpSpPr>
        <p:sp>
          <p:nvSpPr>
            <p:cNvPr id="8" name="Freeform 3">
              <a:extLst>
                <a:ext uri="{FF2B5EF4-FFF2-40B4-BE49-F238E27FC236}">
                  <a16:creationId xmlns:a16="http://schemas.microsoft.com/office/drawing/2014/main" id="{34B20044-7579-4579-91CE-16C226D59EEF}"/>
                </a:ext>
              </a:extLst>
            </p:cNvPr>
            <p:cNvSpPr/>
            <p:nvPr/>
          </p:nvSpPr>
          <p:spPr>
            <a:xfrm>
              <a:off x="765810" y="21590"/>
              <a:ext cx="6451600" cy="4326890"/>
            </a:xfrm>
            <a:custGeom>
              <a:avLst/>
              <a:gdLst/>
              <a:ahLst/>
              <a:cxnLst/>
              <a:rect l="l" t="t" r="r" b="b"/>
              <a:pathLst>
                <a:path w="6451600" h="4326890">
                  <a:moveTo>
                    <a:pt x="6224270" y="0"/>
                  </a:moveTo>
                  <a:lnTo>
                    <a:pt x="226060" y="0"/>
                  </a:lnTo>
                  <a:cubicBezTo>
                    <a:pt x="101600" y="0"/>
                    <a:pt x="0" y="101600"/>
                    <a:pt x="0" y="226060"/>
                  </a:cubicBezTo>
                  <a:lnTo>
                    <a:pt x="0" y="4326890"/>
                  </a:lnTo>
                  <a:lnTo>
                    <a:pt x="6451601" y="4326890"/>
                  </a:lnTo>
                  <a:lnTo>
                    <a:pt x="6451601" y="226060"/>
                  </a:lnTo>
                  <a:cubicBezTo>
                    <a:pt x="6450331" y="101600"/>
                    <a:pt x="6348731" y="0"/>
                    <a:pt x="6224270" y="0"/>
                  </a:cubicBezTo>
                  <a:close/>
                  <a:moveTo>
                    <a:pt x="6252210" y="4043680"/>
                  </a:moveTo>
                  <a:lnTo>
                    <a:pt x="196851" y="4043680"/>
                  </a:lnTo>
                  <a:lnTo>
                    <a:pt x="196851" y="255270"/>
                  </a:lnTo>
                  <a:lnTo>
                    <a:pt x="6252210" y="255270"/>
                  </a:lnTo>
                  <a:lnTo>
                    <a:pt x="6252210" y="4043680"/>
                  </a:lnTo>
                  <a:close/>
                </a:path>
              </a:pathLst>
            </a:custGeom>
            <a:solidFill>
              <a:srgbClr val="000000"/>
            </a:solidFill>
          </p:spPr>
        </p:sp>
        <p:sp>
          <p:nvSpPr>
            <p:cNvPr id="9" name="Freeform 4">
              <a:extLst>
                <a:ext uri="{FF2B5EF4-FFF2-40B4-BE49-F238E27FC236}">
                  <a16:creationId xmlns:a16="http://schemas.microsoft.com/office/drawing/2014/main" id="{ED3C80AD-E629-453F-886F-0D971B3F3C8F}"/>
                </a:ext>
              </a:extLst>
            </p:cNvPr>
            <p:cNvSpPr/>
            <p:nvPr/>
          </p:nvSpPr>
          <p:spPr>
            <a:xfrm>
              <a:off x="0" y="0"/>
              <a:ext cx="7981950" cy="4542790"/>
            </a:xfrm>
            <a:custGeom>
              <a:avLst/>
              <a:gdLst/>
              <a:ahLst/>
              <a:cxnLst/>
              <a:rect l="l" t="t" r="r" b="b"/>
              <a:pathLst>
                <a:path w="7981950" h="4542790">
                  <a:moveTo>
                    <a:pt x="7239000" y="4348480"/>
                  </a:moveTo>
                  <a:lnTo>
                    <a:pt x="7239000" y="243840"/>
                  </a:lnTo>
                  <a:cubicBezTo>
                    <a:pt x="7239000" y="109220"/>
                    <a:pt x="7129780" y="0"/>
                    <a:pt x="6995160" y="0"/>
                  </a:cubicBezTo>
                  <a:lnTo>
                    <a:pt x="985520" y="0"/>
                  </a:lnTo>
                  <a:cubicBezTo>
                    <a:pt x="852170" y="0"/>
                    <a:pt x="742950" y="109220"/>
                    <a:pt x="742950" y="243840"/>
                  </a:cubicBezTo>
                  <a:lnTo>
                    <a:pt x="742950" y="4349750"/>
                  </a:lnTo>
                  <a:lnTo>
                    <a:pt x="0" y="4349750"/>
                  </a:lnTo>
                  <a:lnTo>
                    <a:pt x="0" y="4447540"/>
                  </a:lnTo>
                  <a:cubicBezTo>
                    <a:pt x="0" y="4500880"/>
                    <a:pt x="43180" y="4542790"/>
                    <a:pt x="95250" y="4542790"/>
                  </a:cubicBezTo>
                  <a:lnTo>
                    <a:pt x="7886700" y="4542790"/>
                  </a:lnTo>
                  <a:cubicBezTo>
                    <a:pt x="7940040" y="4542790"/>
                    <a:pt x="7981950" y="4499610"/>
                    <a:pt x="7981950" y="4447540"/>
                  </a:cubicBezTo>
                  <a:lnTo>
                    <a:pt x="7981950" y="4349750"/>
                  </a:lnTo>
                  <a:lnTo>
                    <a:pt x="7239000" y="4349750"/>
                  </a:lnTo>
                  <a:close/>
                  <a:moveTo>
                    <a:pt x="4519930" y="4348480"/>
                  </a:moveTo>
                  <a:lnTo>
                    <a:pt x="4519930" y="4349750"/>
                  </a:lnTo>
                  <a:cubicBezTo>
                    <a:pt x="4519930" y="4403090"/>
                    <a:pt x="4476750" y="4445000"/>
                    <a:pt x="4424680" y="4445000"/>
                  </a:cubicBezTo>
                  <a:lnTo>
                    <a:pt x="3557270" y="4445000"/>
                  </a:lnTo>
                  <a:cubicBezTo>
                    <a:pt x="3503930" y="4445000"/>
                    <a:pt x="3462020" y="4401820"/>
                    <a:pt x="3462020" y="4349750"/>
                  </a:cubicBezTo>
                  <a:lnTo>
                    <a:pt x="3462020" y="4348480"/>
                  </a:lnTo>
                  <a:lnTo>
                    <a:pt x="765810" y="4348480"/>
                  </a:lnTo>
                  <a:lnTo>
                    <a:pt x="765810" y="247650"/>
                  </a:lnTo>
                  <a:cubicBezTo>
                    <a:pt x="765810" y="123190"/>
                    <a:pt x="867410" y="21590"/>
                    <a:pt x="991870" y="21590"/>
                  </a:cubicBezTo>
                  <a:lnTo>
                    <a:pt x="6990080" y="21590"/>
                  </a:lnTo>
                  <a:cubicBezTo>
                    <a:pt x="7114539" y="21590"/>
                    <a:pt x="7216139" y="123190"/>
                    <a:pt x="7216139" y="247650"/>
                  </a:cubicBezTo>
                  <a:lnTo>
                    <a:pt x="7216139" y="4348480"/>
                  </a:lnTo>
                  <a:lnTo>
                    <a:pt x="4519930" y="4348480"/>
                  </a:lnTo>
                  <a:close/>
                </a:path>
              </a:pathLst>
            </a:custGeom>
            <a:solidFill>
              <a:srgbClr val="E9E9E9"/>
            </a:solidFill>
          </p:spPr>
        </p:sp>
        <p:sp>
          <p:nvSpPr>
            <p:cNvPr id="10" name="Freeform 5">
              <a:extLst>
                <a:ext uri="{FF2B5EF4-FFF2-40B4-BE49-F238E27FC236}">
                  <a16:creationId xmlns:a16="http://schemas.microsoft.com/office/drawing/2014/main" id="{C9823E46-4A43-4AD1-B6E8-18B38B0BA781}"/>
                </a:ext>
              </a:extLst>
            </p:cNvPr>
            <p:cNvSpPr/>
            <p:nvPr/>
          </p:nvSpPr>
          <p:spPr>
            <a:xfrm>
              <a:off x="3460750" y="4349750"/>
              <a:ext cx="1059180" cy="96520"/>
            </a:xfrm>
            <a:custGeom>
              <a:avLst/>
              <a:gdLst/>
              <a:ahLst/>
              <a:cxnLst/>
              <a:rect l="l" t="t" r="r" b="b"/>
              <a:pathLst>
                <a:path w="1059180" h="96520">
                  <a:moveTo>
                    <a:pt x="96520" y="96520"/>
                  </a:moveTo>
                  <a:lnTo>
                    <a:pt x="963930" y="96520"/>
                  </a:lnTo>
                  <a:cubicBezTo>
                    <a:pt x="1017270" y="96520"/>
                    <a:pt x="1059180" y="53340"/>
                    <a:pt x="1059180" y="1270"/>
                  </a:cubicBezTo>
                  <a:lnTo>
                    <a:pt x="1059180" y="0"/>
                  </a:lnTo>
                  <a:lnTo>
                    <a:pt x="0" y="0"/>
                  </a:lnTo>
                  <a:lnTo>
                    <a:pt x="0" y="1270"/>
                  </a:lnTo>
                  <a:cubicBezTo>
                    <a:pt x="0" y="53340"/>
                    <a:pt x="43180" y="96520"/>
                    <a:pt x="96520" y="96520"/>
                  </a:cubicBezTo>
                  <a:close/>
                </a:path>
              </a:pathLst>
            </a:custGeom>
            <a:solidFill>
              <a:srgbClr val="CCCCCC"/>
            </a:solidFill>
          </p:spPr>
        </p:sp>
        <p:sp>
          <p:nvSpPr>
            <p:cNvPr id="11" name="Freeform 6">
              <a:extLst>
                <a:ext uri="{FF2B5EF4-FFF2-40B4-BE49-F238E27FC236}">
                  <a16:creationId xmlns:a16="http://schemas.microsoft.com/office/drawing/2014/main" id="{9F7E1CB3-6A9E-4288-9CE5-0CB35E53EE71}"/>
                </a:ext>
              </a:extLst>
            </p:cNvPr>
            <p:cNvSpPr/>
            <p:nvPr/>
          </p:nvSpPr>
          <p:spPr>
            <a:xfrm>
              <a:off x="163830" y="4542790"/>
              <a:ext cx="7654290" cy="35560"/>
            </a:xfrm>
            <a:custGeom>
              <a:avLst/>
              <a:gdLst/>
              <a:ahLst/>
              <a:cxnLst/>
              <a:rect l="l" t="t" r="r" b="b"/>
              <a:pathLst>
                <a:path w="7654290" h="35560">
                  <a:moveTo>
                    <a:pt x="0" y="0"/>
                  </a:moveTo>
                  <a:cubicBezTo>
                    <a:pt x="0" y="20320"/>
                    <a:pt x="16510" y="35560"/>
                    <a:pt x="35560" y="35560"/>
                  </a:cubicBezTo>
                  <a:lnTo>
                    <a:pt x="7618730" y="35560"/>
                  </a:lnTo>
                  <a:cubicBezTo>
                    <a:pt x="7639050" y="35560"/>
                    <a:pt x="7654290" y="19050"/>
                    <a:pt x="7654290" y="0"/>
                  </a:cubicBezTo>
                  <a:lnTo>
                    <a:pt x="0" y="0"/>
                  </a:lnTo>
                  <a:close/>
                </a:path>
              </a:pathLst>
            </a:custGeom>
            <a:solidFill>
              <a:srgbClr val="CCCCCC"/>
            </a:solidFill>
          </p:spPr>
        </p:sp>
        <p:sp>
          <p:nvSpPr>
            <p:cNvPr id="12" name="Freeform 7">
              <a:extLst>
                <a:ext uri="{FF2B5EF4-FFF2-40B4-BE49-F238E27FC236}">
                  <a16:creationId xmlns:a16="http://schemas.microsoft.com/office/drawing/2014/main" id="{BEEBC085-5407-4CB7-B054-CDEAE96FCB3F}"/>
                </a:ext>
              </a:extLst>
            </p:cNvPr>
            <p:cNvSpPr/>
            <p:nvPr/>
          </p:nvSpPr>
          <p:spPr>
            <a:xfrm>
              <a:off x="962660" y="276860"/>
              <a:ext cx="6055360" cy="3789680"/>
            </a:xfrm>
            <a:custGeom>
              <a:avLst/>
              <a:gdLst/>
              <a:ahLst/>
              <a:cxnLst/>
              <a:rect l="l" t="t" r="r" b="b"/>
              <a:pathLst>
                <a:path w="6055360" h="3789680">
                  <a:moveTo>
                    <a:pt x="0" y="0"/>
                  </a:moveTo>
                  <a:lnTo>
                    <a:pt x="6055360" y="0"/>
                  </a:lnTo>
                  <a:lnTo>
                    <a:pt x="6055360" y="3789680"/>
                  </a:lnTo>
                  <a:lnTo>
                    <a:pt x="0" y="3789680"/>
                  </a:lnTo>
                  <a:close/>
                </a:path>
              </a:pathLst>
            </a:custGeom>
            <a:blipFill>
              <a:blip r:embed="rId2" cstate="screen">
                <a:extLst>
                  <a:ext uri="{28A0092B-C50C-407E-A947-70E740481C1C}">
                    <a14:useLocalDpi xmlns:a14="http://schemas.microsoft.com/office/drawing/2010/main"/>
                  </a:ext>
                </a:extLst>
              </a:blip>
              <a:stretch>
                <a:fillRect l="12060" t="233" r="12076" b="5365"/>
              </a:stretch>
            </a:blipFill>
          </p:spPr>
        </p:sp>
      </p:grpSp>
      <p:grpSp>
        <p:nvGrpSpPr>
          <p:cNvPr id="13" name="Group 8">
            <a:extLst>
              <a:ext uri="{FF2B5EF4-FFF2-40B4-BE49-F238E27FC236}">
                <a16:creationId xmlns:a16="http://schemas.microsoft.com/office/drawing/2014/main" id="{13686F69-1C6E-4C24-AA84-E06DF6F678DD}"/>
              </a:ext>
            </a:extLst>
          </p:cNvPr>
          <p:cNvGrpSpPr>
            <a:grpSpLocks noChangeAspect="1"/>
          </p:cNvGrpSpPr>
          <p:nvPr userDrawn="1"/>
        </p:nvGrpSpPr>
        <p:grpSpPr>
          <a:xfrm>
            <a:off x="6926377" y="1203009"/>
            <a:ext cx="1417214" cy="1950124"/>
            <a:chOff x="0" y="0"/>
            <a:chExt cx="1854200" cy="2551430"/>
          </a:xfrm>
        </p:grpSpPr>
        <p:sp>
          <p:nvSpPr>
            <p:cNvPr id="14" name="Freeform 9">
              <a:extLst>
                <a:ext uri="{FF2B5EF4-FFF2-40B4-BE49-F238E27FC236}">
                  <a16:creationId xmlns:a16="http://schemas.microsoft.com/office/drawing/2014/main" id="{19F5180A-12EA-4EB4-A739-A46534DADA07}"/>
                </a:ext>
              </a:extLst>
            </p:cNvPr>
            <p:cNvSpPr/>
            <p:nvPr/>
          </p:nvSpPr>
          <p:spPr>
            <a:xfrm>
              <a:off x="5080" y="41910"/>
              <a:ext cx="1849120" cy="2509520"/>
            </a:xfrm>
            <a:custGeom>
              <a:avLst/>
              <a:gdLst/>
              <a:ahLst/>
              <a:cxnLst/>
              <a:rect l="l" t="t" r="r" b="b"/>
              <a:pathLst>
                <a:path w="1849120" h="2509520">
                  <a:moveTo>
                    <a:pt x="1849120" y="2509520"/>
                  </a:moveTo>
                  <a:lnTo>
                    <a:pt x="27940" y="2509520"/>
                  </a:lnTo>
                  <a:lnTo>
                    <a:pt x="0" y="2467610"/>
                  </a:lnTo>
                  <a:lnTo>
                    <a:pt x="27940" y="0"/>
                  </a:lnTo>
                  <a:lnTo>
                    <a:pt x="1849120" y="0"/>
                  </a:lnTo>
                  <a:close/>
                </a:path>
              </a:pathLst>
            </a:custGeom>
            <a:solidFill>
              <a:srgbClr val="BFBFBF"/>
            </a:solidFill>
          </p:spPr>
        </p:sp>
        <p:sp>
          <p:nvSpPr>
            <p:cNvPr id="15" name="Freeform 10">
              <a:extLst>
                <a:ext uri="{FF2B5EF4-FFF2-40B4-BE49-F238E27FC236}">
                  <a16:creationId xmlns:a16="http://schemas.microsoft.com/office/drawing/2014/main" id="{1610C3A9-4DAE-4280-A11F-33180321FD72}"/>
                </a:ext>
              </a:extLst>
            </p:cNvPr>
            <p:cNvSpPr/>
            <p:nvPr/>
          </p:nvSpPr>
          <p:spPr>
            <a:xfrm>
              <a:off x="19050" y="15240"/>
              <a:ext cx="1823720" cy="2526030"/>
            </a:xfrm>
            <a:custGeom>
              <a:avLst/>
              <a:gdLst/>
              <a:ahLst/>
              <a:cxnLst/>
              <a:rect l="l" t="t" r="r" b="b"/>
              <a:pathLst>
                <a:path w="1823720" h="2526030">
                  <a:moveTo>
                    <a:pt x="1823720" y="2526030"/>
                  </a:moveTo>
                  <a:lnTo>
                    <a:pt x="27940" y="2526030"/>
                  </a:lnTo>
                  <a:lnTo>
                    <a:pt x="0" y="2482850"/>
                  </a:lnTo>
                  <a:lnTo>
                    <a:pt x="27940" y="16510"/>
                  </a:lnTo>
                  <a:lnTo>
                    <a:pt x="1800860" y="0"/>
                  </a:lnTo>
                  <a:lnTo>
                    <a:pt x="1823720" y="41910"/>
                  </a:lnTo>
                  <a:close/>
                </a:path>
              </a:pathLst>
            </a:custGeom>
            <a:solidFill>
              <a:srgbClr val="FAFAFA"/>
            </a:solidFill>
          </p:spPr>
        </p:sp>
        <p:sp>
          <p:nvSpPr>
            <p:cNvPr id="16" name="Freeform 11">
              <a:extLst>
                <a:ext uri="{FF2B5EF4-FFF2-40B4-BE49-F238E27FC236}">
                  <a16:creationId xmlns:a16="http://schemas.microsoft.com/office/drawing/2014/main" id="{2C8C7F6F-F313-43B4-98E9-BFB0905C6B25}"/>
                </a:ext>
              </a:extLst>
            </p:cNvPr>
            <p:cNvSpPr/>
            <p:nvPr/>
          </p:nvSpPr>
          <p:spPr>
            <a:xfrm>
              <a:off x="0" y="0"/>
              <a:ext cx="1821180" cy="2509520"/>
            </a:xfrm>
            <a:custGeom>
              <a:avLst/>
              <a:gdLst/>
              <a:ahLst/>
              <a:cxnLst/>
              <a:rect l="l" t="t" r="r" b="b"/>
              <a:pathLst>
                <a:path w="1821180" h="2509520">
                  <a:moveTo>
                    <a:pt x="0" y="0"/>
                  </a:moveTo>
                  <a:lnTo>
                    <a:pt x="1821180" y="0"/>
                  </a:lnTo>
                  <a:lnTo>
                    <a:pt x="1821180" y="2509520"/>
                  </a:lnTo>
                  <a:lnTo>
                    <a:pt x="0" y="2509520"/>
                  </a:lnTo>
                  <a:close/>
                </a:path>
              </a:pathLst>
            </a:custGeom>
            <a:solidFill>
              <a:srgbClr val="E9E9E9"/>
            </a:solidFill>
          </p:spPr>
        </p:sp>
        <p:sp>
          <p:nvSpPr>
            <p:cNvPr id="17" name="Freeform 12">
              <a:extLst>
                <a:ext uri="{FF2B5EF4-FFF2-40B4-BE49-F238E27FC236}">
                  <a16:creationId xmlns:a16="http://schemas.microsoft.com/office/drawing/2014/main" id="{47F2C5ED-E76D-40C9-9819-BED8C3972B7D}"/>
                </a:ext>
              </a:extLst>
            </p:cNvPr>
            <p:cNvSpPr/>
            <p:nvPr/>
          </p:nvSpPr>
          <p:spPr>
            <a:xfrm>
              <a:off x="123190" y="52070"/>
              <a:ext cx="1642110" cy="2405380"/>
            </a:xfrm>
            <a:custGeom>
              <a:avLst/>
              <a:gdLst/>
              <a:ahLst/>
              <a:cxnLst/>
              <a:rect l="l" t="t" r="r" b="b"/>
              <a:pathLst>
                <a:path w="1642110" h="2405380">
                  <a:moveTo>
                    <a:pt x="0" y="0"/>
                  </a:moveTo>
                  <a:lnTo>
                    <a:pt x="1642110" y="0"/>
                  </a:lnTo>
                  <a:lnTo>
                    <a:pt x="1642110" y="2405380"/>
                  </a:lnTo>
                  <a:lnTo>
                    <a:pt x="0" y="2405380"/>
                  </a:lnTo>
                  <a:close/>
                </a:path>
              </a:pathLst>
            </a:custGeom>
            <a:blipFill>
              <a:blip r:embed="rId3" cstate="screen">
                <a:extLst>
                  <a:ext uri="{28A0092B-C50C-407E-A947-70E740481C1C}">
                    <a14:useLocalDpi xmlns:a14="http://schemas.microsoft.com/office/drawing/2010/main"/>
                  </a:ext>
                </a:extLst>
              </a:blip>
              <a:stretch>
                <a:fillRect t="2040" b="3683"/>
              </a:stretch>
            </a:blipFill>
          </p:spPr>
        </p:sp>
        <p:sp>
          <p:nvSpPr>
            <p:cNvPr id="18" name="Freeform 13">
              <a:extLst>
                <a:ext uri="{FF2B5EF4-FFF2-40B4-BE49-F238E27FC236}">
                  <a16:creationId xmlns:a16="http://schemas.microsoft.com/office/drawing/2014/main" id="{7C0CACEF-7312-44EC-90B8-C286637CB1D1}"/>
                </a:ext>
              </a:extLst>
            </p:cNvPr>
            <p:cNvSpPr/>
            <p:nvPr/>
          </p:nvSpPr>
          <p:spPr>
            <a:xfrm>
              <a:off x="38100" y="0"/>
              <a:ext cx="24130" cy="2509520"/>
            </a:xfrm>
            <a:custGeom>
              <a:avLst/>
              <a:gdLst/>
              <a:ahLst/>
              <a:cxnLst/>
              <a:rect l="l" t="t" r="r" b="b"/>
              <a:pathLst>
                <a:path w="24130" h="2509520">
                  <a:moveTo>
                    <a:pt x="0" y="0"/>
                  </a:moveTo>
                  <a:lnTo>
                    <a:pt x="24130" y="0"/>
                  </a:lnTo>
                  <a:lnTo>
                    <a:pt x="24130" y="2509520"/>
                  </a:lnTo>
                  <a:lnTo>
                    <a:pt x="0" y="2509520"/>
                  </a:lnTo>
                  <a:close/>
                </a:path>
              </a:pathLst>
            </a:custGeom>
            <a:solidFill>
              <a:srgbClr val="DBDBDB"/>
            </a:solidFill>
          </p:spPr>
        </p:sp>
      </p:grpSp>
      <p:grpSp>
        <p:nvGrpSpPr>
          <p:cNvPr id="19" name="Group 14">
            <a:extLst>
              <a:ext uri="{FF2B5EF4-FFF2-40B4-BE49-F238E27FC236}">
                <a16:creationId xmlns:a16="http://schemas.microsoft.com/office/drawing/2014/main" id="{C1109CDA-21E5-4134-9CBF-F1E1BC403786}"/>
              </a:ext>
            </a:extLst>
          </p:cNvPr>
          <p:cNvGrpSpPr>
            <a:grpSpLocks noChangeAspect="1"/>
          </p:cNvGrpSpPr>
          <p:nvPr userDrawn="1"/>
        </p:nvGrpSpPr>
        <p:grpSpPr>
          <a:xfrm>
            <a:off x="1585295" y="4263256"/>
            <a:ext cx="1417214" cy="1950124"/>
            <a:chOff x="0" y="0"/>
            <a:chExt cx="1854200" cy="2551430"/>
          </a:xfrm>
        </p:grpSpPr>
        <p:sp>
          <p:nvSpPr>
            <p:cNvPr id="20" name="Freeform 15">
              <a:extLst>
                <a:ext uri="{FF2B5EF4-FFF2-40B4-BE49-F238E27FC236}">
                  <a16:creationId xmlns:a16="http://schemas.microsoft.com/office/drawing/2014/main" id="{991168A2-6D7C-40AD-939E-DB3A77B50C1D}"/>
                </a:ext>
              </a:extLst>
            </p:cNvPr>
            <p:cNvSpPr/>
            <p:nvPr/>
          </p:nvSpPr>
          <p:spPr>
            <a:xfrm>
              <a:off x="5080" y="41910"/>
              <a:ext cx="1849120" cy="2509520"/>
            </a:xfrm>
            <a:custGeom>
              <a:avLst/>
              <a:gdLst/>
              <a:ahLst/>
              <a:cxnLst/>
              <a:rect l="l" t="t" r="r" b="b"/>
              <a:pathLst>
                <a:path w="1849120" h="2509520">
                  <a:moveTo>
                    <a:pt x="1849120" y="2509520"/>
                  </a:moveTo>
                  <a:lnTo>
                    <a:pt x="27940" y="2509520"/>
                  </a:lnTo>
                  <a:lnTo>
                    <a:pt x="0" y="2467610"/>
                  </a:lnTo>
                  <a:lnTo>
                    <a:pt x="27940" y="0"/>
                  </a:lnTo>
                  <a:lnTo>
                    <a:pt x="1849120" y="0"/>
                  </a:lnTo>
                  <a:close/>
                </a:path>
              </a:pathLst>
            </a:custGeom>
            <a:solidFill>
              <a:srgbClr val="BFBFBF"/>
            </a:solidFill>
          </p:spPr>
        </p:sp>
        <p:sp>
          <p:nvSpPr>
            <p:cNvPr id="21" name="Freeform 16">
              <a:extLst>
                <a:ext uri="{FF2B5EF4-FFF2-40B4-BE49-F238E27FC236}">
                  <a16:creationId xmlns:a16="http://schemas.microsoft.com/office/drawing/2014/main" id="{4F85D41A-DDAD-40F3-92F3-3044C86B9E92}"/>
                </a:ext>
              </a:extLst>
            </p:cNvPr>
            <p:cNvSpPr/>
            <p:nvPr/>
          </p:nvSpPr>
          <p:spPr>
            <a:xfrm>
              <a:off x="19050" y="15240"/>
              <a:ext cx="1823720" cy="2526030"/>
            </a:xfrm>
            <a:custGeom>
              <a:avLst/>
              <a:gdLst/>
              <a:ahLst/>
              <a:cxnLst/>
              <a:rect l="l" t="t" r="r" b="b"/>
              <a:pathLst>
                <a:path w="1823720" h="2526030">
                  <a:moveTo>
                    <a:pt x="1823720" y="2526030"/>
                  </a:moveTo>
                  <a:lnTo>
                    <a:pt x="27940" y="2526030"/>
                  </a:lnTo>
                  <a:lnTo>
                    <a:pt x="0" y="2482850"/>
                  </a:lnTo>
                  <a:lnTo>
                    <a:pt x="27940" y="16510"/>
                  </a:lnTo>
                  <a:lnTo>
                    <a:pt x="1800860" y="0"/>
                  </a:lnTo>
                  <a:lnTo>
                    <a:pt x="1823720" y="41910"/>
                  </a:lnTo>
                  <a:close/>
                </a:path>
              </a:pathLst>
            </a:custGeom>
            <a:solidFill>
              <a:srgbClr val="FAFAFA"/>
            </a:solidFill>
          </p:spPr>
        </p:sp>
        <p:sp>
          <p:nvSpPr>
            <p:cNvPr id="22" name="Freeform 17">
              <a:extLst>
                <a:ext uri="{FF2B5EF4-FFF2-40B4-BE49-F238E27FC236}">
                  <a16:creationId xmlns:a16="http://schemas.microsoft.com/office/drawing/2014/main" id="{5BA2BCC0-34DF-4332-A243-A53D06EBF2B2}"/>
                </a:ext>
              </a:extLst>
            </p:cNvPr>
            <p:cNvSpPr/>
            <p:nvPr/>
          </p:nvSpPr>
          <p:spPr>
            <a:xfrm>
              <a:off x="0" y="0"/>
              <a:ext cx="1821180" cy="2509520"/>
            </a:xfrm>
            <a:custGeom>
              <a:avLst/>
              <a:gdLst/>
              <a:ahLst/>
              <a:cxnLst/>
              <a:rect l="l" t="t" r="r" b="b"/>
              <a:pathLst>
                <a:path w="1821180" h="2509520">
                  <a:moveTo>
                    <a:pt x="0" y="0"/>
                  </a:moveTo>
                  <a:lnTo>
                    <a:pt x="1821180" y="0"/>
                  </a:lnTo>
                  <a:lnTo>
                    <a:pt x="1821180" y="2509520"/>
                  </a:lnTo>
                  <a:lnTo>
                    <a:pt x="0" y="2509520"/>
                  </a:lnTo>
                  <a:close/>
                </a:path>
              </a:pathLst>
            </a:custGeom>
            <a:solidFill>
              <a:srgbClr val="E9E9E9"/>
            </a:solidFill>
          </p:spPr>
        </p:sp>
        <p:sp>
          <p:nvSpPr>
            <p:cNvPr id="23" name="Freeform 18">
              <a:extLst>
                <a:ext uri="{FF2B5EF4-FFF2-40B4-BE49-F238E27FC236}">
                  <a16:creationId xmlns:a16="http://schemas.microsoft.com/office/drawing/2014/main" id="{7EB6D5D2-47F0-4291-8C71-70EFBDEFC063}"/>
                </a:ext>
              </a:extLst>
            </p:cNvPr>
            <p:cNvSpPr/>
            <p:nvPr/>
          </p:nvSpPr>
          <p:spPr>
            <a:xfrm>
              <a:off x="123190" y="52070"/>
              <a:ext cx="1642110" cy="2405380"/>
            </a:xfrm>
            <a:custGeom>
              <a:avLst/>
              <a:gdLst/>
              <a:ahLst/>
              <a:cxnLst/>
              <a:rect l="l" t="t" r="r" b="b"/>
              <a:pathLst>
                <a:path w="1642110" h="2405380">
                  <a:moveTo>
                    <a:pt x="0" y="0"/>
                  </a:moveTo>
                  <a:lnTo>
                    <a:pt x="1642110" y="0"/>
                  </a:lnTo>
                  <a:lnTo>
                    <a:pt x="1642110" y="2405380"/>
                  </a:lnTo>
                  <a:lnTo>
                    <a:pt x="0" y="2405380"/>
                  </a:lnTo>
                  <a:close/>
                </a:path>
              </a:pathLst>
            </a:custGeom>
            <a:blipFill>
              <a:blip r:embed="rId4" cstate="screen">
                <a:extLst>
                  <a:ext uri="{28A0092B-C50C-407E-A947-70E740481C1C}">
                    <a14:useLocalDpi xmlns:a14="http://schemas.microsoft.com/office/drawing/2010/main"/>
                  </a:ext>
                </a:extLst>
              </a:blip>
              <a:stretch>
                <a:fillRect l="10" t="2040" b="3683"/>
              </a:stretch>
            </a:blipFill>
          </p:spPr>
        </p:sp>
        <p:sp>
          <p:nvSpPr>
            <p:cNvPr id="24" name="Freeform 19">
              <a:extLst>
                <a:ext uri="{FF2B5EF4-FFF2-40B4-BE49-F238E27FC236}">
                  <a16:creationId xmlns:a16="http://schemas.microsoft.com/office/drawing/2014/main" id="{E1C08603-615C-4B74-A195-856F6128044C}"/>
                </a:ext>
              </a:extLst>
            </p:cNvPr>
            <p:cNvSpPr/>
            <p:nvPr/>
          </p:nvSpPr>
          <p:spPr>
            <a:xfrm>
              <a:off x="38100" y="0"/>
              <a:ext cx="24130" cy="2509520"/>
            </a:xfrm>
            <a:custGeom>
              <a:avLst/>
              <a:gdLst/>
              <a:ahLst/>
              <a:cxnLst/>
              <a:rect l="l" t="t" r="r" b="b"/>
              <a:pathLst>
                <a:path w="24130" h="2509520">
                  <a:moveTo>
                    <a:pt x="0" y="0"/>
                  </a:moveTo>
                  <a:lnTo>
                    <a:pt x="24130" y="0"/>
                  </a:lnTo>
                  <a:lnTo>
                    <a:pt x="24130" y="2509520"/>
                  </a:lnTo>
                  <a:lnTo>
                    <a:pt x="0" y="2509520"/>
                  </a:lnTo>
                  <a:close/>
                </a:path>
              </a:pathLst>
            </a:custGeom>
            <a:solidFill>
              <a:srgbClr val="DBDBDB"/>
            </a:solidFill>
          </p:spPr>
        </p:sp>
      </p:grpSp>
      <p:grpSp>
        <p:nvGrpSpPr>
          <p:cNvPr id="25" name="Group 20">
            <a:extLst>
              <a:ext uri="{FF2B5EF4-FFF2-40B4-BE49-F238E27FC236}">
                <a16:creationId xmlns:a16="http://schemas.microsoft.com/office/drawing/2014/main" id="{5D296683-AFCC-4436-9491-0ED2FEA19763}"/>
              </a:ext>
            </a:extLst>
          </p:cNvPr>
          <p:cNvGrpSpPr/>
          <p:nvPr userDrawn="1"/>
        </p:nvGrpSpPr>
        <p:grpSpPr>
          <a:xfrm>
            <a:off x="6381345" y="4219007"/>
            <a:ext cx="5043318" cy="2181794"/>
            <a:chOff x="0" y="0"/>
            <a:chExt cx="7276769" cy="2619073"/>
          </a:xfrm>
        </p:grpSpPr>
        <p:sp>
          <p:nvSpPr>
            <p:cNvPr id="26" name="Freeform 21">
              <a:extLst>
                <a:ext uri="{FF2B5EF4-FFF2-40B4-BE49-F238E27FC236}">
                  <a16:creationId xmlns:a16="http://schemas.microsoft.com/office/drawing/2014/main" id="{474AA63F-E990-4BE8-8621-D8DE6ED13CAC}"/>
                </a:ext>
              </a:extLst>
            </p:cNvPr>
            <p:cNvSpPr/>
            <p:nvPr/>
          </p:nvSpPr>
          <p:spPr>
            <a:xfrm>
              <a:off x="0" y="0"/>
              <a:ext cx="7276769" cy="2619073"/>
            </a:xfrm>
            <a:custGeom>
              <a:avLst/>
              <a:gdLst/>
              <a:ahLst/>
              <a:cxnLst/>
              <a:rect l="l" t="t" r="r" b="b"/>
              <a:pathLst>
                <a:path w="7276769" h="2619073">
                  <a:moveTo>
                    <a:pt x="7152308" y="59690"/>
                  </a:moveTo>
                  <a:cubicBezTo>
                    <a:pt x="7187868" y="59690"/>
                    <a:pt x="7217079" y="88900"/>
                    <a:pt x="7217079" y="124460"/>
                  </a:cubicBezTo>
                  <a:lnTo>
                    <a:pt x="7217079" y="2494613"/>
                  </a:lnTo>
                  <a:cubicBezTo>
                    <a:pt x="7217079" y="2530173"/>
                    <a:pt x="7187868" y="2559383"/>
                    <a:pt x="7152308" y="2559383"/>
                  </a:cubicBezTo>
                  <a:lnTo>
                    <a:pt x="124460" y="2559383"/>
                  </a:lnTo>
                  <a:cubicBezTo>
                    <a:pt x="88900" y="2559383"/>
                    <a:pt x="59690" y="2530173"/>
                    <a:pt x="59690" y="2494613"/>
                  </a:cubicBezTo>
                  <a:lnTo>
                    <a:pt x="59690" y="124460"/>
                  </a:lnTo>
                  <a:cubicBezTo>
                    <a:pt x="59690" y="88900"/>
                    <a:pt x="88900" y="59690"/>
                    <a:pt x="124460" y="59690"/>
                  </a:cubicBezTo>
                  <a:lnTo>
                    <a:pt x="7152308" y="59690"/>
                  </a:lnTo>
                  <a:moveTo>
                    <a:pt x="7152308" y="0"/>
                  </a:moveTo>
                  <a:lnTo>
                    <a:pt x="124460" y="0"/>
                  </a:lnTo>
                  <a:cubicBezTo>
                    <a:pt x="55880" y="0"/>
                    <a:pt x="0" y="55880"/>
                    <a:pt x="0" y="124460"/>
                  </a:cubicBezTo>
                  <a:lnTo>
                    <a:pt x="0" y="2494613"/>
                  </a:lnTo>
                  <a:cubicBezTo>
                    <a:pt x="0" y="2563193"/>
                    <a:pt x="55880" y="2619073"/>
                    <a:pt x="124460" y="2619073"/>
                  </a:cubicBezTo>
                  <a:lnTo>
                    <a:pt x="7152309" y="2619073"/>
                  </a:lnTo>
                  <a:cubicBezTo>
                    <a:pt x="7220889" y="2619073"/>
                    <a:pt x="7276769" y="2563193"/>
                    <a:pt x="7276769" y="2494613"/>
                  </a:cubicBezTo>
                  <a:lnTo>
                    <a:pt x="7276769" y="124460"/>
                  </a:lnTo>
                  <a:cubicBezTo>
                    <a:pt x="7276769" y="55880"/>
                    <a:pt x="7220889" y="0"/>
                    <a:pt x="7152308" y="0"/>
                  </a:cubicBezTo>
                  <a:close/>
                </a:path>
              </a:pathLst>
            </a:custGeom>
            <a:solidFill>
              <a:srgbClr val="719D8D"/>
            </a:solidFill>
          </p:spPr>
        </p:sp>
      </p:grpSp>
      <p:grpSp>
        <p:nvGrpSpPr>
          <p:cNvPr id="27" name="Group 22">
            <a:extLst>
              <a:ext uri="{FF2B5EF4-FFF2-40B4-BE49-F238E27FC236}">
                <a16:creationId xmlns:a16="http://schemas.microsoft.com/office/drawing/2014/main" id="{6B31F5D7-47E5-4F6F-B41D-FCDCE1F2C1ED}"/>
              </a:ext>
            </a:extLst>
          </p:cNvPr>
          <p:cNvGrpSpPr>
            <a:grpSpLocks noChangeAspect="1"/>
          </p:cNvGrpSpPr>
          <p:nvPr userDrawn="1"/>
        </p:nvGrpSpPr>
        <p:grpSpPr>
          <a:xfrm>
            <a:off x="7022629" y="4263256"/>
            <a:ext cx="1417214" cy="1950124"/>
            <a:chOff x="0" y="0"/>
            <a:chExt cx="1854200" cy="2551430"/>
          </a:xfrm>
        </p:grpSpPr>
        <p:sp>
          <p:nvSpPr>
            <p:cNvPr id="28" name="Freeform 23">
              <a:extLst>
                <a:ext uri="{FF2B5EF4-FFF2-40B4-BE49-F238E27FC236}">
                  <a16:creationId xmlns:a16="http://schemas.microsoft.com/office/drawing/2014/main" id="{A11E8171-4B7C-4452-9037-2BE7FA9D134D}"/>
                </a:ext>
              </a:extLst>
            </p:cNvPr>
            <p:cNvSpPr/>
            <p:nvPr/>
          </p:nvSpPr>
          <p:spPr>
            <a:xfrm>
              <a:off x="5080" y="41910"/>
              <a:ext cx="1849120" cy="2509520"/>
            </a:xfrm>
            <a:custGeom>
              <a:avLst/>
              <a:gdLst/>
              <a:ahLst/>
              <a:cxnLst/>
              <a:rect l="l" t="t" r="r" b="b"/>
              <a:pathLst>
                <a:path w="1849120" h="2509520">
                  <a:moveTo>
                    <a:pt x="1849120" y="2509520"/>
                  </a:moveTo>
                  <a:lnTo>
                    <a:pt x="27940" y="2509520"/>
                  </a:lnTo>
                  <a:lnTo>
                    <a:pt x="0" y="2467610"/>
                  </a:lnTo>
                  <a:lnTo>
                    <a:pt x="27940" y="0"/>
                  </a:lnTo>
                  <a:lnTo>
                    <a:pt x="1849120" y="0"/>
                  </a:lnTo>
                  <a:close/>
                </a:path>
              </a:pathLst>
            </a:custGeom>
            <a:solidFill>
              <a:srgbClr val="BFBFBF"/>
            </a:solidFill>
          </p:spPr>
        </p:sp>
        <p:sp>
          <p:nvSpPr>
            <p:cNvPr id="29" name="Freeform 24">
              <a:extLst>
                <a:ext uri="{FF2B5EF4-FFF2-40B4-BE49-F238E27FC236}">
                  <a16:creationId xmlns:a16="http://schemas.microsoft.com/office/drawing/2014/main" id="{B94E03E2-1A9A-4CF3-A22E-60B99B98D83A}"/>
                </a:ext>
              </a:extLst>
            </p:cNvPr>
            <p:cNvSpPr/>
            <p:nvPr/>
          </p:nvSpPr>
          <p:spPr>
            <a:xfrm>
              <a:off x="19050" y="15240"/>
              <a:ext cx="1823720" cy="2526030"/>
            </a:xfrm>
            <a:custGeom>
              <a:avLst/>
              <a:gdLst/>
              <a:ahLst/>
              <a:cxnLst/>
              <a:rect l="l" t="t" r="r" b="b"/>
              <a:pathLst>
                <a:path w="1823720" h="2526030">
                  <a:moveTo>
                    <a:pt x="1823720" y="2526030"/>
                  </a:moveTo>
                  <a:lnTo>
                    <a:pt x="27940" y="2526030"/>
                  </a:lnTo>
                  <a:lnTo>
                    <a:pt x="0" y="2482850"/>
                  </a:lnTo>
                  <a:lnTo>
                    <a:pt x="27940" y="16510"/>
                  </a:lnTo>
                  <a:lnTo>
                    <a:pt x="1800860" y="0"/>
                  </a:lnTo>
                  <a:lnTo>
                    <a:pt x="1823720" y="41910"/>
                  </a:lnTo>
                  <a:close/>
                </a:path>
              </a:pathLst>
            </a:custGeom>
            <a:solidFill>
              <a:srgbClr val="FAFAFA"/>
            </a:solidFill>
          </p:spPr>
        </p:sp>
        <p:sp>
          <p:nvSpPr>
            <p:cNvPr id="30" name="Freeform 25">
              <a:extLst>
                <a:ext uri="{FF2B5EF4-FFF2-40B4-BE49-F238E27FC236}">
                  <a16:creationId xmlns:a16="http://schemas.microsoft.com/office/drawing/2014/main" id="{07C094DA-8D6D-443D-8844-D48E0080EAD5}"/>
                </a:ext>
              </a:extLst>
            </p:cNvPr>
            <p:cNvSpPr/>
            <p:nvPr/>
          </p:nvSpPr>
          <p:spPr>
            <a:xfrm>
              <a:off x="0" y="0"/>
              <a:ext cx="1821180" cy="2509520"/>
            </a:xfrm>
            <a:custGeom>
              <a:avLst/>
              <a:gdLst/>
              <a:ahLst/>
              <a:cxnLst/>
              <a:rect l="l" t="t" r="r" b="b"/>
              <a:pathLst>
                <a:path w="1821180" h="2509520">
                  <a:moveTo>
                    <a:pt x="0" y="0"/>
                  </a:moveTo>
                  <a:lnTo>
                    <a:pt x="1821180" y="0"/>
                  </a:lnTo>
                  <a:lnTo>
                    <a:pt x="1821180" y="2509520"/>
                  </a:lnTo>
                  <a:lnTo>
                    <a:pt x="0" y="2509520"/>
                  </a:lnTo>
                  <a:close/>
                </a:path>
              </a:pathLst>
            </a:custGeom>
            <a:solidFill>
              <a:srgbClr val="E9E9E9"/>
            </a:solidFill>
          </p:spPr>
        </p:sp>
        <p:sp>
          <p:nvSpPr>
            <p:cNvPr id="31" name="Freeform 26">
              <a:extLst>
                <a:ext uri="{FF2B5EF4-FFF2-40B4-BE49-F238E27FC236}">
                  <a16:creationId xmlns:a16="http://schemas.microsoft.com/office/drawing/2014/main" id="{97C63914-8B4B-4705-8DAB-A3609D4AE258}"/>
                </a:ext>
              </a:extLst>
            </p:cNvPr>
            <p:cNvSpPr/>
            <p:nvPr/>
          </p:nvSpPr>
          <p:spPr>
            <a:xfrm>
              <a:off x="123190" y="52070"/>
              <a:ext cx="1642110" cy="2405380"/>
            </a:xfrm>
            <a:custGeom>
              <a:avLst/>
              <a:gdLst/>
              <a:ahLst/>
              <a:cxnLst/>
              <a:rect l="l" t="t" r="r" b="b"/>
              <a:pathLst>
                <a:path w="1642110" h="2405380">
                  <a:moveTo>
                    <a:pt x="0" y="0"/>
                  </a:moveTo>
                  <a:lnTo>
                    <a:pt x="1642110" y="0"/>
                  </a:lnTo>
                  <a:lnTo>
                    <a:pt x="1642110" y="2405380"/>
                  </a:lnTo>
                  <a:lnTo>
                    <a:pt x="0" y="2405380"/>
                  </a:lnTo>
                  <a:close/>
                </a:path>
              </a:pathLst>
            </a:custGeom>
            <a:blipFill>
              <a:blip r:embed="rId5" cstate="screen">
                <a:extLst>
                  <a:ext uri="{28A0092B-C50C-407E-A947-70E740481C1C}">
                    <a14:useLocalDpi xmlns:a14="http://schemas.microsoft.com/office/drawing/2010/main"/>
                  </a:ext>
                </a:extLst>
              </a:blip>
              <a:stretch>
                <a:fillRect t="2040" b="3683"/>
              </a:stretch>
            </a:blipFill>
          </p:spPr>
        </p:sp>
        <p:sp>
          <p:nvSpPr>
            <p:cNvPr id="32" name="Freeform 27">
              <a:extLst>
                <a:ext uri="{FF2B5EF4-FFF2-40B4-BE49-F238E27FC236}">
                  <a16:creationId xmlns:a16="http://schemas.microsoft.com/office/drawing/2014/main" id="{6FE48875-EFA4-4FC7-94BD-1B5F3E16A977}"/>
                </a:ext>
              </a:extLst>
            </p:cNvPr>
            <p:cNvSpPr/>
            <p:nvPr/>
          </p:nvSpPr>
          <p:spPr>
            <a:xfrm>
              <a:off x="38100" y="0"/>
              <a:ext cx="24130" cy="2509520"/>
            </a:xfrm>
            <a:custGeom>
              <a:avLst/>
              <a:gdLst/>
              <a:ahLst/>
              <a:cxnLst/>
              <a:rect l="l" t="t" r="r" b="b"/>
              <a:pathLst>
                <a:path w="24130" h="2509520">
                  <a:moveTo>
                    <a:pt x="0" y="0"/>
                  </a:moveTo>
                  <a:lnTo>
                    <a:pt x="24130" y="0"/>
                  </a:lnTo>
                  <a:lnTo>
                    <a:pt x="24130" y="2509520"/>
                  </a:lnTo>
                  <a:lnTo>
                    <a:pt x="0" y="2509520"/>
                  </a:lnTo>
                  <a:close/>
                </a:path>
              </a:pathLst>
            </a:custGeom>
            <a:solidFill>
              <a:srgbClr val="DBDBDB"/>
            </a:solidFill>
          </p:spPr>
        </p:sp>
      </p:grpSp>
      <p:grpSp>
        <p:nvGrpSpPr>
          <p:cNvPr id="33" name="Group 28">
            <a:extLst>
              <a:ext uri="{FF2B5EF4-FFF2-40B4-BE49-F238E27FC236}">
                <a16:creationId xmlns:a16="http://schemas.microsoft.com/office/drawing/2014/main" id="{370F6397-82E5-4E64-84A9-90EADEA34F18}"/>
              </a:ext>
            </a:extLst>
          </p:cNvPr>
          <p:cNvGrpSpPr/>
          <p:nvPr userDrawn="1"/>
        </p:nvGrpSpPr>
        <p:grpSpPr>
          <a:xfrm>
            <a:off x="786058" y="1158759"/>
            <a:ext cx="5043318" cy="2181794"/>
            <a:chOff x="0" y="0"/>
            <a:chExt cx="7276769" cy="2619073"/>
          </a:xfrm>
        </p:grpSpPr>
        <p:sp>
          <p:nvSpPr>
            <p:cNvPr id="34" name="Freeform 29">
              <a:extLst>
                <a:ext uri="{FF2B5EF4-FFF2-40B4-BE49-F238E27FC236}">
                  <a16:creationId xmlns:a16="http://schemas.microsoft.com/office/drawing/2014/main" id="{13AD8A2C-BFD6-4992-92F8-9B582C9507D8}"/>
                </a:ext>
              </a:extLst>
            </p:cNvPr>
            <p:cNvSpPr/>
            <p:nvPr/>
          </p:nvSpPr>
          <p:spPr>
            <a:xfrm>
              <a:off x="0" y="0"/>
              <a:ext cx="7276769" cy="2619073"/>
            </a:xfrm>
            <a:custGeom>
              <a:avLst/>
              <a:gdLst/>
              <a:ahLst/>
              <a:cxnLst/>
              <a:rect l="l" t="t" r="r" b="b"/>
              <a:pathLst>
                <a:path w="7276769" h="2619073">
                  <a:moveTo>
                    <a:pt x="7152308" y="59690"/>
                  </a:moveTo>
                  <a:cubicBezTo>
                    <a:pt x="7187868" y="59690"/>
                    <a:pt x="7217079" y="88900"/>
                    <a:pt x="7217079" y="124460"/>
                  </a:cubicBezTo>
                  <a:lnTo>
                    <a:pt x="7217079" y="2494613"/>
                  </a:lnTo>
                  <a:cubicBezTo>
                    <a:pt x="7217079" y="2530173"/>
                    <a:pt x="7187868" y="2559383"/>
                    <a:pt x="7152308" y="2559383"/>
                  </a:cubicBezTo>
                  <a:lnTo>
                    <a:pt x="124460" y="2559383"/>
                  </a:lnTo>
                  <a:cubicBezTo>
                    <a:pt x="88900" y="2559383"/>
                    <a:pt x="59690" y="2530173"/>
                    <a:pt x="59690" y="2494613"/>
                  </a:cubicBezTo>
                  <a:lnTo>
                    <a:pt x="59690" y="124460"/>
                  </a:lnTo>
                  <a:cubicBezTo>
                    <a:pt x="59690" y="88900"/>
                    <a:pt x="88900" y="59690"/>
                    <a:pt x="124460" y="59690"/>
                  </a:cubicBezTo>
                  <a:lnTo>
                    <a:pt x="7152308" y="59690"/>
                  </a:lnTo>
                  <a:moveTo>
                    <a:pt x="7152308" y="0"/>
                  </a:moveTo>
                  <a:lnTo>
                    <a:pt x="124460" y="0"/>
                  </a:lnTo>
                  <a:cubicBezTo>
                    <a:pt x="55880" y="0"/>
                    <a:pt x="0" y="55880"/>
                    <a:pt x="0" y="124460"/>
                  </a:cubicBezTo>
                  <a:lnTo>
                    <a:pt x="0" y="2494613"/>
                  </a:lnTo>
                  <a:cubicBezTo>
                    <a:pt x="0" y="2563193"/>
                    <a:pt x="55880" y="2619073"/>
                    <a:pt x="124460" y="2619073"/>
                  </a:cubicBezTo>
                  <a:lnTo>
                    <a:pt x="7152309" y="2619073"/>
                  </a:lnTo>
                  <a:cubicBezTo>
                    <a:pt x="7220889" y="2619073"/>
                    <a:pt x="7276769" y="2563193"/>
                    <a:pt x="7276769" y="2494613"/>
                  </a:cubicBezTo>
                  <a:lnTo>
                    <a:pt x="7276769" y="124460"/>
                  </a:lnTo>
                  <a:cubicBezTo>
                    <a:pt x="7276769" y="55880"/>
                    <a:pt x="7220889" y="0"/>
                    <a:pt x="7152308" y="0"/>
                  </a:cubicBezTo>
                  <a:close/>
                </a:path>
              </a:pathLst>
            </a:custGeom>
            <a:solidFill>
              <a:srgbClr val="719D8D"/>
            </a:solidFill>
          </p:spPr>
        </p:sp>
      </p:grpSp>
      <p:sp>
        <p:nvSpPr>
          <p:cNvPr id="35" name="TextBox 30">
            <a:extLst>
              <a:ext uri="{FF2B5EF4-FFF2-40B4-BE49-F238E27FC236}">
                <a16:creationId xmlns:a16="http://schemas.microsoft.com/office/drawing/2014/main" id="{CD6DB9E4-CD3F-42E5-A15C-FC0A307E4BEA}"/>
              </a:ext>
            </a:extLst>
          </p:cNvPr>
          <p:cNvSpPr txBox="1"/>
          <p:nvPr userDrawn="1"/>
        </p:nvSpPr>
        <p:spPr>
          <a:xfrm>
            <a:off x="8413085" y="1436059"/>
            <a:ext cx="2795355" cy="1516056"/>
          </a:xfrm>
          <a:prstGeom prst="rect">
            <a:avLst/>
          </a:prstGeom>
        </p:spPr>
        <p:txBody>
          <a:bodyPr wrap="square" lIns="0" tIns="0" rIns="0" bIns="0" rtlCol="0" anchor="t">
            <a:spAutoFit/>
          </a:bodyPr>
          <a:lstStyle/>
          <a:p>
            <a:pPr algn="ctr">
              <a:lnSpc>
                <a:spcPts val="4079"/>
              </a:lnSpc>
              <a:defRPr/>
            </a:pPr>
            <a:r>
              <a:rPr lang="en-GB" sz="2400" spc="120" dirty="0">
                <a:solidFill>
                  <a:srgbClr val="FFFFFF"/>
                </a:solidFill>
                <a:latin typeface="IBM Plex Sans Condensed"/>
                <a:hlinkClick r:id="rId6"/>
              </a:rPr>
              <a:t>2020 Special Appeal on Sexual Violence</a:t>
            </a:r>
            <a:endParaRPr lang="en-US" sz="2400" spc="120" dirty="0">
              <a:solidFill>
                <a:srgbClr val="FFFFFF"/>
              </a:solidFill>
              <a:latin typeface="IBM Plex Sans Condensed"/>
            </a:endParaRPr>
          </a:p>
        </p:txBody>
      </p:sp>
      <p:sp>
        <p:nvSpPr>
          <p:cNvPr id="36" name="TextBox 31">
            <a:extLst>
              <a:ext uri="{FF2B5EF4-FFF2-40B4-BE49-F238E27FC236}">
                <a16:creationId xmlns:a16="http://schemas.microsoft.com/office/drawing/2014/main" id="{F692ECE9-42E3-4396-9B54-76C74D2D8ABF}"/>
              </a:ext>
            </a:extLst>
          </p:cNvPr>
          <p:cNvSpPr txBox="1"/>
          <p:nvPr userDrawn="1"/>
        </p:nvSpPr>
        <p:spPr>
          <a:xfrm>
            <a:off x="3013186" y="4708970"/>
            <a:ext cx="2795355" cy="990271"/>
          </a:xfrm>
          <a:prstGeom prst="rect">
            <a:avLst/>
          </a:prstGeom>
        </p:spPr>
        <p:txBody>
          <a:bodyPr wrap="square" lIns="0" tIns="0" rIns="0" bIns="0" rtlCol="0" anchor="t">
            <a:spAutoFit/>
          </a:bodyPr>
          <a:lstStyle/>
          <a:p>
            <a:pPr algn="ctr">
              <a:lnSpc>
                <a:spcPts val="4079"/>
              </a:lnSpc>
              <a:defRPr/>
            </a:pPr>
            <a:r>
              <a:rPr lang="en-US" sz="2400" spc="120" dirty="0">
                <a:solidFill>
                  <a:srgbClr val="FFFFFF"/>
                </a:solidFill>
                <a:latin typeface="IBM Plex Sans Condensed"/>
                <a:hlinkClick r:id="rId7"/>
              </a:rPr>
              <a:t>ICRC Strategy on Sexual Violence </a:t>
            </a:r>
            <a:endParaRPr lang="en-US" sz="2400" spc="120" dirty="0">
              <a:solidFill>
                <a:srgbClr val="FFFFFF"/>
              </a:solidFill>
              <a:latin typeface="IBM Plex Sans Condensed"/>
            </a:endParaRPr>
          </a:p>
        </p:txBody>
      </p:sp>
      <p:sp>
        <p:nvSpPr>
          <p:cNvPr id="37" name="TextBox 32">
            <a:extLst>
              <a:ext uri="{FF2B5EF4-FFF2-40B4-BE49-F238E27FC236}">
                <a16:creationId xmlns:a16="http://schemas.microsoft.com/office/drawing/2014/main" id="{82071691-DAEF-447C-946B-C81B6955AB58}"/>
              </a:ext>
            </a:extLst>
          </p:cNvPr>
          <p:cNvSpPr txBox="1"/>
          <p:nvPr userDrawn="1"/>
        </p:nvSpPr>
        <p:spPr>
          <a:xfrm>
            <a:off x="8406999" y="4446077"/>
            <a:ext cx="2795355" cy="1516056"/>
          </a:xfrm>
          <a:prstGeom prst="rect">
            <a:avLst/>
          </a:prstGeom>
        </p:spPr>
        <p:txBody>
          <a:bodyPr wrap="square" lIns="0" tIns="0" rIns="0" bIns="0" rtlCol="0" anchor="t">
            <a:spAutoFit/>
          </a:bodyPr>
          <a:lstStyle/>
          <a:p>
            <a:pPr algn="ctr">
              <a:lnSpc>
                <a:spcPts val="4079"/>
              </a:lnSpc>
              <a:defRPr/>
            </a:pPr>
            <a:r>
              <a:rPr lang="en-US" sz="2400" spc="120" dirty="0">
                <a:solidFill>
                  <a:srgbClr val="FFFFFF"/>
                </a:solidFill>
                <a:latin typeface="IBM Plex Sans Condensed"/>
                <a:hlinkClick r:id="rId8"/>
              </a:rPr>
              <a:t>Minimum Accountability Requirements</a:t>
            </a:r>
            <a:endParaRPr lang="en-US" sz="2400" spc="120" dirty="0">
              <a:solidFill>
                <a:srgbClr val="FFFFFF"/>
              </a:solidFill>
              <a:latin typeface="IBM Plex Sans Condensed"/>
            </a:endParaRPr>
          </a:p>
        </p:txBody>
      </p:sp>
      <p:grpSp>
        <p:nvGrpSpPr>
          <p:cNvPr id="38" name="Group 33">
            <a:extLst>
              <a:ext uri="{FF2B5EF4-FFF2-40B4-BE49-F238E27FC236}">
                <a16:creationId xmlns:a16="http://schemas.microsoft.com/office/drawing/2014/main" id="{1E8E5A6B-EB4F-48AB-BBD5-C00654D5CCC3}"/>
              </a:ext>
            </a:extLst>
          </p:cNvPr>
          <p:cNvGrpSpPr/>
          <p:nvPr userDrawn="1"/>
        </p:nvGrpSpPr>
        <p:grpSpPr>
          <a:xfrm>
            <a:off x="824470" y="4149362"/>
            <a:ext cx="5043318" cy="2181794"/>
            <a:chOff x="0" y="0"/>
            <a:chExt cx="7276769" cy="2619073"/>
          </a:xfrm>
        </p:grpSpPr>
        <p:sp>
          <p:nvSpPr>
            <p:cNvPr id="39" name="Freeform 34">
              <a:extLst>
                <a:ext uri="{FF2B5EF4-FFF2-40B4-BE49-F238E27FC236}">
                  <a16:creationId xmlns:a16="http://schemas.microsoft.com/office/drawing/2014/main" id="{1F6911AD-F7B6-4336-B85F-7396D2A84B8D}"/>
                </a:ext>
              </a:extLst>
            </p:cNvPr>
            <p:cNvSpPr/>
            <p:nvPr/>
          </p:nvSpPr>
          <p:spPr>
            <a:xfrm>
              <a:off x="0" y="0"/>
              <a:ext cx="7276769" cy="2619073"/>
            </a:xfrm>
            <a:custGeom>
              <a:avLst/>
              <a:gdLst/>
              <a:ahLst/>
              <a:cxnLst/>
              <a:rect l="l" t="t" r="r" b="b"/>
              <a:pathLst>
                <a:path w="7276769" h="2619073">
                  <a:moveTo>
                    <a:pt x="7152308" y="59690"/>
                  </a:moveTo>
                  <a:cubicBezTo>
                    <a:pt x="7187868" y="59690"/>
                    <a:pt x="7217079" y="88900"/>
                    <a:pt x="7217079" y="124460"/>
                  </a:cubicBezTo>
                  <a:lnTo>
                    <a:pt x="7217079" y="2494613"/>
                  </a:lnTo>
                  <a:cubicBezTo>
                    <a:pt x="7217079" y="2530173"/>
                    <a:pt x="7187868" y="2559383"/>
                    <a:pt x="7152308" y="2559383"/>
                  </a:cubicBezTo>
                  <a:lnTo>
                    <a:pt x="124460" y="2559383"/>
                  </a:lnTo>
                  <a:cubicBezTo>
                    <a:pt x="88900" y="2559383"/>
                    <a:pt x="59690" y="2530173"/>
                    <a:pt x="59690" y="2494613"/>
                  </a:cubicBezTo>
                  <a:lnTo>
                    <a:pt x="59690" y="124460"/>
                  </a:lnTo>
                  <a:cubicBezTo>
                    <a:pt x="59690" y="88900"/>
                    <a:pt x="88900" y="59690"/>
                    <a:pt x="124460" y="59690"/>
                  </a:cubicBezTo>
                  <a:lnTo>
                    <a:pt x="7152308" y="59690"/>
                  </a:lnTo>
                  <a:moveTo>
                    <a:pt x="7152308" y="0"/>
                  </a:moveTo>
                  <a:lnTo>
                    <a:pt x="124460" y="0"/>
                  </a:lnTo>
                  <a:cubicBezTo>
                    <a:pt x="55880" y="0"/>
                    <a:pt x="0" y="55880"/>
                    <a:pt x="0" y="124460"/>
                  </a:cubicBezTo>
                  <a:lnTo>
                    <a:pt x="0" y="2494613"/>
                  </a:lnTo>
                  <a:cubicBezTo>
                    <a:pt x="0" y="2563193"/>
                    <a:pt x="55880" y="2619073"/>
                    <a:pt x="124460" y="2619073"/>
                  </a:cubicBezTo>
                  <a:lnTo>
                    <a:pt x="7152309" y="2619073"/>
                  </a:lnTo>
                  <a:cubicBezTo>
                    <a:pt x="7220889" y="2619073"/>
                    <a:pt x="7276769" y="2563193"/>
                    <a:pt x="7276769" y="2494613"/>
                  </a:cubicBezTo>
                  <a:lnTo>
                    <a:pt x="7276769" y="124460"/>
                  </a:lnTo>
                  <a:cubicBezTo>
                    <a:pt x="7276769" y="55880"/>
                    <a:pt x="7220889" y="0"/>
                    <a:pt x="7152308" y="0"/>
                  </a:cubicBezTo>
                  <a:close/>
                </a:path>
              </a:pathLst>
            </a:custGeom>
            <a:solidFill>
              <a:srgbClr val="719D8D"/>
            </a:solidFill>
          </p:spPr>
        </p:sp>
      </p:grpSp>
      <p:grpSp>
        <p:nvGrpSpPr>
          <p:cNvPr id="40" name="Group 35">
            <a:extLst>
              <a:ext uri="{FF2B5EF4-FFF2-40B4-BE49-F238E27FC236}">
                <a16:creationId xmlns:a16="http://schemas.microsoft.com/office/drawing/2014/main" id="{54179A85-7AF7-4D37-860D-C3DC33D245E2}"/>
              </a:ext>
            </a:extLst>
          </p:cNvPr>
          <p:cNvGrpSpPr/>
          <p:nvPr userDrawn="1"/>
        </p:nvGrpSpPr>
        <p:grpSpPr>
          <a:xfrm>
            <a:off x="6285093" y="1158759"/>
            <a:ext cx="5043318" cy="2181794"/>
            <a:chOff x="0" y="0"/>
            <a:chExt cx="7276769" cy="2619073"/>
          </a:xfrm>
        </p:grpSpPr>
        <p:sp>
          <p:nvSpPr>
            <p:cNvPr id="41" name="Freeform 36">
              <a:extLst>
                <a:ext uri="{FF2B5EF4-FFF2-40B4-BE49-F238E27FC236}">
                  <a16:creationId xmlns:a16="http://schemas.microsoft.com/office/drawing/2014/main" id="{C305D342-BC4C-4125-8306-D26275AD8662}"/>
                </a:ext>
              </a:extLst>
            </p:cNvPr>
            <p:cNvSpPr/>
            <p:nvPr/>
          </p:nvSpPr>
          <p:spPr>
            <a:xfrm>
              <a:off x="0" y="0"/>
              <a:ext cx="7276769" cy="2619073"/>
            </a:xfrm>
            <a:custGeom>
              <a:avLst/>
              <a:gdLst/>
              <a:ahLst/>
              <a:cxnLst/>
              <a:rect l="l" t="t" r="r" b="b"/>
              <a:pathLst>
                <a:path w="7276769" h="2619073">
                  <a:moveTo>
                    <a:pt x="7152308" y="59690"/>
                  </a:moveTo>
                  <a:cubicBezTo>
                    <a:pt x="7187868" y="59690"/>
                    <a:pt x="7217079" y="88900"/>
                    <a:pt x="7217079" y="124460"/>
                  </a:cubicBezTo>
                  <a:lnTo>
                    <a:pt x="7217079" y="2494613"/>
                  </a:lnTo>
                  <a:cubicBezTo>
                    <a:pt x="7217079" y="2530173"/>
                    <a:pt x="7187868" y="2559383"/>
                    <a:pt x="7152308" y="2559383"/>
                  </a:cubicBezTo>
                  <a:lnTo>
                    <a:pt x="124460" y="2559383"/>
                  </a:lnTo>
                  <a:cubicBezTo>
                    <a:pt x="88900" y="2559383"/>
                    <a:pt x="59690" y="2530173"/>
                    <a:pt x="59690" y="2494613"/>
                  </a:cubicBezTo>
                  <a:lnTo>
                    <a:pt x="59690" y="124460"/>
                  </a:lnTo>
                  <a:cubicBezTo>
                    <a:pt x="59690" y="88900"/>
                    <a:pt x="88900" y="59690"/>
                    <a:pt x="124460" y="59690"/>
                  </a:cubicBezTo>
                  <a:lnTo>
                    <a:pt x="7152308" y="59690"/>
                  </a:lnTo>
                  <a:moveTo>
                    <a:pt x="7152308" y="0"/>
                  </a:moveTo>
                  <a:lnTo>
                    <a:pt x="124460" y="0"/>
                  </a:lnTo>
                  <a:cubicBezTo>
                    <a:pt x="55880" y="0"/>
                    <a:pt x="0" y="55880"/>
                    <a:pt x="0" y="124460"/>
                  </a:cubicBezTo>
                  <a:lnTo>
                    <a:pt x="0" y="2494613"/>
                  </a:lnTo>
                  <a:cubicBezTo>
                    <a:pt x="0" y="2563193"/>
                    <a:pt x="55880" y="2619073"/>
                    <a:pt x="124460" y="2619073"/>
                  </a:cubicBezTo>
                  <a:lnTo>
                    <a:pt x="7152309" y="2619073"/>
                  </a:lnTo>
                  <a:cubicBezTo>
                    <a:pt x="7220889" y="2619073"/>
                    <a:pt x="7276769" y="2563193"/>
                    <a:pt x="7276769" y="2494613"/>
                  </a:cubicBezTo>
                  <a:lnTo>
                    <a:pt x="7276769" y="124460"/>
                  </a:lnTo>
                  <a:cubicBezTo>
                    <a:pt x="7276769" y="55880"/>
                    <a:pt x="7220889" y="0"/>
                    <a:pt x="7152308" y="0"/>
                  </a:cubicBezTo>
                  <a:close/>
                </a:path>
              </a:pathLst>
            </a:custGeom>
            <a:solidFill>
              <a:srgbClr val="719D8D"/>
            </a:solidFill>
          </p:spPr>
        </p:sp>
      </p:grpSp>
      <p:sp>
        <p:nvSpPr>
          <p:cNvPr id="42" name="TextBox 37">
            <a:extLst>
              <a:ext uri="{FF2B5EF4-FFF2-40B4-BE49-F238E27FC236}">
                <a16:creationId xmlns:a16="http://schemas.microsoft.com/office/drawing/2014/main" id="{DAB10FEF-EDEF-4127-92AF-6120F6869A22}"/>
              </a:ext>
            </a:extLst>
          </p:cNvPr>
          <p:cNvSpPr txBox="1"/>
          <p:nvPr userDrawn="1"/>
        </p:nvSpPr>
        <p:spPr>
          <a:xfrm>
            <a:off x="-422650" y="16447"/>
            <a:ext cx="12277847" cy="928844"/>
          </a:xfrm>
          <a:prstGeom prst="rect">
            <a:avLst/>
          </a:prstGeom>
        </p:spPr>
        <p:txBody>
          <a:bodyPr wrap="square" lIns="0" tIns="0" rIns="0" bIns="0" rtlCol="0" anchor="t">
            <a:spAutoFit/>
          </a:bodyPr>
          <a:lstStyle/>
          <a:p>
            <a:pPr algn="ctr">
              <a:lnSpc>
                <a:spcPts val="8159"/>
              </a:lnSpc>
              <a:defRPr/>
            </a:pPr>
            <a:r>
              <a:rPr lang="en-US" sz="4800" spc="240" dirty="0">
                <a:solidFill>
                  <a:srgbClr val="FFFFFF"/>
                </a:solidFill>
                <a:latin typeface="IBM Plex Sans Bold"/>
              </a:rPr>
              <a:t>Institutional Resources</a:t>
            </a:r>
          </a:p>
        </p:txBody>
      </p:sp>
      <p:sp>
        <p:nvSpPr>
          <p:cNvPr id="43" name="TextBox 38">
            <a:extLst>
              <a:ext uri="{FF2B5EF4-FFF2-40B4-BE49-F238E27FC236}">
                <a16:creationId xmlns:a16="http://schemas.microsoft.com/office/drawing/2014/main" id="{0BE6A92F-D2CD-4F21-B9B6-63C0D96FC95A}"/>
              </a:ext>
            </a:extLst>
          </p:cNvPr>
          <p:cNvSpPr txBox="1"/>
          <p:nvPr userDrawn="1"/>
        </p:nvSpPr>
        <p:spPr>
          <a:xfrm>
            <a:off x="3013185" y="1188772"/>
            <a:ext cx="2795355" cy="2041841"/>
          </a:xfrm>
          <a:prstGeom prst="rect">
            <a:avLst/>
          </a:prstGeom>
        </p:spPr>
        <p:txBody>
          <a:bodyPr wrap="square" lIns="0" tIns="0" rIns="0" bIns="0" rtlCol="0" anchor="t">
            <a:spAutoFit/>
          </a:bodyPr>
          <a:lstStyle/>
          <a:p>
            <a:pPr algn="ctr">
              <a:lnSpc>
                <a:spcPts val="4079"/>
              </a:lnSpc>
              <a:defRPr/>
            </a:pPr>
            <a:r>
              <a:rPr lang="en-US" sz="2400" spc="120" dirty="0">
                <a:solidFill>
                  <a:srgbClr val="FFFFFF"/>
                </a:solidFill>
                <a:latin typeface="IBM Plex Sans Condensed"/>
                <a:hlinkClick r:id="rId9"/>
              </a:rPr>
              <a:t>ICRC Addressing Sexual Violence Community of Practice</a:t>
            </a:r>
            <a:endParaRPr lang="en-US" sz="2400" spc="120" dirty="0">
              <a:solidFill>
                <a:srgbClr val="FFFFFF"/>
              </a:solidFill>
              <a:latin typeface="IBM Plex Sans Condensed"/>
            </a:endParaRPr>
          </a:p>
        </p:txBody>
      </p:sp>
    </p:spTree>
    <p:extLst>
      <p:ext uri="{BB962C8B-B14F-4D97-AF65-F5344CB8AC3E}">
        <p14:creationId xmlns:p14="http://schemas.microsoft.com/office/powerpoint/2010/main" val="15274540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2846D2-3AA7-41A4-9693-A9E84B9B4E02}"/>
              </a:ext>
            </a:extLst>
          </p:cNvPr>
          <p:cNvSpPr>
            <a:spLocks noGrp="1"/>
          </p:cNvSpPr>
          <p:nvPr>
            <p:ph type="title"/>
          </p:nvPr>
        </p:nvSpPr>
        <p:spPr/>
        <p:txBody>
          <a:bodyPr/>
          <a:lstStyle/>
          <a:p>
            <a:r>
              <a:rPr lang="en-US"/>
              <a:t>Click to edit Master title style</a:t>
            </a:r>
            <a:endParaRPr lang="fr-CH"/>
          </a:p>
        </p:txBody>
      </p:sp>
      <p:sp>
        <p:nvSpPr>
          <p:cNvPr id="3" name="Content Placeholder 2">
            <a:extLst>
              <a:ext uri="{FF2B5EF4-FFF2-40B4-BE49-F238E27FC236}">
                <a16:creationId xmlns:a16="http://schemas.microsoft.com/office/drawing/2014/main" id="{C773D124-DD35-4311-A826-F759ECCC195D}"/>
              </a:ext>
            </a:extLst>
          </p:cNvPr>
          <p:cNvSpPr>
            <a:spLocks noGrp="1"/>
          </p:cNvSpPr>
          <p:nvPr>
            <p:ph idx="1"/>
          </p:nvPr>
        </p:nvSpPr>
        <p:spPr>
          <a:xfrm>
            <a:off x="838200" y="1825625"/>
            <a:ext cx="10515600" cy="435133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CH" dirty="0"/>
          </a:p>
        </p:txBody>
      </p:sp>
    </p:spTree>
    <p:extLst>
      <p:ext uri="{BB962C8B-B14F-4D97-AF65-F5344CB8AC3E}">
        <p14:creationId xmlns:p14="http://schemas.microsoft.com/office/powerpoint/2010/main" val="344607012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F15AD8-83B7-45C2-A989-8D5AB34EC06E}"/>
              </a:ext>
            </a:extLst>
          </p:cNvPr>
          <p:cNvSpPr>
            <a:spLocks noGrp="1"/>
          </p:cNvSpPr>
          <p:nvPr>
            <p:ph type="title"/>
          </p:nvPr>
        </p:nvSpPr>
        <p:spPr/>
        <p:txBody>
          <a:bodyPr/>
          <a:lstStyle/>
          <a:p>
            <a:r>
              <a:rPr lang="en-US"/>
              <a:t>Click to edit Master title style</a:t>
            </a:r>
            <a:endParaRPr lang="fr-CH"/>
          </a:p>
        </p:txBody>
      </p:sp>
      <p:sp>
        <p:nvSpPr>
          <p:cNvPr id="3" name="Content Placeholder 2">
            <a:extLst>
              <a:ext uri="{FF2B5EF4-FFF2-40B4-BE49-F238E27FC236}">
                <a16:creationId xmlns:a16="http://schemas.microsoft.com/office/drawing/2014/main" id="{D19938B5-A9CB-42FE-82FC-21C92D2E6BF4}"/>
              </a:ext>
            </a:extLst>
          </p:cNvPr>
          <p:cNvSpPr>
            <a:spLocks noGrp="1"/>
          </p:cNvSpPr>
          <p:nvPr>
            <p:ph sz="half" idx="1"/>
          </p:nvPr>
        </p:nvSpPr>
        <p:spPr>
          <a:xfrm>
            <a:off x="838200" y="1825625"/>
            <a:ext cx="5181600" cy="435133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CH" dirty="0"/>
          </a:p>
        </p:txBody>
      </p:sp>
      <p:sp>
        <p:nvSpPr>
          <p:cNvPr id="4" name="Content Placeholder 3">
            <a:extLst>
              <a:ext uri="{FF2B5EF4-FFF2-40B4-BE49-F238E27FC236}">
                <a16:creationId xmlns:a16="http://schemas.microsoft.com/office/drawing/2014/main" id="{4D436E75-6015-43AC-A2FA-6D4E203EEE96}"/>
              </a:ext>
            </a:extLst>
          </p:cNvPr>
          <p:cNvSpPr>
            <a:spLocks noGrp="1"/>
          </p:cNvSpPr>
          <p:nvPr>
            <p:ph sz="half" idx="2"/>
          </p:nvPr>
        </p:nvSpPr>
        <p:spPr>
          <a:xfrm>
            <a:off x="6172200" y="1825625"/>
            <a:ext cx="5181600" cy="435133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CH" dirty="0"/>
          </a:p>
        </p:txBody>
      </p:sp>
    </p:spTree>
    <p:extLst>
      <p:ext uri="{BB962C8B-B14F-4D97-AF65-F5344CB8AC3E}">
        <p14:creationId xmlns:p14="http://schemas.microsoft.com/office/powerpoint/2010/main" val="125582187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0"/>
            <a:ext cx="2743200" cy="365125"/>
          </a:xfrm>
          <a:prstGeom prst="rect">
            <a:avLst/>
          </a:prstGeom>
        </p:spPr>
        <p:txBody>
          <a:bodyPr/>
          <a:lstStyle/>
          <a:p>
            <a:fld id="{9CB69BE1-7EE2-4DCA-9D7C-8E2841949C68}" type="datetimeFigureOut">
              <a:rPr lang="fr-CH" smtClean="0"/>
              <a:t>05.06.2023</a:t>
            </a:fld>
            <a:endParaRPr lang="fr-CH" dirty="0"/>
          </a:p>
        </p:txBody>
      </p:sp>
      <p:sp>
        <p:nvSpPr>
          <p:cNvPr id="3" name="Footer Placeholder 2"/>
          <p:cNvSpPr>
            <a:spLocks noGrp="1"/>
          </p:cNvSpPr>
          <p:nvPr>
            <p:ph type="ftr" sz="quarter" idx="11"/>
          </p:nvPr>
        </p:nvSpPr>
        <p:spPr>
          <a:xfrm>
            <a:off x="4038600" y="6356350"/>
            <a:ext cx="4114800" cy="365125"/>
          </a:xfrm>
          <a:prstGeom prst="rect">
            <a:avLst/>
          </a:prstGeom>
        </p:spPr>
        <p:txBody>
          <a:bodyPr/>
          <a:lstStyle/>
          <a:p>
            <a:endParaRPr lang="fr-CH" dirty="0"/>
          </a:p>
        </p:txBody>
      </p:sp>
      <p:sp>
        <p:nvSpPr>
          <p:cNvPr id="4" name="Slide Number Placeholder 3"/>
          <p:cNvSpPr>
            <a:spLocks noGrp="1"/>
          </p:cNvSpPr>
          <p:nvPr>
            <p:ph type="sldNum" sz="quarter" idx="12"/>
          </p:nvPr>
        </p:nvSpPr>
        <p:spPr>
          <a:xfrm>
            <a:off x="8610600" y="6356350"/>
            <a:ext cx="2743200" cy="365125"/>
          </a:xfrm>
          <a:prstGeom prst="rect">
            <a:avLst/>
          </a:prstGeom>
        </p:spPr>
        <p:txBody>
          <a:bodyPr/>
          <a:lstStyle/>
          <a:p>
            <a:fld id="{E5FBD4B3-4394-46C3-A1C2-40436D007F4F}" type="slidenum">
              <a:rPr lang="fr-CH" smtClean="0"/>
              <a:t>‹#›</a:t>
            </a:fld>
            <a:endParaRPr lang="fr-CH" dirty="0"/>
          </a:p>
        </p:txBody>
      </p:sp>
      <p:pic>
        <p:nvPicPr>
          <p:cNvPr id="5" name="Picture 4">
            <a:extLst>
              <a:ext uri="{FF2B5EF4-FFF2-40B4-BE49-F238E27FC236}">
                <a16:creationId xmlns:a16="http://schemas.microsoft.com/office/drawing/2014/main" id="{45A0BE8D-C659-4B9D-B317-6F902E3B13CD}"/>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
            <a:ext cx="12192000" cy="6858001"/>
          </a:xfrm>
          <a:prstGeom prst="rect">
            <a:avLst/>
          </a:prstGeom>
        </p:spPr>
      </p:pic>
    </p:spTree>
    <p:extLst>
      <p:ext uri="{BB962C8B-B14F-4D97-AF65-F5344CB8AC3E}">
        <p14:creationId xmlns:p14="http://schemas.microsoft.com/office/powerpoint/2010/main" val="250380447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le slide 1">
    <p:bg>
      <p:bgPr>
        <a:solidFill>
          <a:srgbClr val="4D7568"/>
        </a:solidFill>
        <a:effectLst/>
      </p:bgPr>
    </p:bg>
    <p:spTree>
      <p:nvGrpSpPr>
        <p:cNvPr id="1" name=""/>
        <p:cNvGrpSpPr/>
        <p:nvPr/>
      </p:nvGrpSpPr>
      <p:grpSpPr>
        <a:xfrm>
          <a:off x="0" y="0"/>
          <a:ext cx="0" cy="0"/>
          <a:chOff x="0" y="0"/>
          <a:chExt cx="0" cy="0"/>
        </a:xfrm>
      </p:grpSpPr>
      <p:pic>
        <p:nvPicPr>
          <p:cNvPr id="17" name="Picture 2">
            <a:extLst>
              <a:ext uri="{FF2B5EF4-FFF2-40B4-BE49-F238E27FC236}">
                <a16:creationId xmlns:a16="http://schemas.microsoft.com/office/drawing/2014/main" id="{79298EF3-24DA-4BEC-856B-E92B593C6E0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a:off x="-1" y="5462045"/>
            <a:ext cx="12192001" cy="1395955"/>
          </a:xfrm>
          <a:prstGeom prst="rect">
            <a:avLst/>
          </a:prstGeom>
        </p:spPr>
      </p:pic>
      <p:sp>
        <p:nvSpPr>
          <p:cNvPr id="2" name="Title 1">
            <a:extLst>
              <a:ext uri="{FF2B5EF4-FFF2-40B4-BE49-F238E27FC236}">
                <a16:creationId xmlns:a16="http://schemas.microsoft.com/office/drawing/2014/main" id="{AACC0B56-E707-4AD9-A2C9-B9E9A3F72A70}"/>
              </a:ext>
            </a:extLst>
          </p:cNvPr>
          <p:cNvSpPr>
            <a:spLocks noGrp="1"/>
          </p:cNvSpPr>
          <p:nvPr>
            <p:ph type="title"/>
          </p:nvPr>
        </p:nvSpPr>
        <p:spPr>
          <a:xfrm>
            <a:off x="1443937" y="1892415"/>
            <a:ext cx="7916373" cy="1325563"/>
          </a:xfrm>
        </p:spPr>
        <p:txBody>
          <a:bodyPr/>
          <a:lstStyle>
            <a:lvl1pPr>
              <a:defRPr b="1">
                <a:solidFill>
                  <a:schemeClr val="bg1"/>
                </a:solidFill>
              </a:defRPr>
            </a:lvl1pPr>
          </a:lstStyle>
          <a:p>
            <a:r>
              <a:rPr lang="en-US" dirty="0"/>
              <a:t>Click to edit Master title style</a:t>
            </a:r>
            <a:endParaRPr lang="fr-CH" dirty="0"/>
          </a:p>
        </p:txBody>
      </p:sp>
    </p:spTree>
    <p:extLst>
      <p:ext uri="{BB962C8B-B14F-4D97-AF65-F5344CB8AC3E}">
        <p14:creationId xmlns:p14="http://schemas.microsoft.com/office/powerpoint/2010/main" val="33980333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422D55-B8F2-4CAE-9E5D-2B0F7CF50CA8}"/>
              </a:ext>
            </a:extLst>
          </p:cNvPr>
          <p:cNvSpPr>
            <a:spLocks noGrp="1"/>
          </p:cNvSpPr>
          <p:nvPr>
            <p:ph type="title"/>
          </p:nvPr>
        </p:nvSpPr>
        <p:spPr/>
        <p:txBody>
          <a:bodyPr/>
          <a:lstStyle/>
          <a:p>
            <a:r>
              <a:rPr lang="en-US" dirty="0"/>
              <a:t>Click to edit Master title style</a:t>
            </a:r>
            <a:endParaRPr lang="fr-CH" dirty="0"/>
          </a:p>
        </p:txBody>
      </p:sp>
      <p:sp>
        <p:nvSpPr>
          <p:cNvPr id="8" name="Picture Placeholder 7">
            <a:extLst>
              <a:ext uri="{FF2B5EF4-FFF2-40B4-BE49-F238E27FC236}">
                <a16:creationId xmlns:a16="http://schemas.microsoft.com/office/drawing/2014/main" id="{6A93EF53-B627-41B5-8B87-E01DCE14C2E1}"/>
              </a:ext>
            </a:extLst>
          </p:cNvPr>
          <p:cNvSpPr>
            <a:spLocks noGrp="1"/>
          </p:cNvSpPr>
          <p:nvPr>
            <p:ph type="pic" sz="quarter" idx="10"/>
          </p:nvPr>
        </p:nvSpPr>
        <p:spPr>
          <a:xfrm>
            <a:off x="636588" y="1911350"/>
            <a:ext cx="11229975" cy="4581525"/>
          </a:xfrm>
          <a:prstGeom prst="rect">
            <a:avLst/>
          </a:prstGeom>
        </p:spPr>
        <p:txBody>
          <a:bodyPr/>
          <a:lstStyle/>
          <a:p>
            <a:endParaRPr lang="fr-CH" dirty="0"/>
          </a:p>
        </p:txBody>
      </p:sp>
    </p:spTree>
    <p:extLst>
      <p:ext uri="{BB962C8B-B14F-4D97-AF65-F5344CB8AC3E}">
        <p14:creationId xmlns:p14="http://schemas.microsoft.com/office/powerpoint/2010/main" val="278639372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144D6A-4880-4380-8E1D-6891AC1DB386}"/>
              </a:ext>
            </a:extLst>
          </p:cNvPr>
          <p:cNvSpPr>
            <a:spLocks noGrp="1"/>
          </p:cNvSpPr>
          <p:nvPr>
            <p:ph type="title"/>
          </p:nvPr>
        </p:nvSpPr>
        <p:spPr/>
        <p:txBody>
          <a:bodyPr/>
          <a:lstStyle/>
          <a:p>
            <a:r>
              <a:rPr lang="en-US"/>
              <a:t>Click to edit Master title style</a:t>
            </a:r>
            <a:endParaRPr lang="fr-CH"/>
          </a:p>
        </p:txBody>
      </p:sp>
      <p:sp>
        <p:nvSpPr>
          <p:cNvPr id="4" name="SmartArt Placeholder 3">
            <a:extLst>
              <a:ext uri="{FF2B5EF4-FFF2-40B4-BE49-F238E27FC236}">
                <a16:creationId xmlns:a16="http://schemas.microsoft.com/office/drawing/2014/main" id="{D3898DCA-4882-4D41-912D-48BB3EBCC7CA}"/>
              </a:ext>
            </a:extLst>
          </p:cNvPr>
          <p:cNvSpPr>
            <a:spLocks noGrp="1"/>
          </p:cNvSpPr>
          <p:nvPr>
            <p:ph type="dgm" sz="quarter" idx="10"/>
          </p:nvPr>
        </p:nvSpPr>
        <p:spPr>
          <a:xfrm>
            <a:off x="595313" y="2054225"/>
            <a:ext cx="11147425" cy="4438650"/>
          </a:xfrm>
          <a:prstGeom prst="rect">
            <a:avLst/>
          </a:prstGeom>
        </p:spPr>
        <p:txBody>
          <a:bodyPr/>
          <a:lstStyle/>
          <a:p>
            <a:endParaRPr lang="fr-CH" dirty="0"/>
          </a:p>
        </p:txBody>
      </p:sp>
    </p:spTree>
    <p:extLst>
      <p:ext uri="{BB962C8B-B14F-4D97-AF65-F5344CB8AC3E}">
        <p14:creationId xmlns:p14="http://schemas.microsoft.com/office/powerpoint/2010/main" val="231660630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D3F731-D0E3-4C0D-A4A7-ED5F7FCA8142}"/>
              </a:ext>
            </a:extLst>
          </p:cNvPr>
          <p:cNvSpPr>
            <a:spLocks noGrp="1"/>
          </p:cNvSpPr>
          <p:nvPr>
            <p:ph type="title" hasCustomPrompt="1"/>
          </p:nvPr>
        </p:nvSpPr>
        <p:spPr>
          <a:xfrm>
            <a:off x="0" y="1"/>
            <a:ext cx="12192000" cy="1690688"/>
          </a:xfrm>
          <a:prstGeom prst="rect">
            <a:avLst/>
          </a:prstGeom>
        </p:spPr>
        <p:txBody>
          <a:bodyPr anchor="ctr"/>
          <a:lstStyle>
            <a:lvl1pPr marL="542952" indent="0">
              <a:defRPr b="0"/>
            </a:lvl1pPr>
          </a:lstStyle>
          <a:p>
            <a:r>
              <a:rPr lang="en-US" dirty="0"/>
              <a:t>Title:</a:t>
            </a:r>
            <a:br>
              <a:rPr lang="en-US" dirty="0"/>
            </a:br>
            <a:r>
              <a:rPr lang="en-US" dirty="0"/>
              <a:t>	Subtitle</a:t>
            </a:r>
            <a:endParaRPr lang="fr-CH" dirty="0"/>
          </a:p>
        </p:txBody>
      </p:sp>
      <p:sp>
        <p:nvSpPr>
          <p:cNvPr id="7" name="Content Placeholder 2">
            <a:extLst>
              <a:ext uri="{FF2B5EF4-FFF2-40B4-BE49-F238E27FC236}">
                <a16:creationId xmlns:a16="http://schemas.microsoft.com/office/drawing/2014/main" id="{1E6B184D-9D17-4463-9B1B-3B27A5A04257}"/>
              </a:ext>
            </a:extLst>
          </p:cNvPr>
          <p:cNvSpPr>
            <a:spLocks noGrp="1"/>
          </p:cNvSpPr>
          <p:nvPr>
            <p:ph idx="10" hasCustomPrompt="1"/>
          </p:nvPr>
        </p:nvSpPr>
        <p:spPr>
          <a:xfrm>
            <a:off x="0" y="2088732"/>
            <a:ext cx="8065168" cy="741112"/>
          </a:xfrm>
          <a:prstGeom prst="rect">
            <a:avLst/>
          </a:prstGeom>
          <a:solidFill>
            <a:srgbClr val="CAD4C1"/>
          </a:solidFill>
        </p:spPr>
        <p:txBody>
          <a:bodyPr anchor="ctr"/>
          <a:lstStyle>
            <a:lvl1pPr marL="542952" indent="0" algn="l">
              <a:defRPr sz="2560"/>
            </a:lvl1pPr>
          </a:lstStyle>
          <a:p>
            <a:pPr lvl="0"/>
            <a:r>
              <a:rPr lang="en-AU" dirty="0"/>
              <a:t>Point 1</a:t>
            </a:r>
            <a:endParaRPr lang="fr-CH" dirty="0"/>
          </a:p>
        </p:txBody>
      </p:sp>
      <p:sp>
        <p:nvSpPr>
          <p:cNvPr id="18" name="Freeform 10">
            <a:extLst>
              <a:ext uri="{FF2B5EF4-FFF2-40B4-BE49-F238E27FC236}">
                <a16:creationId xmlns:a16="http://schemas.microsoft.com/office/drawing/2014/main" id="{C8360514-0B0E-4FAB-A09D-2DE1E745A639}"/>
              </a:ext>
            </a:extLst>
          </p:cNvPr>
          <p:cNvSpPr/>
          <p:nvPr/>
        </p:nvSpPr>
        <p:spPr>
          <a:xfrm>
            <a:off x="561158" y="5645303"/>
            <a:ext cx="123245" cy="106627"/>
          </a:xfrm>
          <a:custGeom>
            <a:avLst/>
            <a:gdLst/>
            <a:ahLst/>
            <a:cxnLst/>
            <a:rect l="l" t="t" r="r" b="b"/>
            <a:pathLst>
              <a:path w="450850" h="450850">
                <a:moveTo>
                  <a:pt x="450850" y="450850"/>
                </a:moveTo>
                <a:lnTo>
                  <a:pt x="0" y="450850"/>
                </a:lnTo>
                <a:lnTo>
                  <a:pt x="450850" y="0"/>
                </a:lnTo>
                <a:close/>
              </a:path>
            </a:pathLst>
          </a:custGeom>
          <a:solidFill>
            <a:srgbClr val="3E6055"/>
          </a:solidFill>
        </p:spPr>
      </p:sp>
      <p:sp>
        <p:nvSpPr>
          <p:cNvPr id="23" name="Content Placeholder 2">
            <a:extLst>
              <a:ext uri="{FF2B5EF4-FFF2-40B4-BE49-F238E27FC236}">
                <a16:creationId xmlns:a16="http://schemas.microsoft.com/office/drawing/2014/main" id="{3A345C08-8739-48FE-872B-70167008D035}"/>
              </a:ext>
            </a:extLst>
          </p:cNvPr>
          <p:cNvSpPr>
            <a:spLocks noGrp="1"/>
          </p:cNvSpPr>
          <p:nvPr>
            <p:ph idx="11" hasCustomPrompt="1"/>
          </p:nvPr>
        </p:nvSpPr>
        <p:spPr>
          <a:xfrm>
            <a:off x="0" y="4802686"/>
            <a:ext cx="8065168" cy="741112"/>
          </a:xfrm>
          <a:prstGeom prst="rect">
            <a:avLst/>
          </a:prstGeom>
          <a:solidFill>
            <a:srgbClr val="CAD4C1"/>
          </a:solidFill>
        </p:spPr>
        <p:txBody>
          <a:bodyPr anchor="ctr"/>
          <a:lstStyle>
            <a:lvl1pPr marL="542952" indent="0" algn="l">
              <a:defRPr sz="2560"/>
            </a:lvl1pPr>
          </a:lstStyle>
          <a:p>
            <a:pPr lvl="0"/>
            <a:r>
              <a:rPr lang="en-AU" dirty="0"/>
              <a:t>Point 2</a:t>
            </a:r>
            <a:endParaRPr lang="fr-CH" dirty="0"/>
          </a:p>
        </p:txBody>
      </p:sp>
      <p:sp>
        <p:nvSpPr>
          <p:cNvPr id="20" name="Content Placeholder 2">
            <a:extLst>
              <a:ext uri="{FF2B5EF4-FFF2-40B4-BE49-F238E27FC236}">
                <a16:creationId xmlns:a16="http://schemas.microsoft.com/office/drawing/2014/main" id="{B9A36F04-9552-4800-B4A8-D6B7C6364DD6}"/>
              </a:ext>
            </a:extLst>
          </p:cNvPr>
          <p:cNvSpPr>
            <a:spLocks noGrp="1"/>
          </p:cNvSpPr>
          <p:nvPr>
            <p:ph idx="12" hasCustomPrompt="1"/>
          </p:nvPr>
        </p:nvSpPr>
        <p:spPr>
          <a:xfrm>
            <a:off x="840657" y="2943875"/>
            <a:ext cx="10722077" cy="741112"/>
          </a:xfrm>
          <a:prstGeom prst="rect">
            <a:avLst/>
          </a:prstGeom>
          <a:solidFill>
            <a:srgbClr val="CAD4C1"/>
          </a:solidFill>
        </p:spPr>
        <p:txBody>
          <a:bodyPr anchor="ctr"/>
          <a:lstStyle>
            <a:lvl1pPr marL="542952" indent="0" algn="l">
              <a:defRPr sz="2560"/>
            </a:lvl1pPr>
          </a:lstStyle>
          <a:p>
            <a:pPr lvl="0"/>
            <a:r>
              <a:rPr lang="en-AU" dirty="0"/>
              <a:t>Point 1a</a:t>
            </a:r>
            <a:endParaRPr lang="fr-CH" dirty="0"/>
          </a:p>
        </p:txBody>
      </p:sp>
      <p:sp>
        <p:nvSpPr>
          <p:cNvPr id="21" name="Content Placeholder 2">
            <a:extLst>
              <a:ext uri="{FF2B5EF4-FFF2-40B4-BE49-F238E27FC236}">
                <a16:creationId xmlns:a16="http://schemas.microsoft.com/office/drawing/2014/main" id="{39AAAF21-4952-401F-AAF8-8ADB1D2AD015}"/>
              </a:ext>
            </a:extLst>
          </p:cNvPr>
          <p:cNvSpPr>
            <a:spLocks noGrp="1"/>
          </p:cNvSpPr>
          <p:nvPr>
            <p:ph idx="13" hasCustomPrompt="1"/>
          </p:nvPr>
        </p:nvSpPr>
        <p:spPr>
          <a:xfrm>
            <a:off x="840658" y="3873280"/>
            <a:ext cx="10722076" cy="741112"/>
          </a:xfrm>
          <a:prstGeom prst="rect">
            <a:avLst/>
          </a:prstGeom>
          <a:solidFill>
            <a:srgbClr val="CAD4C1"/>
          </a:solidFill>
        </p:spPr>
        <p:txBody>
          <a:bodyPr anchor="ctr"/>
          <a:lstStyle>
            <a:lvl1pPr marL="542952" indent="0" algn="l">
              <a:defRPr sz="2560"/>
            </a:lvl1pPr>
          </a:lstStyle>
          <a:p>
            <a:pPr lvl="0"/>
            <a:r>
              <a:rPr lang="en-AU" dirty="0"/>
              <a:t>Point 1b</a:t>
            </a:r>
            <a:endParaRPr lang="fr-CH" dirty="0"/>
          </a:p>
        </p:txBody>
      </p:sp>
      <p:sp>
        <p:nvSpPr>
          <p:cNvPr id="22" name="Content Placeholder 2">
            <a:extLst>
              <a:ext uri="{FF2B5EF4-FFF2-40B4-BE49-F238E27FC236}">
                <a16:creationId xmlns:a16="http://schemas.microsoft.com/office/drawing/2014/main" id="{A9FDBD89-7803-41C0-9BCC-15F362B61848}"/>
              </a:ext>
            </a:extLst>
          </p:cNvPr>
          <p:cNvSpPr>
            <a:spLocks noGrp="1"/>
          </p:cNvSpPr>
          <p:nvPr>
            <p:ph idx="14" hasCustomPrompt="1"/>
          </p:nvPr>
        </p:nvSpPr>
        <p:spPr>
          <a:xfrm>
            <a:off x="840658" y="5818902"/>
            <a:ext cx="10722076" cy="741112"/>
          </a:xfrm>
          <a:prstGeom prst="rect">
            <a:avLst/>
          </a:prstGeom>
          <a:solidFill>
            <a:srgbClr val="CAD4C1"/>
          </a:solidFill>
        </p:spPr>
        <p:txBody>
          <a:bodyPr anchor="ctr"/>
          <a:lstStyle>
            <a:lvl1pPr marL="542952" indent="0" algn="l">
              <a:defRPr sz="2560"/>
            </a:lvl1pPr>
          </a:lstStyle>
          <a:p>
            <a:pPr lvl="0"/>
            <a:r>
              <a:rPr lang="en-AU" dirty="0"/>
              <a:t>Point 1b</a:t>
            </a:r>
            <a:endParaRPr lang="fr-CH" dirty="0"/>
          </a:p>
        </p:txBody>
      </p:sp>
    </p:spTree>
    <p:extLst>
      <p:ext uri="{BB962C8B-B14F-4D97-AF65-F5344CB8AC3E}">
        <p14:creationId xmlns:p14="http://schemas.microsoft.com/office/powerpoint/2010/main" val="419304441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74F174-A64E-459F-B7CF-E8C4C1B1C115}"/>
              </a:ext>
            </a:extLst>
          </p:cNvPr>
          <p:cNvSpPr>
            <a:spLocks noGrp="1"/>
          </p:cNvSpPr>
          <p:nvPr>
            <p:ph type="title"/>
          </p:nvPr>
        </p:nvSpPr>
        <p:spPr/>
        <p:txBody>
          <a:bodyPr/>
          <a:lstStyle/>
          <a:p>
            <a:r>
              <a:rPr lang="en-US"/>
              <a:t>Click to edit Master title style</a:t>
            </a:r>
            <a:endParaRPr lang="fr-CH"/>
          </a:p>
        </p:txBody>
      </p:sp>
      <p:sp>
        <p:nvSpPr>
          <p:cNvPr id="4" name="Media Placeholder 3">
            <a:extLst>
              <a:ext uri="{FF2B5EF4-FFF2-40B4-BE49-F238E27FC236}">
                <a16:creationId xmlns:a16="http://schemas.microsoft.com/office/drawing/2014/main" id="{D08C3DBF-A99D-4956-A732-77567182904B}"/>
              </a:ext>
            </a:extLst>
          </p:cNvPr>
          <p:cNvSpPr>
            <a:spLocks noGrp="1"/>
          </p:cNvSpPr>
          <p:nvPr>
            <p:ph type="media" sz="quarter" idx="10"/>
          </p:nvPr>
        </p:nvSpPr>
        <p:spPr>
          <a:xfrm>
            <a:off x="698500" y="1911350"/>
            <a:ext cx="10931525" cy="4746625"/>
          </a:xfrm>
          <a:prstGeom prst="rect">
            <a:avLst/>
          </a:prstGeom>
        </p:spPr>
        <p:txBody>
          <a:bodyPr/>
          <a:lstStyle/>
          <a:p>
            <a:endParaRPr lang="fr-CH" dirty="0"/>
          </a:p>
        </p:txBody>
      </p:sp>
    </p:spTree>
    <p:extLst>
      <p:ext uri="{BB962C8B-B14F-4D97-AF65-F5344CB8AC3E}">
        <p14:creationId xmlns:p14="http://schemas.microsoft.com/office/powerpoint/2010/main" val="262479226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AFB5BA-B67B-4637-AF0A-66EBB7FEDF6A}"/>
              </a:ext>
            </a:extLst>
          </p:cNvPr>
          <p:cNvSpPr>
            <a:spLocks noGrp="1"/>
          </p:cNvSpPr>
          <p:nvPr>
            <p:ph type="title"/>
          </p:nvPr>
        </p:nvSpPr>
        <p:spPr/>
        <p:txBody>
          <a:bodyPr/>
          <a:lstStyle/>
          <a:p>
            <a:r>
              <a:rPr lang="en-US"/>
              <a:t>Click to edit Master title style</a:t>
            </a:r>
            <a:endParaRPr lang="fr-CH"/>
          </a:p>
        </p:txBody>
      </p:sp>
      <p:sp>
        <p:nvSpPr>
          <p:cNvPr id="4" name="Content Placeholder 3">
            <a:extLst>
              <a:ext uri="{FF2B5EF4-FFF2-40B4-BE49-F238E27FC236}">
                <a16:creationId xmlns:a16="http://schemas.microsoft.com/office/drawing/2014/main" id="{05D5B70F-E384-44EB-BFF9-F462FBB24C99}"/>
              </a:ext>
            </a:extLst>
          </p:cNvPr>
          <p:cNvSpPr>
            <a:spLocks noGrp="1"/>
          </p:cNvSpPr>
          <p:nvPr>
            <p:ph sz="quarter" idx="10"/>
          </p:nvPr>
        </p:nvSpPr>
        <p:spPr>
          <a:xfrm>
            <a:off x="976313" y="2024063"/>
            <a:ext cx="10706100" cy="4468812"/>
          </a:xfrm>
          <a:prstGeom prst="rect">
            <a:avLst/>
          </a:prstGeom>
        </p:spPr>
        <p:txBody>
          <a:bodyPr/>
          <a:lstStyle>
            <a:lvl1pPr marL="457200" indent="-457200" algn="l">
              <a:buFont typeface="Wingdings" panose="05000000000000000000" pitchFamily="2" charset="2"/>
              <a:buChar char="q"/>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CH" dirty="0"/>
          </a:p>
        </p:txBody>
      </p:sp>
    </p:spTree>
    <p:extLst>
      <p:ext uri="{BB962C8B-B14F-4D97-AF65-F5344CB8AC3E}">
        <p14:creationId xmlns:p14="http://schemas.microsoft.com/office/powerpoint/2010/main" val="420154413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854012" y="536575"/>
            <a:ext cx="10780776" cy="384721"/>
          </a:xfrm>
        </p:spPr>
        <p:txBody>
          <a:bodyPr vert="horz" wrap="square" lIns="0" tIns="0" rIns="0" bIns="0" rtlCol="0" anchor="t" anchorCtr="0">
            <a:spAutoFit/>
          </a:bodyPr>
          <a:lstStyle>
            <a:lvl1pPr>
              <a:defRPr lang="en-US" dirty="0"/>
            </a:lvl1pPr>
          </a:lstStyle>
          <a:p>
            <a:pPr lvl="0"/>
            <a:r>
              <a:rPr lang="en-US" dirty="0"/>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854012" y="999134"/>
            <a:ext cx="10766552" cy="276999"/>
          </a:xfrm>
          <a:prstGeom prst="rect">
            <a:avLst/>
          </a:prstGeom>
        </p:spPr>
        <p:txBody>
          <a:bodyPr vert="horz" wrap="square" lIns="0" tIns="0" rIns="0" bIns="0" rtlCol="0">
            <a:spAutoFit/>
          </a:bodyPr>
          <a:lstStyle>
            <a:lvl1pPr>
              <a:defRPr lang="en-US" sz="1800" b="0" dirty="0"/>
            </a:lvl1pPr>
          </a:lstStyle>
          <a:p>
            <a:pPr lvl="0">
              <a:buNone/>
            </a:pPr>
            <a:r>
              <a:rPr lang="en-US" dirty="0"/>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859454" y="631324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spcBef>
                <a:spcPts val="0"/>
              </a:spcBef>
              <a:spcAft>
                <a:spcPts val="0"/>
              </a:spcAft>
            </a:pPr>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854012" y="374545"/>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2" name="Footer Placeholder 8">
            <a:extLst>
              <a:ext uri="{FF2B5EF4-FFF2-40B4-BE49-F238E27FC236}">
                <a16:creationId xmlns:a16="http://schemas.microsoft.com/office/drawing/2014/main" id="{17E2CAFB-654B-41B4-B5BB-EF5BFD1ED1D8}"/>
              </a:ext>
            </a:extLst>
          </p:cNvPr>
          <p:cNvSpPr>
            <a:spLocks noGrp="1"/>
          </p:cNvSpPr>
          <p:nvPr>
            <p:ph type="ftr" sz="quarter" idx="3"/>
          </p:nvPr>
        </p:nvSpPr>
        <p:spPr>
          <a:xfrm>
            <a:off x="2358683" y="6498754"/>
            <a:ext cx="333425" cy="138499"/>
          </a:xfrm>
          <a:prstGeom prst="rect">
            <a:avLst/>
          </a:prstGeom>
        </p:spPr>
        <p:txBody>
          <a:bodyPr vert="horz" wrap="square" lIns="0" tIns="0" rIns="0" bIns="0" rtlCol="0" anchor="ctr">
            <a:spAutoFit/>
          </a:bodyPr>
          <a:lstStyle>
            <a:lvl1pPr algn="ctr">
              <a:defRPr sz="900">
                <a:solidFill>
                  <a:schemeClr val="tx1">
                    <a:tint val="75000"/>
                  </a:schemeClr>
                </a:solidFill>
              </a:defRPr>
            </a:lvl1pPr>
          </a:lstStyle>
          <a:p>
            <a:r>
              <a:rPr lang="en-US" dirty="0"/>
              <a:t>ERCO</a:t>
            </a:r>
          </a:p>
        </p:txBody>
      </p:sp>
      <p:sp>
        <p:nvSpPr>
          <p:cNvPr id="16" name="Slide Number">
            <a:extLst>
              <a:ext uri="{FF2B5EF4-FFF2-40B4-BE49-F238E27FC236}">
                <a16:creationId xmlns:a16="http://schemas.microsoft.com/office/drawing/2014/main" id="{A5C53AEF-300D-46C7-A057-9D6B706417A4}"/>
              </a:ext>
            </a:extLst>
          </p:cNvPr>
          <p:cNvSpPr>
            <a:spLocks noChangeArrowheads="1"/>
          </p:cNvSpPr>
          <p:nvPr userDrawn="1">
            <p:custDataLst>
              <p:tags r:id="rId7"/>
            </p:custDataLst>
          </p:nvPr>
        </p:nvSpPr>
        <p:spPr bwMode="black">
          <a:xfrm>
            <a:off x="11166583" y="64778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17" name="Date Placeholder 7">
            <a:extLst>
              <a:ext uri="{FF2B5EF4-FFF2-40B4-BE49-F238E27FC236}">
                <a16:creationId xmlns:a16="http://schemas.microsoft.com/office/drawing/2014/main" id="{2CA01E51-1CF3-46CD-96E0-F18A2C4AB544}"/>
              </a:ext>
            </a:extLst>
          </p:cNvPr>
          <p:cNvSpPr>
            <a:spLocks noGrp="1"/>
          </p:cNvSpPr>
          <p:nvPr>
            <p:ph type="dt" sz="half" idx="2"/>
          </p:nvPr>
        </p:nvSpPr>
        <p:spPr>
          <a:xfrm>
            <a:off x="868508" y="6479915"/>
            <a:ext cx="609448" cy="138499"/>
          </a:xfrm>
          <a:prstGeom prst="rect">
            <a:avLst/>
          </a:prstGeom>
        </p:spPr>
        <p:txBody>
          <a:bodyPr vert="horz" wrap="square" lIns="0" tIns="0" rIns="0" bIns="0" rtlCol="0" anchor="ctr">
            <a:spAutoFit/>
          </a:bodyPr>
          <a:lstStyle>
            <a:lvl1pPr algn="l">
              <a:defRPr sz="900">
                <a:solidFill>
                  <a:schemeClr val="tx1">
                    <a:tint val="75000"/>
                  </a:schemeClr>
                </a:solidFill>
              </a:defRPr>
            </a:lvl1pPr>
          </a:lstStyle>
          <a:p>
            <a:fld id="{90F0E685-6FEA-4FC2-86A2-14054598FE7C}" type="datetime5">
              <a:rPr lang="en-US" smtClean="0"/>
              <a:t>5-Jun-23</a:t>
            </a:fld>
            <a:endParaRPr lang="en-US" dirty="0"/>
          </a:p>
        </p:txBody>
      </p:sp>
      <p:sp>
        <p:nvSpPr>
          <p:cNvPr id="4" name="Chart Placeholder 3">
            <a:extLst>
              <a:ext uri="{FF2B5EF4-FFF2-40B4-BE49-F238E27FC236}">
                <a16:creationId xmlns:a16="http://schemas.microsoft.com/office/drawing/2014/main" id="{55B78697-3BA2-40C0-8739-A97494C447FC}"/>
              </a:ext>
            </a:extLst>
          </p:cNvPr>
          <p:cNvSpPr>
            <a:spLocks noGrp="1"/>
          </p:cNvSpPr>
          <p:nvPr>
            <p:ph type="chart" sz="quarter" idx="11"/>
          </p:nvPr>
        </p:nvSpPr>
        <p:spPr>
          <a:xfrm>
            <a:off x="854075" y="1352550"/>
            <a:ext cx="5051425" cy="4968875"/>
          </a:xfrm>
        </p:spPr>
        <p:txBody>
          <a:bodyPr/>
          <a:lstStyle/>
          <a:p>
            <a:endParaRPr lang="en-GB" dirty="0"/>
          </a:p>
        </p:txBody>
      </p:sp>
      <p:sp>
        <p:nvSpPr>
          <p:cNvPr id="7" name="Content Placeholder 6">
            <a:extLst>
              <a:ext uri="{FF2B5EF4-FFF2-40B4-BE49-F238E27FC236}">
                <a16:creationId xmlns:a16="http://schemas.microsoft.com/office/drawing/2014/main" id="{5E1CCAD2-DA4B-449A-A870-65FDBC3AE575}"/>
              </a:ext>
            </a:extLst>
          </p:cNvPr>
          <p:cNvSpPr>
            <a:spLocks noGrp="1"/>
          </p:cNvSpPr>
          <p:nvPr>
            <p:ph sz="quarter" idx="12"/>
          </p:nvPr>
        </p:nvSpPr>
        <p:spPr>
          <a:xfrm>
            <a:off x="6496050" y="1352550"/>
            <a:ext cx="5124450" cy="49688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4674927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5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0FC521-96A6-48F7-A203-839EF23217BD}"/>
              </a:ext>
            </a:extLst>
          </p:cNvPr>
          <p:cNvSpPr>
            <a:spLocks noGrp="1"/>
          </p:cNvSpPr>
          <p:nvPr>
            <p:ph type="title"/>
          </p:nvPr>
        </p:nvSpPr>
        <p:spPr>
          <a:xfrm>
            <a:off x="1351547" y="1648494"/>
            <a:ext cx="10515600" cy="1325563"/>
          </a:xfrm>
          <a:prstGeom prst="rect">
            <a:avLst/>
          </a:prstGeom>
        </p:spPr>
        <p:txBody>
          <a:bodyPr/>
          <a:lstStyle>
            <a:lvl1pPr>
              <a:defRPr b="1">
                <a:solidFill>
                  <a:srgbClr val="4D7568"/>
                </a:solidFill>
                <a:latin typeface="IBM Plex Sans Bold" panose="020B0604020202020204" charset="0"/>
                <a:cs typeface="IBM Plex Sans Bold" panose="020B0604020202020204" charset="0"/>
              </a:defRPr>
            </a:lvl1pPr>
          </a:lstStyle>
          <a:p>
            <a:r>
              <a:rPr lang="en-US" dirty="0"/>
              <a:t>Click to edit Master title style</a:t>
            </a:r>
            <a:endParaRPr lang="fr-CH" dirty="0"/>
          </a:p>
        </p:txBody>
      </p:sp>
    </p:spTree>
    <p:extLst>
      <p:ext uri="{BB962C8B-B14F-4D97-AF65-F5344CB8AC3E}">
        <p14:creationId xmlns:p14="http://schemas.microsoft.com/office/powerpoint/2010/main" val="122661339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C0CA47-3CB3-4512-9C31-66FA3D8597B3}"/>
              </a:ext>
            </a:extLst>
          </p:cNvPr>
          <p:cNvSpPr>
            <a:spLocks noGrp="1"/>
          </p:cNvSpPr>
          <p:nvPr>
            <p:ph type="title"/>
          </p:nvPr>
        </p:nvSpPr>
        <p:spPr/>
        <p:txBody>
          <a:bodyPr/>
          <a:lstStyle/>
          <a:p>
            <a:r>
              <a:rPr lang="en-US"/>
              <a:t>Click to edit Master title style</a:t>
            </a:r>
            <a:endParaRPr lang="fr-CH"/>
          </a:p>
        </p:txBody>
      </p:sp>
      <p:sp>
        <p:nvSpPr>
          <p:cNvPr id="3" name="Date Placeholder 2">
            <a:extLst>
              <a:ext uri="{FF2B5EF4-FFF2-40B4-BE49-F238E27FC236}">
                <a16:creationId xmlns:a16="http://schemas.microsoft.com/office/drawing/2014/main" id="{3E74B7AF-426E-49D6-8F0B-AE1F62509E29}"/>
              </a:ext>
            </a:extLst>
          </p:cNvPr>
          <p:cNvSpPr>
            <a:spLocks noGrp="1"/>
          </p:cNvSpPr>
          <p:nvPr>
            <p:ph type="dt" sz="half" idx="10"/>
          </p:nvPr>
        </p:nvSpPr>
        <p:spPr/>
        <p:txBody>
          <a:bodyPr/>
          <a:lstStyle/>
          <a:p>
            <a:fld id="{1D8BD707-D9CF-40AE-B4C6-C98DA3205C09}" type="datetimeFigureOut">
              <a:rPr lang="en-US" smtClean="0"/>
              <a:pPr/>
              <a:t>6/5/2023</a:t>
            </a:fld>
            <a:endParaRPr lang="en-US" dirty="0"/>
          </a:p>
        </p:txBody>
      </p:sp>
      <p:sp>
        <p:nvSpPr>
          <p:cNvPr id="4" name="Footer Placeholder 3">
            <a:extLst>
              <a:ext uri="{FF2B5EF4-FFF2-40B4-BE49-F238E27FC236}">
                <a16:creationId xmlns:a16="http://schemas.microsoft.com/office/drawing/2014/main" id="{16AD358E-2137-40A3-B599-2172C5290BB6}"/>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4265A433-1CFC-43CE-92F8-07CCB7FEC516}"/>
              </a:ext>
            </a:extLst>
          </p:cNvPr>
          <p:cNvSpPr>
            <a:spLocks noGrp="1"/>
          </p:cNvSpPr>
          <p:nvPr>
            <p:ph type="sldNum" sz="quarter" idx="12"/>
          </p:nvPr>
        </p:nvSpPr>
        <p:spPr/>
        <p:txBody>
          <a:bodyPr/>
          <a:lstStyle/>
          <a:p>
            <a:fld id="{B6F15528-21DE-4FAA-801E-634DDDAF4B2B}" type="slidenum">
              <a:rPr lang="en-US" smtClean="0"/>
              <a:pPr/>
              <a:t>‹#›</a:t>
            </a:fld>
            <a:endParaRPr lang="en-US" dirty="0"/>
          </a:p>
        </p:txBody>
      </p:sp>
    </p:spTree>
    <p:extLst>
      <p:ext uri="{BB962C8B-B14F-4D97-AF65-F5344CB8AC3E}">
        <p14:creationId xmlns:p14="http://schemas.microsoft.com/office/powerpoint/2010/main" val="65511948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1CF1D8-5AE4-4E72-9FB8-922D0EF4AB1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fr-CH"/>
          </a:p>
        </p:txBody>
      </p:sp>
      <p:sp>
        <p:nvSpPr>
          <p:cNvPr id="3" name="Subtitle 2">
            <a:extLst>
              <a:ext uri="{FF2B5EF4-FFF2-40B4-BE49-F238E27FC236}">
                <a16:creationId xmlns:a16="http://schemas.microsoft.com/office/drawing/2014/main" id="{9D914330-63E6-49CF-AB09-F5FDC2D60251}"/>
              </a:ext>
            </a:extLst>
          </p:cNvPr>
          <p:cNvSpPr>
            <a:spLocks noGrp="1"/>
          </p:cNvSpPr>
          <p:nvPr>
            <p:ph type="subTitle" idx="1"/>
          </p:nvPr>
        </p:nvSpPr>
        <p:spPr>
          <a:xfrm>
            <a:off x="1524000" y="3602038"/>
            <a:ext cx="9144000" cy="1655762"/>
          </a:xfrm>
        </p:spPr>
        <p:txBody>
          <a:bodyPr/>
          <a:lstStyle>
            <a:lvl1pPr marL="0" indent="0" algn="ctr">
              <a:buNone/>
              <a:defRPr sz="24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endParaRPr lang="fr-CH"/>
          </a:p>
        </p:txBody>
      </p:sp>
      <p:sp>
        <p:nvSpPr>
          <p:cNvPr id="4" name="Date Placeholder 3">
            <a:extLst>
              <a:ext uri="{FF2B5EF4-FFF2-40B4-BE49-F238E27FC236}">
                <a16:creationId xmlns:a16="http://schemas.microsoft.com/office/drawing/2014/main" id="{A9AD4D9C-C325-41DA-9143-A8FE3A8C04F9}"/>
              </a:ext>
            </a:extLst>
          </p:cNvPr>
          <p:cNvSpPr>
            <a:spLocks noGrp="1"/>
          </p:cNvSpPr>
          <p:nvPr>
            <p:ph type="dt" sz="half" idx="10"/>
          </p:nvPr>
        </p:nvSpPr>
        <p:spPr/>
        <p:txBody>
          <a:bodyPr/>
          <a:lstStyle/>
          <a:p>
            <a:fld id="{1D8BD707-D9CF-40AE-B4C6-C98DA3205C09}" type="datetimeFigureOut">
              <a:rPr lang="en-US" smtClean="0"/>
              <a:pPr/>
              <a:t>6/5/2023</a:t>
            </a:fld>
            <a:endParaRPr lang="en-US" dirty="0"/>
          </a:p>
        </p:txBody>
      </p:sp>
      <p:sp>
        <p:nvSpPr>
          <p:cNvPr id="5" name="Footer Placeholder 4">
            <a:extLst>
              <a:ext uri="{FF2B5EF4-FFF2-40B4-BE49-F238E27FC236}">
                <a16:creationId xmlns:a16="http://schemas.microsoft.com/office/drawing/2014/main" id="{71AD568C-F183-499C-AB0B-CB6B1D25DB6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95394004-CB2E-48AE-8519-B710075E3DCA}"/>
              </a:ext>
            </a:extLst>
          </p:cNvPr>
          <p:cNvSpPr>
            <a:spLocks noGrp="1"/>
          </p:cNvSpPr>
          <p:nvPr>
            <p:ph type="sldNum" sz="quarter" idx="12"/>
          </p:nvPr>
        </p:nvSpPr>
        <p:spPr/>
        <p:txBody>
          <a:bodyPr/>
          <a:lstStyle/>
          <a:p>
            <a:fld id="{B6F15528-21DE-4FAA-801E-634DDDAF4B2B}" type="slidenum">
              <a:rPr lang="en-US" smtClean="0"/>
              <a:pPr/>
              <a:t>‹#›</a:t>
            </a:fld>
            <a:endParaRPr lang="en-US" dirty="0"/>
          </a:p>
        </p:txBody>
      </p:sp>
    </p:spTree>
    <p:extLst>
      <p:ext uri="{BB962C8B-B14F-4D97-AF65-F5344CB8AC3E}">
        <p14:creationId xmlns:p14="http://schemas.microsoft.com/office/powerpoint/2010/main" val="76437385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838200" y="6356353"/>
            <a:ext cx="2743200" cy="365125"/>
          </a:xfrm>
          <a:prstGeom prst="rect">
            <a:avLst/>
          </a:prstGeom>
        </p:spPr>
        <p:txBody>
          <a:bodyPr/>
          <a:lstStyle/>
          <a:p>
            <a:fld id="{10D3D8DC-BCD2-40A3-AA72-2DB806431243}" type="datetimeFigureOut">
              <a:rPr lang="fr-CH" smtClean="0"/>
              <a:t>05.06.2023</a:t>
            </a:fld>
            <a:endParaRPr lang="fr-CH" dirty="0"/>
          </a:p>
        </p:txBody>
      </p:sp>
      <p:sp>
        <p:nvSpPr>
          <p:cNvPr id="5" name="Footer Placeholder 4"/>
          <p:cNvSpPr>
            <a:spLocks noGrp="1"/>
          </p:cNvSpPr>
          <p:nvPr>
            <p:ph type="ftr" sz="quarter" idx="11"/>
          </p:nvPr>
        </p:nvSpPr>
        <p:spPr>
          <a:xfrm>
            <a:off x="4038600" y="6356353"/>
            <a:ext cx="4114800" cy="365125"/>
          </a:xfrm>
          <a:prstGeom prst="rect">
            <a:avLst/>
          </a:prstGeom>
        </p:spPr>
        <p:txBody>
          <a:bodyPr/>
          <a:lstStyle/>
          <a:p>
            <a:endParaRPr lang="fr-CH" dirty="0"/>
          </a:p>
        </p:txBody>
      </p:sp>
      <p:sp>
        <p:nvSpPr>
          <p:cNvPr id="6" name="Slide Number Placeholder 5"/>
          <p:cNvSpPr>
            <a:spLocks noGrp="1"/>
          </p:cNvSpPr>
          <p:nvPr>
            <p:ph type="sldNum" sz="quarter" idx="12"/>
          </p:nvPr>
        </p:nvSpPr>
        <p:spPr>
          <a:xfrm>
            <a:off x="8610600" y="6356353"/>
            <a:ext cx="2743200" cy="365125"/>
          </a:xfrm>
          <a:prstGeom prst="rect">
            <a:avLst/>
          </a:prstGeom>
        </p:spPr>
        <p:txBody>
          <a:bodyPr/>
          <a:lstStyle/>
          <a:p>
            <a:fld id="{BF45AAF8-A1EC-40B0-B9A5-D19B53D2BF70}" type="slidenum">
              <a:rPr lang="fr-CH" smtClean="0"/>
              <a:t>‹#›</a:t>
            </a:fld>
            <a:endParaRPr lang="fr-CH" dirty="0"/>
          </a:p>
        </p:txBody>
      </p:sp>
      <p:sp>
        <p:nvSpPr>
          <p:cNvPr id="7" name="Title 1">
            <a:extLst>
              <a:ext uri="{FF2B5EF4-FFF2-40B4-BE49-F238E27FC236}">
                <a16:creationId xmlns:a16="http://schemas.microsoft.com/office/drawing/2014/main" id="{7EB7B65D-96DD-4A14-B555-47D5F70849C8}"/>
              </a:ext>
            </a:extLst>
          </p:cNvPr>
          <p:cNvSpPr>
            <a:spLocks noGrp="1"/>
          </p:cNvSpPr>
          <p:nvPr>
            <p:ph type="title" hasCustomPrompt="1"/>
          </p:nvPr>
        </p:nvSpPr>
        <p:spPr>
          <a:xfrm>
            <a:off x="792268" y="2224448"/>
            <a:ext cx="10561532" cy="1856096"/>
          </a:xfrm>
        </p:spPr>
        <p:txBody>
          <a:bodyPr>
            <a:noAutofit/>
          </a:bodyPr>
          <a:lstStyle>
            <a:lvl1pPr algn="ctr">
              <a:defRPr sz="7200"/>
            </a:lvl1pPr>
          </a:lstStyle>
          <a:p>
            <a:r>
              <a:rPr lang="en-US" dirty="0"/>
              <a:t>Presentation Title</a:t>
            </a:r>
          </a:p>
        </p:txBody>
      </p:sp>
    </p:spTree>
    <p:extLst>
      <p:ext uri="{BB962C8B-B14F-4D97-AF65-F5344CB8AC3E}">
        <p14:creationId xmlns:p14="http://schemas.microsoft.com/office/powerpoint/2010/main" val="168389914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3_Title Slide">
    <p:bg>
      <p:bgPr>
        <a:solidFill>
          <a:srgbClr val="4D7568"/>
        </a:solidFill>
        <a:effectLst/>
      </p:bgPr>
    </p:bg>
    <p:spTree>
      <p:nvGrpSpPr>
        <p:cNvPr id="1" name=""/>
        <p:cNvGrpSpPr/>
        <p:nvPr/>
      </p:nvGrpSpPr>
      <p:grpSpPr>
        <a:xfrm>
          <a:off x="0" y="0"/>
          <a:ext cx="0" cy="0"/>
          <a:chOff x="0" y="0"/>
          <a:chExt cx="0" cy="0"/>
        </a:xfrm>
      </p:grpSpPr>
      <p:pic>
        <p:nvPicPr>
          <p:cNvPr id="17" name="Picture 2">
            <a:extLst>
              <a:ext uri="{FF2B5EF4-FFF2-40B4-BE49-F238E27FC236}">
                <a16:creationId xmlns:a16="http://schemas.microsoft.com/office/drawing/2014/main" id="{79298EF3-24DA-4BEC-856B-E92B593C6E0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a:off x="-1" y="5462046"/>
            <a:ext cx="12192001" cy="1395955"/>
          </a:xfrm>
          <a:prstGeom prst="rect">
            <a:avLst/>
          </a:prstGeom>
        </p:spPr>
      </p:pic>
      <p:sp>
        <p:nvSpPr>
          <p:cNvPr id="6" name="Text Placeholder 5">
            <a:extLst>
              <a:ext uri="{FF2B5EF4-FFF2-40B4-BE49-F238E27FC236}">
                <a16:creationId xmlns:a16="http://schemas.microsoft.com/office/drawing/2014/main" id="{A2D9C43F-FFF2-4188-8DA0-C835E1401A8D}"/>
              </a:ext>
            </a:extLst>
          </p:cNvPr>
          <p:cNvSpPr>
            <a:spLocks noGrp="1"/>
          </p:cNvSpPr>
          <p:nvPr>
            <p:ph type="body" sz="quarter" idx="10"/>
          </p:nvPr>
        </p:nvSpPr>
        <p:spPr>
          <a:xfrm>
            <a:off x="5427664" y="4168776"/>
            <a:ext cx="6046787" cy="884238"/>
          </a:xfrm>
          <a:prstGeom prst="rect">
            <a:avLst/>
          </a:prstGeom>
        </p:spPr>
        <p:txBody>
          <a:bodyPr/>
          <a:lstStyle>
            <a:lvl1pPr>
              <a:defRPr>
                <a:solidFill>
                  <a:schemeClr val="bg1"/>
                </a:solidFill>
                <a:latin typeface="+mj-lt"/>
              </a:defRPr>
            </a:lvl1pPr>
            <a:lvl2pPr marL="457223" indent="0">
              <a:buNone/>
              <a:defRPr>
                <a:solidFill>
                  <a:schemeClr val="bg1"/>
                </a:solidFill>
                <a:latin typeface="+mj-lt"/>
              </a:defRPr>
            </a:lvl2pPr>
            <a:lvl3pPr>
              <a:defRPr>
                <a:solidFill>
                  <a:schemeClr val="bg1"/>
                </a:solidFill>
                <a:latin typeface="+mj-lt"/>
              </a:defRPr>
            </a:lvl3pPr>
            <a:lvl4pPr>
              <a:defRPr>
                <a:solidFill>
                  <a:schemeClr val="bg1"/>
                </a:solidFill>
                <a:latin typeface="+mj-lt"/>
              </a:defRPr>
            </a:lvl4pPr>
            <a:lvl5pPr>
              <a:defRPr>
                <a:solidFill>
                  <a:schemeClr val="bg1"/>
                </a:solidFill>
                <a:latin typeface="+mj-lt"/>
              </a:defRPr>
            </a:lvl5pPr>
          </a:lstStyle>
          <a:p>
            <a:pPr lvl="0"/>
            <a:r>
              <a:rPr lang="en-US" dirty="0"/>
              <a:t>Edit Master text style</a:t>
            </a:r>
          </a:p>
        </p:txBody>
      </p:sp>
      <p:sp>
        <p:nvSpPr>
          <p:cNvPr id="12" name="Text Placeholder 5">
            <a:extLst>
              <a:ext uri="{FF2B5EF4-FFF2-40B4-BE49-F238E27FC236}">
                <a16:creationId xmlns:a16="http://schemas.microsoft.com/office/drawing/2014/main" id="{C6AAF83A-24A2-4CF6-A7A4-47EB24E9DC49}"/>
              </a:ext>
            </a:extLst>
          </p:cNvPr>
          <p:cNvSpPr>
            <a:spLocks noGrp="1"/>
          </p:cNvSpPr>
          <p:nvPr>
            <p:ph type="body" sz="quarter" idx="11"/>
          </p:nvPr>
        </p:nvSpPr>
        <p:spPr>
          <a:xfrm>
            <a:off x="1568502" y="1922104"/>
            <a:ext cx="8952014" cy="884238"/>
          </a:xfrm>
          <a:prstGeom prst="rect">
            <a:avLst/>
          </a:prstGeom>
        </p:spPr>
        <p:txBody>
          <a:bodyPr/>
          <a:lstStyle>
            <a:lvl1pPr algn="l">
              <a:defRPr sz="4800">
                <a:solidFill>
                  <a:schemeClr val="bg1"/>
                </a:solidFill>
                <a:latin typeface="+mj-lt"/>
              </a:defRPr>
            </a:lvl1pPr>
            <a:lvl2pPr marL="457223" indent="0">
              <a:buNone/>
              <a:defRPr>
                <a:solidFill>
                  <a:schemeClr val="bg1"/>
                </a:solidFill>
                <a:latin typeface="+mj-lt"/>
              </a:defRPr>
            </a:lvl2pPr>
            <a:lvl3pPr>
              <a:defRPr>
                <a:solidFill>
                  <a:schemeClr val="bg1"/>
                </a:solidFill>
                <a:latin typeface="+mj-lt"/>
              </a:defRPr>
            </a:lvl3pPr>
            <a:lvl4pPr>
              <a:defRPr>
                <a:solidFill>
                  <a:schemeClr val="bg1"/>
                </a:solidFill>
                <a:latin typeface="+mj-lt"/>
              </a:defRPr>
            </a:lvl4pPr>
            <a:lvl5pPr>
              <a:defRPr>
                <a:solidFill>
                  <a:schemeClr val="bg1"/>
                </a:solidFill>
                <a:latin typeface="+mj-lt"/>
              </a:defRPr>
            </a:lvl5pPr>
          </a:lstStyle>
          <a:p>
            <a:pPr lvl="0"/>
            <a:r>
              <a:rPr lang="en-US" dirty="0"/>
              <a:t>Edit Master text style</a:t>
            </a:r>
          </a:p>
        </p:txBody>
      </p:sp>
      <p:sp>
        <p:nvSpPr>
          <p:cNvPr id="13" name="Text Placeholder 5">
            <a:extLst>
              <a:ext uri="{FF2B5EF4-FFF2-40B4-BE49-F238E27FC236}">
                <a16:creationId xmlns:a16="http://schemas.microsoft.com/office/drawing/2014/main" id="{8CB4846C-6878-4222-BA37-AAD438BF2E2C}"/>
              </a:ext>
            </a:extLst>
          </p:cNvPr>
          <p:cNvSpPr>
            <a:spLocks noGrp="1"/>
          </p:cNvSpPr>
          <p:nvPr>
            <p:ph type="body" sz="quarter" idx="12"/>
          </p:nvPr>
        </p:nvSpPr>
        <p:spPr>
          <a:xfrm>
            <a:off x="1568503" y="3029923"/>
            <a:ext cx="4208155" cy="884238"/>
          </a:xfrm>
          <a:prstGeom prst="rect">
            <a:avLst/>
          </a:prstGeom>
        </p:spPr>
        <p:txBody>
          <a:bodyPr/>
          <a:lstStyle>
            <a:lvl1pPr algn="l">
              <a:defRPr>
                <a:solidFill>
                  <a:schemeClr val="bg1"/>
                </a:solidFill>
                <a:latin typeface="+mj-lt"/>
              </a:defRPr>
            </a:lvl1pPr>
            <a:lvl2pPr marL="457223" indent="0">
              <a:buNone/>
              <a:defRPr>
                <a:solidFill>
                  <a:schemeClr val="bg1"/>
                </a:solidFill>
                <a:latin typeface="+mj-lt"/>
              </a:defRPr>
            </a:lvl2pPr>
            <a:lvl3pPr>
              <a:defRPr>
                <a:solidFill>
                  <a:schemeClr val="bg1"/>
                </a:solidFill>
                <a:latin typeface="+mj-lt"/>
              </a:defRPr>
            </a:lvl3pPr>
            <a:lvl4pPr>
              <a:defRPr>
                <a:solidFill>
                  <a:schemeClr val="bg1"/>
                </a:solidFill>
                <a:latin typeface="+mj-lt"/>
              </a:defRPr>
            </a:lvl4pPr>
            <a:lvl5pPr>
              <a:defRPr>
                <a:solidFill>
                  <a:schemeClr val="bg1"/>
                </a:solidFill>
                <a:latin typeface="+mj-lt"/>
              </a:defRPr>
            </a:lvl5pPr>
          </a:lstStyle>
          <a:p>
            <a:pPr lvl="0"/>
            <a:r>
              <a:rPr lang="en-US" dirty="0"/>
              <a:t>Edit Master text style</a:t>
            </a:r>
          </a:p>
        </p:txBody>
      </p:sp>
    </p:spTree>
    <p:extLst>
      <p:ext uri="{BB962C8B-B14F-4D97-AF65-F5344CB8AC3E}">
        <p14:creationId xmlns:p14="http://schemas.microsoft.com/office/powerpoint/2010/main" val="75691959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Title slide 1">
    <p:bg>
      <p:bgPr>
        <a:solidFill>
          <a:srgbClr val="4D7568"/>
        </a:solidFill>
        <a:effectLst/>
      </p:bgPr>
    </p:bg>
    <p:spTree>
      <p:nvGrpSpPr>
        <p:cNvPr id="1" name=""/>
        <p:cNvGrpSpPr/>
        <p:nvPr/>
      </p:nvGrpSpPr>
      <p:grpSpPr>
        <a:xfrm>
          <a:off x="0" y="0"/>
          <a:ext cx="0" cy="0"/>
          <a:chOff x="0" y="0"/>
          <a:chExt cx="0" cy="0"/>
        </a:xfrm>
      </p:grpSpPr>
      <p:pic>
        <p:nvPicPr>
          <p:cNvPr id="17" name="Picture 2">
            <a:extLst>
              <a:ext uri="{FF2B5EF4-FFF2-40B4-BE49-F238E27FC236}">
                <a16:creationId xmlns:a16="http://schemas.microsoft.com/office/drawing/2014/main" id="{79298EF3-24DA-4BEC-856B-E92B593C6E0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a:off x="-1" y="5462045"/>
            <a:ext cx="12192001" cy="1395955"/>
          </a:xfrm>
          <a:prstGeom prst="rect">
            <a:avLst/>
          </a:prstGeom>
        </p:spPr>
      </p:pic>
      <p:sp>
        <p:nvSpPr>
          <p:cNvPr id="2" name="Title 1">
            <a:extLst>
              <a:ext uri="{FF2B5EF4-FFF2-40B4-BE49-F238E27FC236}">
                <a16:creationId xmlns:a16="http://schemas.microsoft.com/office/drawing/2014/main" id="{AACC0B56-E707-4AD9-A2C9-B9E9A3F72A70}"/>
              </a:ext>
            </a:extLst>
          </p:cNvPr>
          <p:cNvSpPr>
            <a:spLocks noGrp="1"/>
          </p:cNvSpPr>
          <p:nvPr>
            <p:ph type="title"/>
          </p:nvPr>
        </p:nvSpPr>
        <p:spPr>
          <a:xfrm>
            <a:off x="1443937" y="1892415"/>
            <a:ext cx="7916373" cy="1325563"/>
          </a:xfrm>
        </p:spPr>
        <p:txBody>
          <a:bodyPr/>
          <a:lstStyle>
            <a:lvl1pPr>
              <a:defRPr b="1">
                <a:solidFill>
                  <a:schemeClr val="bg1"/>
                </a:solidFill>
              </a:defRPr>
            </a:lvl1pPr>
          </a:lstStyle>
          <a:p>
            <a:r>
              <a:rPr lang="en-US" dirty="0"/>
              <a:t>Click to edit Master title style</a:t>
            </a:r>
            <a:endParaRPr lang="fr-CH" dirty="0"/>
          </a:p>
        </p:txBody>
      </p:sp>
    </p:spTree>
    <p:extLst>
      <p:ext uri="{BB962C8B-B14F-4D97-AF65-F5344CB8AC3E}">
        <p14:creationId xmlns:p14="http://schemas.microsoft.com/office/powerpoint/2010/main" val="168956695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838200" y="6356353"/>
            <a:ext cx="2743200" cy="365125"/>
          </a:xfrm>
          <a:prstGeom prst="rect">
            <a:avLst/>
          </a:prstGeom>
        </p:spPr>
        <p:txBody>
          <a:bodyPr/>
          <a:lstStyle/>
          <a:p>
            <a:fld id="{10D3D8DC-BCD2-40A3-AA72-2DB806431243}" type="datetimeFigureOut">
              <a:rPr lang="fr-CH" smtClean="0"/>
              <a:t>05.06.2023</a:t>
            </a:fld>
            <a:endParaRPr lang="fr-CH" dirty="0"/>
          </a:p>
        </p:txBody>
      </p:sp>
      <p:sp>
        <p:nvSpPr>
          <p:cNvPr id="5" name="Footer Placeholder 4"/>
          <p:cNvSpPr>
            <a:spLocks noGrp="1"/>
          </p:cNvSpPr>
          <p:nvPr>
            <p:ph type="ftr" sz="quarter" idx="11"/>
          </p:nvPr>
        </p:nvSpPr>
        <p:spPr>
          <a:xfrm>
            <a:off x="4038600" y="6356353"/>
            <a:ext cx="4114800" cy="365125"/>
          </a:xfrm>
          <a:prstGeom prst="rect">
            <a:avLst/>
          </a:prstGeom>
        </p:spPr>
        <p:txBody>
          <a:bodyPr/>
          <a:lstStyle/>
          <a:p>
            <a:endParaRPr lang="fr-CH" dirty="0"/>
          </a:p>
        </p:txBody>
      </p:sp>
      <p:sp>
        <p:nvSpPr>
          <p:cNvPr id="6" name="Slide Number Placeholder 5"/>
          <p:cNvSpPr>
            <a:spLocks noGrp="1"/>
          </p:cNvSpPr>
          <p:nvPr>
            <p:ph type="sldNum" sz="quarter" idx="12"/>
          </p:nvPr>
        </p:nvSpPr>
        <p:spPr>
          <a:xfrm>
            <a:off x="8610600" y="6356353"/>
            <a:ext cx="2743200" cy="365125"/>
          </a:xfrm>
          <a:prstGeom prst="rect">
            <a:avLst/>
          </a:prstGeom>
        </p:spPr>
        <p:txBody>
          <a:bodyPr/>
          <a:lstStyle/>
          <a:p>
            <a:fld id="{BF45AAF8-A1EC-40B0-B9A5-D19B53D2BF70}" type="slidenum">
              <a:rPr lang="fr-CH" smtClean="0"/>
              <a:t>‹#›</a:t>
            </a:fld>
            <a:endParaRPr lang="fr-CH" dirty="0"/>
          </a:p>
        </p:txBody>
      </p:sp>
      <p:sp>
        <p:nvSpPr>
          <p:cNvPr id="7" name="Title 1">
            <a:extLst>
              <a:ext uri="{FF2B5EF4-FFF2-40B4-BE49-F238E27FC236}">
                <a16:creationId xmlns:a16="http://schemas.microsoft.com/office/drawing/2014/main" id="{7EB7B65D-96DD-4A14-B555-47D5F70849C8}"/>
              </a:ext>
            </a:extLst>
          </p:cNvPr>
          <p:cNvSpPr>
            <a:spLocks noGrp="1"/>
          </p:cNvSpPr>
          <p:nvPr>
            <p:ph type="title" hasCustomPrompt="1"/>
          </p:nvPr>
        </p:nvSpPr>
        <p:spPr>
          <a:xfrm>
            <a:off x="792268" y="2224448"/>
            <a:ext cx="10561532" cy="1856096"/>
          </a:xfrm>
        </p:spPr>
        <p:txBody>
          <a:bodyPr>
            <a:noAutofit/>
          </a:bodyPr>
          <a:lstStyle>
            <a:lvl1pPr algn="ctr">
              <a:defRPr sz="7200"/>
            </a:lvl1pPr>
          </a:lstStyle>
          <a:p>
            <a:r>
              <a:rPr lang="en-US" dirty="0"/>
              <a:t>Presentation Title</a:t>
            </a:r>
          </a:p>
        </p:txBody>
      </p:sp>
    </p:spTree>
    <p:extLst>
      <p:ext uri="{BB962C8B-B14F-4D97-AF65-F5344CB8AC3E}">
        <p14:creationId xmlns:p14="http://schemas.microsoft.com/office/powerpoint/2010/main" val="16603277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BA8938-75BC-48CB-9F55-DA914FB2F725}"/>
              </a:ext>
            </a:extLst>
          </p:cNvPr>
          <p:cNvSpPr>
            <a:spLocks noGrp="1"/>
          </p:cNvSpPr>
          <p:nvPr>
            <p:ph type="title"/>
          </p:nvPr>
        </p:nvSpPr>
        <p:spPr>
          <a:xfrm>
            <a:off x="839788" y="365126"/>
            <a:ext cx="10515600" cy="1325563"/>
          </a:xfrm>
          <a:prstGeom prst="rect">
            <a:avLst/>
          </a:prstGeom>
        </p:spPr>
        <p:txBody>
          <a:bodyPr/>
          <a:lstStyle/>
          <a:p>
            <a:r>
              <a:rPr lang="en-US" dirty="0"/>
              <a:t>Click to edit Master title style</a:t>
            </a:r>
            <a:endParaRPr lang="fr-CH" dirty="0"/>
          </a:p>
        </p:txBody>
      </p:sp>
      <p:sp>
        <p:nvSpPr>
          <p:cNvPr id="3" name="Text Placeholder 2">
            <a:extLst>
              <a:ext uri="{FF2B5EF4-FFF2-40B4-BE49-F238E27FC236}">
                <a16:creationId xmlns:a16="http://schemas.microsoft.com/office/drawing/2014/main" id="{13A597E3-0F46-4EB3-ABEA-97053A9B8089}"/>
              </a:ext>
            </a:extLst>
          </p:cNvPr>
          <p:cNvSpPr>
            <a:spLocks noGrp="1"/>
          </p:cNvSpPr>
          <p:nvPr>
            <p:ph type="body" idx="1"/>
          </p:nvPr>
        </p:nvSpPr>
        <p:spPr>
          <a:xfrm>
            <a:off x="839789" y="1681163"/>
            <a:ext cx="5157787" cy="823912"/>
          </a:xfrm>
          <a:prstGeom prst="rect">
            <a:avLst/>
          </a:prstGeom>
        </p:spPr>
        <p:txBody>
          <a:bodyPr anchor="b"/>
          <a:lstStyle>
            <a:lvl1pPr marL="0" indent="0" algn="l">
              <a:buNone/>
              <a:defRPr sz="2400" b="1"/>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dirty="0"/>
              <a:t>Edit Master text styles</a:t>
            </a:r>
          </a:p>
        </p:txBody>
      </p:sp>
      <p:sp>
        <p:nvSpPr>
          <p:cNvPr id="4" name="Content Placeholder 3">
            <a:extLst>
              <a:ext uri="{FF2B5EF4-FFF2-40B4-BE49-F238E27FC236}">
                <a16:creationId xmlns:a16="http://schemas.microsoft.com/office/drawing/2014/main" id="{4C032AE0-27AC-4288-9037-99630CEBF32E}"/>
              </a:ext>
            </a:extLst>
          </p:cNvPr>
          <p:cNvSpPr>
            <a:spLocks noGrp="1"/>
          </p:cNvSpPr>
          <p:nvPr>
            <p:ph sz="half" idx="2"/>
          </p:nvPr>
        </p:nvSpPr>
        <p:spPr>
          <a:xfrm>
            <a:off x="839789" y="2505075"/>
            <a:ext cx="5157787" cy="3684588"/>
          </a:xfrm>
          <a:prstGeom prst="rect">
            <a:avLst/>
          </a:prstGeom>
        </p:spPr>
        <p:txBody>
          <a:bodyPr/>
          <a:lstStyle>
            <a:lvl1pPr algn="l">
              <a:defRPr/>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CH" dirty="0"/>
          </a:p>
        </p:txBody>
      </p:sp>
      <p:sp>
        <p:nvSpPr>
          <p:cNvPr id="5" name="Text Placeholder 4">
            <a:extLst>
              <a:ext uri="{FF2B5EF4-FFF2-40B4-BE49-F238E27FC236}">
                <a16:creationId xmlns:a16="http://schemas.microsoft.com/office/drawing/2014/main" id="{D436D96C-93A5-4CF5-A122-EFC870CB657F}"/>
              </a:ext>
            </a:extLst>
          </p:cNvPr>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dirty="0"/>
              <a:t>Edit Master text styles</a:t>
            </a:r>
          </a:p>
        </p:txBody>
      </p:sp>
      <p:sp>
        <p:nvSpPr>
          <p:cNvPr id="6" name="Content Placeholder 5">
            <a:extLst>
              <a:ext uri="{FF2B5EF4-FFF2-40B4-BE49-F238E27FC236}">
                <a16:creationId xmlns:a16="http://schemas.microsoft.com/office/drawing/2014/main" id="{CCA9CBB9-D693-4CEA-86F8-2205AA67CBA8}"/>
              </a:ext>
            </a:extLst>
          </p:cNvPr>
          <p:cNvSpPr>
            <a:spLocks noGrp="1"/>
          </p:cNvSpPr>
          <p:nvPr>
            <p:ph sz="quarter" idx="4"/>
          </p:nvPr>
        </p:nvSpPr>
        <p:spPr>
          <a:xfrm>
            <a:off x="6172200" y="2505075"/>
            <a:ext cx="5183188" cy="368458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CH"/>
          </a:p>
        </p:txBody>
      </p:sp>
    </p:spTree>
    <p:extLst>
      <p:ext uri="{BB962C8B-B14F-4D97-AF65-F5344CB8AC3E}">
        <p14:creationId xmlns:p14="http://schemas.microsoft.com/office/powerpoint/2010/main" val="63176170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854012" y="536575"/>
            <a:ext cx="10780776" cy="384721"/>
          </a:xfrm>
        </p:spPr>
        <p:txBody>
          <a:bodyPr vert="horz" wrap="square" lIns="0" tIns="0" rIns="0" bIns="0" rtlCol="0" anchor="t" anchorCtr="0">
            <a:spAutoFit/>
          </a:bodyPr>
          <a:lstStyle>
            <a:lvl1pPr>
              <a:defRPr lang="en-US" dirty="0"/>
            </a:lvl1pPr>
          </a:lstStyle>
          <a:p>
            <a:pPr lvl="0"/>
            <a:r>
              <a:rPr lang="en-US" dirty="0"/>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854012" y="999134"/>
            <a:ext cx="10766552" cy="276999"/>
          </a:xfrm>
          <a:prstGeom prst="rect">
            <a:avLst/>
          </a:prstGeom>
        </p:spPr>
        <p:txBody>
          <a:bodyPr vert="horz" wrap="square" lIns="0" tIns="0" rIns="0" bIns="0" rtlCol="0">
            <a:spAutoFit/>
          </a:bodyPr>
          <a:lstStyle>
            <a:lvl1pPr>
              <a:defRPr lang="en-US" sz="1800" b="0" dirty="0"/>
            </a:lvl1pPr>
          </a:lstStyle>
          <a:p>
            <a:pPr lvl="0">
              <a:buNone/>
            </a:pPr>
            <a:r>
              <a:rPr lang="en-US" dirty="0"/>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859454" y="631324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spcBef>
                <a:spcPts val="0"/>
              </a:spcBef>
              <a:spcAft>
                <a:spcPts val="0"/>
              </a:spcAft>
            </a:pPr>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854012" y="374545"/>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2" name="Footer Placeholder 8">
            <a:extLst>
              <a:ext uri="{FF2B5EF4-FFF2-40B4-BE49-F238E27FC236}">
                <a16:creationId xmlns:a16="http://schemas.microsoft.com/office/drawing/2014/main" id="{17E2CAFB-654B-41B4-B5BB-EF5BFD1ED1D8}"/>
              </a:ext>
            </a:extLst>
          </p:cNvPr>
          <p:cNvSpPr>
            <a:spLocks noGrp="1"/>
          </p:cNvSpPr>
          <p:nvPr>
            <p:ph type="ftr" sz="quarter" idx="3"/>
          </p:nvPr>
        </p:nvSpPr>
        <p:spPr>
          <a:xfrm>
            <a:off x="2358683" y="6498754"/>
            <a:ext cx="333425" cy="138499"/>
          </a:xfrm>
          <a:prstGeom prst="rect">
            <a:avLst/>
          </a:prstGeom>
        </p:spPr>
        <p:txBody>
          <a:bodyPr vert="horz" wrap="square" lIns="0" tIns="0" rIns="0" bIns="0" rtlCol="0" anchor="ctr">
            <a:spAutoFit/>
          </a:bodyPr>
          <a:lstStyle>
            <a:lvl1pPr algn="ctr">
              <a:defRPr sz="900">
                <a:solidFill>
                  <a:schemeClr val="tx1">
                    <a:tint val="75000"/>
                  </a:schemeClr>
                </a:solidFill>
              </a:defRPr>
            </a:lvl1pPr>
          </a:lstStyle>
          <a:p>
            <a:r>
              <a:rPr lang="en-US" dirty="0"/>
              <a:t>ERCO</a:t>
            </a:r>
          </a:p>
        </p:txBody>
      </p:sp>
      <p:sp>
        <p:nvSpPr>
          <p:cNvPr id="16" name="Slide Number">
            <a:extLst>
              <a:ext uri="{FF2B5EF4-FFF2-40B4-BE49-F238E27FC236}">
                <a16:creationId xmlns:a16="http://schemas.microsoft.com/office/drawing/2014/main" id="{A5C53AEF-300D-46C7-A057-9D6B706417A4}"/>
              </a:ext>
            </a:extLst>
          </p:cNvPr>
          <p:cNvSpPr>
            <a:spLocks noChangeArrowheads="1"/>
          </p:cNvSpPr>
          <p:nvPr userDrawn="1">
            <p:custDataLst>
              <p:tags r:id="rId7"/>
            </p:custDataLst>
          </p:nvPr>
        </p:nvSpPr>
        <p:spPr bwMode="black">
          <a:xfrm>
            <a:off x="11166583" y="64778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17" name="Date Placeholder 7">
            <a:extLst>
              <a:ext uri="{FF2B5EF4-FFF2-40B4-BE49-F238E27FC236}">
                <a16:creationId xmlns:a16="http://schemas.microsoft.com/office/drawing/2014/main" id="{2CA01E51-1CF3-46CD-96E0-F18A2C4AB544}"/>
              </a:ext>
            </a:extLst>
          </p:cNvPr>
          <p:cNvSpPr>
            <a:spLocks noGrp="1"/>
          </p:cNvSpPr>
          <p:nvPr>
            <p:ph type="dt" sz="half" idx="2"/>
          </p:nvPr>
        </p:nvSpPr>
        <p:spPr>
          <a:xfrm>
            <a:off x="868508" y="6479915"/>
            <a:ext cx="609448" cy="138499"/>
          </a:xfrm>
          <a:prstGeom prst="rect">
            <a:avLst/>
          </a:prstGeom>
        </p:spPr>
        <p:txBody>
          <a:bodyPr vert="horz" wrap="square" lIns="0" tIns="0" rIns="0" bIns="0" rtlCol="0" anchor="ctr">
            <a:spAutoFit/>
          </a:bodyPr>
          <a:lstStyle>
            <a:lvl1pPr algn="l">
              <a:defRPr sz="900">
                <a:solidFill>
                  <a:schemeClr val="tx1">
                    <a:tint val="75000"/>
                  </a:schemeClr>
                </a:solidFill>
              </a:defRPr>
            </a:lvl1pPr>
          </a:lstStyle>
          <a:p>
            <a:fld id="{90F0E685-6FEA-4FC2-86A2-14054598FE7C}" type="datetime5">
              <a:rPr lang="en-US" smtClean="0"/>
              <a:t>5-Jun-23</a:t>
            </a:fld>
            <a:endParaRPr lang="en-US" dirty="0"/>
          </a:p>
        </p:txBody>
      </p:sp>
      <p:sp>
        <p:nvSpPr>
          <p:cNvPr id="4" name="Chart Placeholder 3">
            <a:extLst>
              <a:ext uri="{FF2B5EF4-FFF2-40B4-BE49-F238E27FC236}">
                <a16:creationId xmlns:a16="http://schemas.microsoft.com/office/drawing/2014/main" id="{55B78697-3BA2-40C0-8739-A97494C447FC}"/>
              </a:ext>
            </a:extLst>
          </p:cNvPr>
          <p:cNvSpPr>
            <a:spLocks noGrp="1"/>
          </p:cNvSpPr>
          <p:nvPr>
            <p:ph type="chart" sz="quarter" idx="11"/>
          </p:nvPr>
        </p:nvSpPr>
        <p:spPr>
          <a:xfrm>
            <a:off x="854075" y="1352550"/>
            <a:ext cx="5051425" cy="4968875"/>
          </a:xfrm>
          <a:prstGeom prst="rect">
            <a:avLst/>
          </a:prstGeom>
        </p:spPr>
        <p:txBody>
          <a:bodyPr/>
          <a:lstStyle/>
          <a:p>
            <a:endParaRPr lang="en-GB" dirty="0"/>
          </a:p>
        </p:txBody>
      </p:sp>
      <p:sp>
        <p:nvSpPr>
          <p:cNvPr id="7" name="Content Placeholder 6">
            <a:extLst>
              <a:ext uri="{FF2B5EF4-FFF2-40B4-BE49-F238E27FC236}">
                <a16:creationId xmlns:a16="http://schemas.microsoft.com/office/drawing/2014/main" id="{5E1CCAD2-DA4B-449A-A870-65FDBC3AE575}"/>
              </a:ext>
            </a:extLst>
          </p:cNvPr>
          <p:cNvSpPr>
            <a:spLocks noGrp="1"/>
          </p:cNvSpPr>
          <p:nvPr>
            <p:ph sz="quarter" idx="12"/>
          </p:nvPr>
        </p:nvSpPr>
        <p:spPr>
          <a:xfrm>
            <a:off x="6496050" y="1352550"/>
            <a:ext cx="5124450" cy="4968875"/>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17239293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26487873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839788" y="517168"/>
            <a:ext cx="10775334" cy="427395"/>
          </a:xfrm>
          <a:prstGeom prst="rect">
            <a:avLst/>
          </a:prstGeom>
        </p:spPr>
        <p:txBody>
          <a:bodyPr rIns="365760" anchor="ctr">
            <a:noAutofit/>
          </a:bodyPr>
          <a:lstStyle>
            <a:lvl1pPr>
              <a:defRPr>
                <a:ln w="6350" cap="flat">
                  <a:noFill/>
                  <a:miter lim="800000"/>
                </a:ln>
              </a:defRPr>
            </a:lvl1pPr>
          </a:lstStyle>
          <a:p>
            <a:r>
              <a:rPr lang="en-US" dirty="0"/>
              <a:t>Click to edit Master title style</a:t>
            </a: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4"/>
            </p:custDataLst>
          </p:nvPr>
        </p:nvSpPr>
        <p:spPr>
          <a:xfrm>
            <a:off x="859454" y="631324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0"/>
              </a:spcBef>
              <a:spcAft>
                <a:spcPts val="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5"/>
            </p:custDataLst>
          </p:nvPr>
        </p:nvSpPr>
        <p:spPr>
          <a:xfrm>
            <a:off x="839788" y="378539"/>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2" name="Footer Placeholder 8">
            <a:extLst>
              <a:ext uri="{FF2B5EF4-FFF2-40B4-BE49-F238E27FC236}">
                <a16:creationId xmlns:a16="http://schemas.microsoft.com/office/drawing/2014/main" id="{56F63BC8-9F5C-4501-8B83-6629FAE0AA8B}"/>
              </a:ext>
            </a:extLst>
          </p:cNvPr>
          <p:cNvSpPr>
            <a:spLocks noGrp="1"/>
          </p:cNvSpPr>
          <p:nvPr>
            <p:ph type="ftr" sz="quarter" idx="3"/>
          </p:nvPr>
        </p:nvSpPr>
        <p:spPr>
          <a:xfrm>
            <a:off x="2358683" y="6479915"/>
            <a:ext cx="333425" cy="138499"/>
          </a:xfrm>
          <a:prstGeom prst="rect">
            <a:avLst/>
          </a:prstGeom>
        </p:spPr>
        <p:txBody>
          <a:bodyPr vert="horz" wrap="square" lIns="0" tIns="0" rIns="0" bIns="0" rtlCol="0" anchor="ctr">
            <a:spAutoFit/>
          </a:bodyPr>
          <a:lstStyle>
            <a:lvl1pPr algn="ctr">
              <a:defRPr sz="900">
                <a:solidFill>
                  <a:schemeClr val="tx1">
                    <a:tint val="75000"/>
                  </a:schemeClr>
                </a:solidFill>
              </a:defRPr>
            </a:lvl1pPr>
          </a:lstStyle>
          <a:p>
            <a:r>
              <a:rPr lang="en-US" dirty="0"/>
              <a:t>ERCO</a:t>
            </a:r>
          </a:p>
        </p:txBody>
      </p:sp>
      <p:sp>
        <p:nvSpPr>
          <p:cNvPr id="13" name="Date Placeholder 7">
            <a:extLst>
              <a:ext uri="{FF2B5EF4-FFF2-40B4-BE49-F238E27FC236}">
                <a16:creationId xmlns:a16="http://schemas.microsoft.com/office/drawing/2014/main" id="{D087C66E-521D-47E3-8920-27178D49D3DA}"/>
              </a:ext>
            </a:extLst>
          </p:cNvPr>
          <p:cNvSpPr>
            <a:spLocks noGrp="1"/>
          </p:cNvSpPr>
          <p:nvPr>
            <p:ph type="dt" sz="half" idx="2"/>
          </p:nvPr>
        </p:nvSpPr>
        <p:spPr>
          <a:xfrm>
            <a:off x="868508" y="6479915"/>
            <a:ext cx="609448" cy="138499"/>
          </a:xfrm>
          <a:prstGeom prst="rect">
            <a:avLst/>
          </a:prstGeom>
        </p:spPr>
        <p:txBody>
          <a:bodyPr vert="horz" wrap="square" lIns="0" tIns="0" rIns="0" bIns="0" rtlCol="0" anchor="ctr">
            <a:spAutoFit/>
          </a:bodyPr>
          <a:lstStyle>
            <a:lvl1pPr algn="l">
              <a:defRPr sz="900">
                <a:solidFill>
                  <a:schemeClr val="tx1">
                    <a:tint val="75000"/>
                  </a:schemeClr>
                </a:solidFill>
              </a:defRPr>
            </a:lvl1pPr>
          </a:lstStyle>
          <a:p>
            <a:fld id="{E649C6BF-5D4D-461C-9399-06A890A014C8}" type="datetime5">
              <a:rPr lang="en-US" smtClean="0"/>
              <a:t>5-Jun-23</a:t>
            </a:fld>
            <a:endParaRPr lang="en-US" dirty="0"/>
          </a:p>
        </p:txBody>
      </p:sp>
      <p:sp>
        <p:nvSpPr>
          <p:cNvPr id="14" name="Slide Number">
            <a:extLst>
              <a:ext uri="{FF2B5EF4-FFF2-40B4-BE49-F238E27FC236}">
                <a16:creationId xmlns:a16="http://schemas.microsoft.com/office/drawing/2014/main" id="{52AABF17-B549-4A1B-8ADD-EA51861D36B3}"/>
              </a:ext>
            </a:extLst>
          </p:cNvPr>
          <p:cNvSpPr>
            <a:spLocks noChangeArrowheads="1"/>
          </p:cNvSpPr>
          <p:nvPr userDrawn="1">
            <p:custDataLst>
              <p:tags r:id="rId6"/>
            </p:custDataLst>
          </p:nvPr>
        </p:nvSpPr>
        <p:spPr bwMode="black">
          <a:xfrm>
            <a:off x="11166583" y="64778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6" name="Text Placeholder 5">
            <a:extLst>
              <a:ext uri="{FF2B5EF4-FFF2-40B4-BE49-F238E27FC236}">
                <a16:creationId xmlns:a16="http://schemas.microsoft.com/office/drawing/2014/main" id="{AEC20220-43B0-4B16-8952-DCF7CF5EB014}"/>
              </a:ext>
            </a:extLst>
          </p:cNvPr>
          <p:cNvSpPr>
            <a:spLocks noGrp="1"/>
          </p:cNvSpPr>
          <p:nvPr>
            <p:ph type="body" sz="quarter" idx="11"/>
          </p:nvPr>
        </p:nvSpPr>
        <p:spPr>
          <a:xfrm>
            <a:off x="868362" y="1276350"/>
            <a:ext cx="10746759" cy="5064482"/>
          </a:xfrm>
          <a:prstGeom prst="rect">
            <a:avLst/>
          </a:prstGeo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6180167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2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A296D6-1213-427D-BD83-D57981BC5F3E}"/>
              </a:ext>
            </a:extLst>
          </p:cNvPr>
          <p:cNvSpPr>
            <a:spLocks noGrp="1"/>
          </p:cNvSpPr>
          <p:nvPr>
            <p:ph type="title"/>
          </p:nvPr>
        </p:nvSpPr>
        <p:spPr/>
        <p:txBody>
          <a:bodyPr/>
          <a:lstStyle/>
          <a:p>
            <a:r>
              <a:rPr lang="en-US" dirty="0"/>
              <a:t>Click to edit Master title style</a:t>
            </a:r>
            <a:endParaRPr lang="fr-CH" dirty="0"/>
          </a:p>
        </p:txBody>
      </p:sp>
      <p:sp>
        <p:nvSpPr>
          <p:cNvPr id="4" name="Content Placeholder 2">
            <a:extLst>
              <a:ext uri="{FF2B5EF4-FFF2-40B4-BE49-F238E27FC236}">
                <a16:creationId xmlns:a16="http://schemas.microsoft.com/office/drawing/2014/main" id="{6FDD6568-3F6E-4AA8-ACFF-3AB9B8529EA0}"/>
              </a:ext>
            </a:extLst>
          </p:cNvPr>
          <p:cNvSpPr>
            <a:spLocks noGrp="1"/>
          </p:cNvSpPr>
          <p:nvPr>
            <p:ph idx="13" hasCustomPrompt="1"/>
          </p:nvPr>
        </p:nvSpPr>
        <p:spPr>
          <a:xfrm>
            <a:off x="565354" y="1995319"/>
            <a:ext cx="10722076" cy="4497556"/>
          </a:xfrm>
          <a:prstGeom prst="rect">
            <a:avLst/>
          </a:prstGeom>
          <a:solidFill>
            <a:srgbClr val="CAD4C1"/>
          </a:solidFill>
        </p:spPr>
        <p:txBody>
          <a:bodyPr anchor="ctr"/>
          <a:lstStyle>
            <a:lvl1pPr marL="1000175" indent="-457223" algn="l">
              <a:buFont typeface="Arial" panose="020B0604020202020204" pitchFamily="34" charset="0"/>
              <a:buChar char="•"/>
              <a:defRPr sz="2560"/>
            </a:lvl1pPr>
          </a:lstStyle>
          <a:p>
            <a:pPr lvl="0"/>
            <a:r>
              <a:rPr lang="en-AU" dirty="0"/>
              <a:t>Your text goes here</a:t>
            </a:r>
          </a:p>
          <a:p>
            <a:pPr lvl="0"/>
            <a:r>
              <a:rPr lang="en-AU" dirty="0"/>
              <a:t>Sample</a:t>
            </a:r>
          </a:p>
          <a:p>
            <a:pPr lvl="0"/>
            <a:r>
              <a:rPr lang="en-AU" dirty="0"/>
              <a:t>Testing</a:t>
            </a:r>
          </a:p>
          <a:p>
            <a:pPr lvl="0"/>
            <a:r>
              <a:rPr lang="en-AU" dirty="0"/>
              <a:t>Other examples</a:t>
            </a:r>
            <a:endParaRPr lang="fr-CH" dirty="0"/>
          </a:p>
        </p:txBody>
      </p:sp>
    </p:spTree>
    <p:extLst>
      <p:ext uri="{BB962C8B-B14F-4D97-AF65-F5344CB8AC3E}">
        <p14:creationId xmlns:p14="http://schemas.microsoft.com/office/powerpoint/2010/main" val="356678026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4D7568"/>
        </a:solidFill>
        <a:effectLst/>
      </p:bgPr>
    </p:bg>
    <p:spTree>
      <p:nvGrpSpPr>
        <p:cNvPr id="1" name=""/>
        <p:cNvGrpSpPr/>
        <p:nvPr/>
      </p:nvGrpSpPr>
      <p:grpSpPr>
        <a:xfrm>
          <a:off x="0" y="0"/>
          <a:ext cx="0" cy="0"/>
          <a:chOff x="0" y="0"/>
          <a:chExt cx="0" cy="0"/>
        </a:xfrm>
      </p:grpSpPr>
      <p:pic>
        <p:nvPicPr>
          <p:cNvPr id="17" name="Picture 2">
            <a:extLst>
              <a:ext uri="{FF2B5EF4-FFF2-40B4-BE49-F238E27FC236}">
                <a16:creationId xmlns:a16="http://schemas.microsoft.com/office/drawing/2014/main" id="{79298EF3-24DA-4BEC-856B-E92B593C6E0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a:off x="-1" y="5462045"/>
            <a:ext cx="12192001" cy="1395955"/>
          </a:xfrm>
          <a:prstGeom prst="rect">
            <a:avLst/>
          </a:prstGeom>
        </p:spPr>
      </p:pic>
      <p:sp>
        <p:nvSpPr>
          <p:cNvPr id="18" name="TextBox 5">
            <a:extLst>
              <a:ext uri="{FF2B5EF4-FFF2-40B4-BE49-F238E27FC236}">
                <a16:creationId xmlns:a16="http://schemas.microsoft.com/office/drawing/2014/main" id="{608392D7-E0E0-4AE3-B799-10AE1134293B}"/>
              </a:ext>
            </a:extLst>
          </p:cNvPr>
          <p:cNvSpPr txBox="1"/>
          <p:nvPr userDrawn="1"/>
        </p:nvSpPr>
        <p:spPr>
          <a:xfrm>
            <a:off x="9686260" y="4376202"/>
            <a:ext cx="1566984" cy="679738"/>
          </a:xfrm>
          <a:prstGeom prst="rect">
            <a:avLst/>
          </a:prstGeom>
        </p:spPr>
        <p:txBody>
          <a:bodyPr wrap="square" lIns="0" tIns="0" rIns="0" bIns="0" rtlCol="0" anchor="t">
            <a:spAutoFit/>
          </a:bodyPr>
          <a:lstStyle/>
          <a:p>
            <a:pPr algn="r">
              <a:lnSpc>
                <a:spcPts val="5974"/>
              </a:lnSpc>
            </a:pPr>
            <a:r>
              <a:rPr lang="en-US" sz="3514" spc="175" dirty="0">
                <a:solidFill>
                  <a:srgbClr val="FFFFFF"/>
                </a:solidFill>
                <a:latin typeface="IBM Plex Sans Bold"/>
              </a:rPr>
              <a:t>Date</a:t>
            </a:r>
          </a:p>
        </p:txBody>
      </p:sp>
      <p:sp>
        <p:nvSpPr>
          <p:cNvPr id="19" name="TextBox 6">
            <a:extLst>
              <a:ext uri="{FF2B5EF4-FFF2-40B4-BE49-F238E27FC236}">
                <a16:creationId xmlns:a16="http://schemas.microsoft.com/office/drawing/2014/main" id="{E4D3B599-99FD-43FC-9D91-605660A36F7C}"/>
              </a:ext>
            </a:extLst>
          </p:cNvPr>
          <p:cNvSpPr txBox="1"/>
          <p:nvPr userDrawn="1"/>
        </p:nvSpPr>
        <p:spPr>
          <a:xfrm>
            <a:off x="1178663" y="1901348"/>
            <a:ext cx="7761999" cy="1051570"/>
          </a:xfrm>
          <a:prstGeom prst="rect">
            <a:avLst/>
          </a:prstGeom>
        </p:spPr>
        <p:txBody>
          <a:bodyPr wrap="square" lIns="0" tIns="0" rIns="0" bIns="0" rtlCol="0" anchor="t">
            <a:spAutoFit/>
          </a:bodyPr>
          <a:lstStyle/>
          <a:p>
            <a:pPr>
              <a:lnSpc>
                <a:spcPts val="8175"/>
              </a:lnSpc>
            </a:pPr>
            <a:r>
              <a:rPr lang="en-US" sz="7500" b="1" dirty="0">
                <a:solidFill>
                  <a:srgbClr val="FFFFFF"/>
                </a:solidFill>
                <a:latin typeface="IBM Plex Sans Bold"/>
              </a:rPr>
              <a:t>Title</a:t>
            </a:r>
          </a:p>
        </p:txBody>
      </p:sp>
      <p:sp>
        <p:nvSpPr>
          <p:cNvPr id="20" name="TextBox 7">
            <a:extLst>
              <a:ext uri="{FF2B5EF4-FFF2-40B4-BE49-F238E27FC236}">
                <a16:creationId xmlns:a16="http://schemas.microsoft.com/office/drawing/2014/main" id="{3CD143FC-AFC8-4DDE-B7C5-4AEB91B42167}"/>
              </a:ext>
            </a:extLst>
          </p:cNvPr>
          <p:cNvSpPr txBox="1"/>
          <p:nvPr userDrawn="1"/>
        </p:nvSpPr>
        <p:spPr>
          <a:xfrm>
            <a:off x="1297172" y="3188468"/>
            <a:ext cx="6188371" cy="476092"/>
          </a:xfrm>
          <a:prstGeom prst="rect">
            <a:avLst/>
          </a:prstGeom>
        </p:spPr>
        <p:txBody>
          <a:bodyPr wrap="square" lIns="0" tIns="0" rIns="0" bIns="0" rtlCol="0" anchor="t">
            <a:spAutoFit/>
          </a:bodyPr>
          <a:lstStyle/>
          <a:p>
            <a:pPr>
              <a:lnSpc>
                <a:spcPts val="4116"/>
              </a:lnSpc>
            </a:pPr>
            <a:r>
              <a:rPr lang="en-US" sz="2800" dirty="0">
                <a:solidFill>
                  <a:srgbClr val="FFFFFF"/>
                </a:solidFill>
                <a:latin typeface="IBM Plex Sans Thin"/>
              </a:rPr>
              <a:t>Intro line</a:t>
            </a:r>
          </a:p>
        </p:txBody>
      </p:sp>
      <p:sp>
        <p:nvSpPr>
          <p:cNvPr id="21" name="TextBox 8">
            <a:extLst>
              <a:ext uri="{FF2B5EF4-FFF2-40B4-BE49-F238E27FC236}">
                <a16:creationId xmlns:a16="http://schemas.microsoft.com/office/drawing/2014/main" id="{B898328E-40D9-43CD-90B5-827EEF015001}"/>
              </a:ext>
            </a:extLst>
          </p:cNvPr>
          <p:cNvSpPr txBox="1"/>
          <p:nvPr userDrawn="1"/>
        </p:nvSpPr>
        <p:spPr>
          <a:xfrm>
            <a:off x="1178663" y="906834"/>
            <a:ext cx="2457672" cy="827727"/>
          </a:xfrm>
          <a:prstGeom prst="rect">
            <a:avLst/>
          </a:prstGeom>
        </p:spPr>
        <p:txBody>
          <a:bodyPr wrap="square" lIns="0" tIns="0" rIns="0" bIns="0" rtlCol="0" anchor="t">
            <a:spAutoFit/>
          </a:bodyPr>
          <a:lstStyle/>
          <a:p>
            <a:pPr>
              <a:lnSpc>
                <a:spcPts val="7310"/>
              </a:lnSpc>
            </a:pPr>
            <a:r>
              <a:rPr lang="en-US" sz="4300" spc="215" dirty="0">
                <a:solidFill>
                  <a:srgbClr val="FFFFFF"/>
                </a:solidFill>
                <a:latin typeface="IBM Plex Sans Thin" panose="020B0604020202020204" charset="0"/>
              </a:rPr>
              <a:t>Text</a:t>
            </a:r>
          </a:p>
        </p:txBody>
      </p:sp>
    </p:spTree>
    <p:extLst>
      <p:ext uri="{BB962C8B-B14F-4D97-AF65-F5344CB8AC3E}">
        <p14:creationId xmlns:p14="http://schemas.microsoft.com/office/powerpoint/2010/main" val="338942445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A296D6-1213-427D-BD83-D57981BC5F3E}"/>
              </a:ext>
            </a:extLst>
          </p:cNvPr>
          <p:cNvSpPr>
            <a:spLocks noGrp="1"/>
          </p:cNvSpPr>
          <p:nvPr>
            <p:ph type="title"/>
          </p:nvPr>
        </p:nvSpPr>
        <p:spPr/>
        <p:txBody>
          <a:bodyPr/>
          <a:lstStyle/>
          <a:p>
            <a:r>
              <a:rPr lang="en-US" dirty="0"/>
              <a:t>Click to edit Master title style</a:t>
            </a:r>
            <a:endParaRPr lang="fr-CH" dirty="0"/>
          </a:p>
        </p:txBody>
      </p:sp>
      <p:sp>
        <p:nvSpPr>
          <p:cNvPr id="4" name="Content Placeholder 2">
            <a:extLst>
              <a:ext uri="{FF2B5EF4-FFF2-40B4-BE49-F238E27FC236}">
                <a16:creationId xmlns:a16="http://schemas.microsoft.com/office/drawing/2014/main" id="{6FDD6568-3F6E-4AA8-ACFF-3AB9B8529EA0}"/>
              </a:ext>
            </a:extLst>
          </p:cNvPr>
          <p:cNvSpPr>
            <a:spLocks noGrp="1"/>
          </p:cNvSpPr>
          <p:nvPr>
            <p:ph idx="13" hasCustomPrompt="1"/>
          </p:nvPr>
        </p:nvSpPr>
        <p:spPr>
          <a:xfrm>
            <a:off x="565354" y="1995319"/>
            <a:ext cx="10722076" cy="4497556"/>
          </a:xfrm>
          <a:prstGeom prst="rect">
            <a:avLst/>
          </a:prstGeom>
          <a:solidFill>
            <a:srgbClr val="CAD4C1"/>
          </a:solidFill>
        </p:spPr>
        <p:txBody>
          <a:bodyPr anchor="ctr"/>
          <a:lstStyle>
            <a:lvl1pPr marL="1000125" indent="-457200" algn="l">
              <a:buFont typeface="Arial" panose="020B0604020202020204" pitchFamily="34" charset="0"/>
              <a:buChar char="•"/>
              <a:defRPr sz="2560"/>
            </a:lvl1pPr>
          </a:lstStyle>
          <a:p>
            <a:pPr lvl="0"/>
            <a:r>
              <a:rPr lang="en-AU" dirty="0"/>
              <a:t>Your text goes here</a:t>
            </a:r>
          </a:p>
          <a:p>
            <a:pPr lvl="0"/>
            <a:r>
              <a:rPr lang="en-AU" dirty="0"/>
              <a:t>Sample</a:t>
            </a:r>
          </a:p>
          <a:p>
            <a:pPr lvl="0"/>
            <a:r>
              <a:rPr lang="en-AU" dirty="0"/>
              <a:t>Testing</a:t>
            </a:r>
          </a:p>
          <a:p>
            <a:pPr lvl="0"/>
            <a:r>
              <a:rPr lang="en-AU" dirty="0"/>
              <a:t>Other examples</a:t>
            </a:r>
            <a:endParaRPr lang="fr-CH" dirty="0"/>
          </a:p>
        </p:txBody>
      </p:sp>
    </p:spTree>
    <p:extLst>
      <p:ext uri="{BB962C8B-B14F-4D97-AF65-F5344CB8AC3E}">
        <p14:creationId xmlns:p14="http://schemas.microsoft.com/office/powerpoint/2010/main" val="267300720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D3F731-D0E3-4C0D-A4A7-ED5F7FCA8142}"/>
              </a:ext>
            </a:extLst>
          </p:cNvPr>
          <p:cNvSpPr>
            <a:spLocks noGrp="1"/>
          </p:cNvSpPr>
          <p:nvPr>
            <p:ph type="title" hasCustomPrompt="1"/>
          </p:nvPr>
        </p:nvSpPr>
        <p:spPr>
          <a:xfrm>
            <a:off x="0" y="1"/>
            <a:ext cx="12192000" cy="1690688"/>
          </a:xfrm>
          <a:prstGeom prst="rect">
            <a:avLst/>
          </a:prstGeom>
        </p:spPr>
        <p:txBody>
          <a:bodyPr anchor="ctr"/>
          <a:lstStyle>
            <a:lvl1pPr marL="542925" indent="0">
              <a:defRPr b="0"/>
            </a:lvl1pPr>
          </a:lstStyle>
          <a:p>
            <a:r>
              <a:rPr lang="en-US" dirty="0"/>
              <a:t>Title:</a:t>
            </a:r>
            <a:br>
              <a:rPr lang="en-US" dirty="0"/>
            </a:br>
            <a:r>
              <a:rPr lang="en-US" dirty="0"/>
              <a:t>	Subtitle</a:t>
            </a:r>
            <a:endParaRPr lang="fr-CH" dirty="0"/>
          </a:p>
        </p:txBody>
      </p:sp>
      <p:sp>
        <p:nvSpPr>
          <p:cNvPr id="7" name="Content Placeholder 2">
            <a:extLst>
              <a:ext uri="{FF2B5EF4-FFF2-40B4-BE49-F238E27FC236}">
                <a16:creationId xmlns:a16="http://schemas.microsoft.com/office/drawing/2014/main" id="{1E6B184D-9D17-4463-9B1B-3B27A5A04257}"/>
              </a:ext>
            </a:extLst>
          </p:cNvPr>
          <p:cNvSpPr>
            <a:spLocks noGrp="1"/>
          </p:cNvSpPr>
          <p:nvPr>
            <p:ph idx="10" hasCustomPrompt="1"/>
          </p:nvPr>
        </p:nvSpPr>
        <p:spPr>
          <a:xfrm>
            <a:off x="0" y="2088732"/>
            <a:ext cx="8065168" cy="741112"/>
          </a:xfrm>
          <a:prstGeom prst="rect">
            <a:avLst/>
          </a:prstGeom>
          <a:solidFill>
            <a:srgbClr val="CAD4C1"/>
          </a:solidFill>
        </p:spPr>
        <p:txBody>
          <a:bodyPr anchor="ctr"/>
          <a:lstStyle>
            <a:lvl1pPr marL="542925" indent="0" algn="l">
              <a:defRPr sz="2560"/>
            </a:lvl1pPr>
          </a:lstStyle>
          <a:p>
            <a:pPr lvl="0"/>
            <a:r>
              <a:rPr lang="en-AU" dirty="0"/>
              <a:t>Point 1</a:t>
            </a:r>
            <a:endParaRPr lang="fr-CH" dirty="0"/>
          </a:p>
        </p:txBody>
      </p:sp>
      <p:sp>
        <p:nvSpPr>
          <p:cNvPr id="18" name="Freeform 10">
            <a:extLst>
              <a:ext uri="{FF2B5EF4-FFF2-40B4-BE49-F238E27FC236}">
                <a16:creationId xmlns:a16="http://schemas.microsoft.com/office/drawing/2014/main" id="{C8360514-0B0E-4FAB-A09D-2DE1E745A639}"/>
              </a:ext>
            </a:extLst>
          </p:cNvPr>
          <p:cNvSpPr/>
          <p:nvPr/>
        </p:nvSpPr>
        <p:spPr>
          <a:xfrm>
            <a:off x="561157" y="5645302"/>
            <a:ext cx="123245" cy="106627"/>
          </a:xfrm>
          <a:custGeom>
            <a:avLst/>
            <a:gdLst/>
            <a:ahLst/>
            <a:cxnLst/>
            <a:rect l="l" t="t" r="r" b="b"/>
            <a:pathLst>
              <a:path w="450850" h="450850">
                <a:moveTo>
                  <a:pt x="450850" y="450850"/>
                </a:moveTo>
                <a:lnTo>
                  <a:pt x="0" y="450850"/>
                </a:lnTo>
                <a:lnTo>
                  <a:pt x="450850" y="0"/>
                </a:lnTo>
                <a:close/>
              </a:path>
            </a:pathLst>
          </a:custGeom>
          <a:solidFill>
            <a:srgbClr val="3E6055"/>
          </a:solidFill>
        </p:spPr>
      </p:sp>
      <p:sp>
        <p:nvSpPr>
          <p:cNvPr id="23" name="Content Placeholder 2">
            <a:extLst>
              <a:ext uri="{FF2B5EF4-FFF2-40B4-BE49-F238E27FC236}">
                <a16:creationId xmlns:a16="http://schemas.microsoft.com/office/drawing/2014/main" id="{3A345C08-8739-48FE-872B-70167008D035}"/>
              </a:ext>
            </a:extLst>
          </p:cNvPr>
          <p:cNvSpPr>
            <a:spLocks noGrp="1"/>
          </p:cNvSpPr>
          <p:nvPr>
            <p:ph idx="11" hasCustomPrompt="1"/>
          </p:nvPr>
        </p:nvSpPr>
        <p:spPr>
          <a:xfrm>
            <a:off x="0" y="4802686"/>
            <a:ext cx="8065168" cy="741112"/>
          </a:xfrm>
          <a:prstGeom prst="rect">
            <a:avLst/>
          </a:prstGeom>
          <a:solidFill>
            <a:srgbClr val="CAD4C1"/>
          </a:solidFill>
        </p:spPr>
        <p:txBody>
          <a:bodyPr anchor="ctr"/>
          <a:lstStyle>
            <a:lvl1pPr marL="542925" indent="0" algn="l">
              <a:defRPr sz="2560"/>
            </a:lvl1pPr>
          </a:lstStyle>
          <a:p>
            <a:pPr lvl="0"/>
            <a:r>
              <a:rPr lang="en-AU" dirty="0"/>
              <a:t>Point 2</a:t>
            </a:r>
            <a:endParaRPr lang="fr-CH" dirty="0"/>
          </a:p>
        </p:txBody>
      </p:sp>
      <p:sp>
        <p:nvSpPr>
          <p:cNvPr id="20" name="Content Placeholder 2">
            <a:extLst>
              <a:ext uri="{FF2B5EF4-FFF2-40B4-BE49-F238E27FC236}">
                <a16:creationId xmlns:a16="http://schemas.microsoft.com/office/drawing/2014/main" id="{B9A36F04-9552-4800-B4A8-D6B7C6364DD6}"/>
              </a:ext>
            </a:extLst>
          </p:cNvPr>
          <p:cNvSpPr>
            <a:spLocks noGrp="1"/>
          </p:cNvSpPr>
          <p:nvPr>
            <p:ph idx="12" hasCustomPrompt="1"/>
          </p:nvPr>
        </p:nvSpPr>
        <p:spPr>
          <a:xfrm>
            <a:off x="840657" y="2943875"/>
            <a:ext cx="10722077" cy="741112"/>
          </a:xfrm>
          <a:prstGeom prst="rect">
            <a:avLst/>
          </a:prstGeom>
          <a:solidFill>
            <a:srgbClr val="CAD4C1"/>
          </a:solidFill>
        </p:spPr>
        <p:txBody>
          <a:bodyPr anchor="ctr"/>
          <a:lstStyle>
            <a:lvl1pPr marL="542925" indent="0" algn="l">
              <a:defRPr sz="2560"/>
            </a:lvl1pPr>
          </a:lstStyle>
          <a:p>
            <a:pPr lvl="0"/>
            <a:r>
              <a:rPr lang="en-AU" dirty="0"/>
              <a:t>Point 1a</a:t>
            </a:r>
            <a:endParaRPr lang="fr-CH" dirty="0"/>
          </a:p>
        </p:txBody>
      </p:sp>
      <p:sp>
        <p:nvSpPr>
          <p:cNvPr id="21" name="Content Placeholder 2">
            <a:extLst>
              <a:ext uri="{FF2B5EF4-FFF2-40B4-BE49-F238E27FC236}">
                <a16:creationId xmlns:a16="http://schemas.microsoft.com/office/drawing/2014/main" id="{39AAAF21-4952-401F-AAF8-8ADB1D2AD015}"/>
              </a:ext>
            </a:extLst>
          </p:cNvPr>
          <p:cNvSpPr>
            <a:spLocks noGrp="1"/>
          </p:cNvSpPr>
          <p:nvPr>
            <p:ph idx="13" hasCustomPrompt="1"/>
          </p:nvPr>
        </p:nvSpPr>
        <p:spPr>
          <a:xfrm>
            <a:off x="840658" y="3873280"/>
            <a:ext cx="10722076" cy="741112"/>
          </a:xfrm>
          <a:prstGeom prst="rect">
            <a:avLst/>
          </a:prstGeom>
          <a:solidFill>
            <a:srgbClr val="CAD4C1"/>
          </a:solidFill>
        </p:spPr>
        <p:txBody>
          <a:bodyPr anchor="ctr"/>
          <a:lstStyle>
            <a:lvl1pPr marL="542925" indent="0" algn="l">
              <a:defRPr sz="2560"/>
            </a:lvl1pPr>
          </a:lstStyle>
          <a:p>
            <a:pPr lvl="0"/>
            <a:r>
              <a:rPr lang="en-AU" dirty="0"/>
              <a:t>Point 1b</a:t>
            </a:r>
            <a:endParaRPr lang="fr-CH" dirty="0"/>
          </a:p>
        </p:txBody>
      </p:sp>
      <p:sp>
        <p:nvSpPr>
          <p:cNvPr id="22" name="Content Placeholder 2">
            <a:extLst>
              <a:ext uri="{FF2B5EF4-FFF2-40B4-BE49-F238E27FC236}">
                <a16:creationId xmlns:a16="http://schemas.microsoft.com/office/drawing/2014/main" id="{A9FDBD89-7803-41C0-9BCC-15F362B61848}"/>
              </a:ext>
            </a:extLst>
          </p:cNvPr>
          <p:cNvSpPr>
            <a:spLocks noGrp="1"/>
          </p:cNvSpPr>
          <p:nvPr>
            <p:ph idx="14" hasCustomPrompt="1"/>
          </p:nvPr>
        </p:nvSpPr>
        <p:spPr>
          <a:xfrm>
            <a:off x="840658" y="5818902"/>
            <a:ext cx="10722076" cy="741112"/>
          </a:xfrm>
          <a:prstGeom prst="rect">
            <a:avLst/>
          </a:prstGeom>
          <a:solidFill>
            <a:srgbClr val="CAD4C1"/>
          </a:solidFill>
        </p:spPr>
        <p:txBody>
          <a:bodyPr anchor="ctr"/>
          <a:lstStyle>
            <a:lvl1pPr marL="542925" indent="0" algn="l">
              <a:defRPr sz="2560"/>
            </a:lvl1pPr>
          </a:lstStyle>
          <a:p>
            <a:pPr lvl="0"/>
            <a:r>
              <a:rPr lang="en-AU" dirty="0"/>
              <a:t>Point 1b</a:t>
            </a:r>
            <a:endParaRPr lang="fr-CH" dirty="0"/>
          </a:p>
        </p:txBody>
      </p:sp>
    </p:spTree>
    <p:extLst>
      <p:ext uri="{BB962C8B-B14F-4D97-AF65-F5344CB8AC3E}">
        <p14:creationId xmlns:p14="http://schemas.microsoft.com/office/powerpoint/2010/main" val="294284530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BA8938-75BC-48CB-9F55-DA914FB2F725}"/>
              </a:ext>
            </a:extLst>
          </p:cNvPr>
          <p:cNvSpPr>
            <a:spLocks noGrp="1"/>
          </p:cNvSpPr>
          <p:nvPr>
            <p:ph type="title"/>
          </p:nvPr>
        </p:nvSpPr>
        <p:spPr>
          <a:xfrm>
            <a:off x="839788" y="365125"/>
            <a:ext cx="10515600" cy="1325563"/>
          </a:xfrm>
          <a:prstGeom prst="rect">
            <a:avLst/>
          </a:prstGeom>
        </p:spPr>
        <p:txBody>
          <a:bodyPr/>
          <a:lstStyle/>
          <a:p>
            <a:r>
              <a:rPr lang="en-US" dirty="0"/>
              <a:t>Click to edit Master title style</a:t>
            </a:r>
            <a:endParaRPr lang="fr-CH" dirty="0"/>
          </a:p>
        </p:txBody>
      </p:sp>
      <p:sp>
        <p:nvSpPr>
          <p:cNvPr id="3" name="Text Placeholder 2">
            <a:extLst>
              <a:ext uri="{FF2B5EF4-FFF2-40B4-BE49-F238E27FC236}">
                <a16:creationId xmlns:a16="http://schemas.microsoft.com/office/drawing/2014/main" id="{13A597E3-0F46-4EB3-ABEA-97053A9B8089}"/>
              </a:ext>
            </a:extLst>
          </p:cNvPr>
          <p:cNvSpPr>
            <a:spLocks noGrp="1"/>
          </p:cNvSpPr>
          <p:nvPr>
            <p:ph type="body" idx="1"/>
          </p:nvPr>
        </p:nvSpPr>
        <p:spPr>
          <a:xfrm>
            <a:off x="839788" y="1681163"/>
            <a:ext cx="5157787" cy="823912"/>
          </a:xfrm>
          <a:prstGeom prst="rect">
            <a:avLst/>
          </a:prstGeom>
        </p:spPr>
        <p:txBody>
          <a:bodyPr anchor="b"/>
          <a:lstStyle>
            <a:lvl1pPr marL="0" indent="0" algn="l">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4" name="Content Placeholder 3">
            <a:extLst>
              <a:ext uri="{FF2B5EF4-FFF2-40B4-BE49-F238E27FC236}">
                <a16:creationId xmlns:a16="http://schemas.microsoft.com/office/drawing/2014/main" id="{4C032AE0-27AC-4288-9037-99630CEBF32E}"/>
              </a:ext>
            </a:extLst>
          </p:cNvPr>
          <p:cNvSpPr>
            <a:spLocks noGrp="1"/>
          </p:cNvSpPr>
          <p:nvPr>
            <p:ph sz="half" idx="2"/>
          </p:nvPr>
        </p:nvSpPr>
        <p:spPr>
          <a:xfrm>
            <a:off x="839788" y="2505075"/>
            <a:ext cx="5157787" cy="3684588"/>
          </a:xfrm>
          <a:prstGeom prst="rect">
            <a:avLst/>
          </a:prstGeom>
        </p:spPr>
        <p:txBody>
          <a:bodyPr/>
          <a:lstStyle>
            <a:lvl1pPr algn="l">
              <a:defRPr/>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CH" dirty="0"/>
          </a:p>
        </p:txBody>
      </p:sp>
      <p:sp>
        <p:nvSpPr>
          <p:cNvPr id="5" name="Text Placeholder 4">
            <a:extLst>
              <a:ext uri="{FF2B5EF4-FFF2-40B4-BE49-F238E27FC236}">
                <a16:creationId xmlns:a16="http://schemas.microsoft.com/office/drawing/2014/main" id="{D436D96C-93A5-4CF5-A122-EFC870CB657F}"/>
              </a:ext>
            </a:extLst>
          </p:cNvPr>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6" name="Content Placeholder 5">
            <a:extLst>
              <a:ext uri="{FF2B5EF4-FFF2-40B4-BE49-F238E27FC236}">
                <a16:creationId xmlns:a16="http://schemas.microsoft.com/office/drawing/2014/main" id="{CCA9CBB9-D693-4CEA-86F8-2205AA67CBA8}"/>
              </a:ext>
            </a:extLst>
          </p:cNvPr>
          <p:cNvSpPr>
            <a:spLocks noGrp="1"/>
          </p:cNvSpPr>
          <p:nvPr>
            <p:ph sz="quarter" idx="4"/>
          </p:nvPr>
        </p:nvSpPr>
        <p:spPr>
          <a:xfrm>
            <a:off x="6172200" y="2505075"/>
            <a:ext cx="5183188" cy="368458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CH"/>
          </a:p>
        </p:txBody>
      </p:sp>
    </p:spTree>
    <p:extLst>
      <p:ext uri="{BB962C8B-B14F-4D97-AF65-F5344CB8AC3E}">
        <p14:creationId xmlns:p14="http://schemas.microsoft.com/office/powerpoint/2010/main" val="290505944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8E133FD-2B13-4C75-890D-D1506D30F3F5}"/>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 y="0"/>
            <a:ext cx="12191999" cy="6858000"/>
          </a:xfrm>
          <a:prstGeom prst="rect">
            <a:avLst/>
          </a:prstGeom>
        </p:spPr>
      </p:pic>
    </p:spTree>
    <p:extLst>
      <p:ext uri="{BB962C8B-B14F-4D97-AF65-F5344CB8AC3E}">
        <p14:creationId xmlns:p14="http://schemas.microsoft.com/office/powerpoint/2010/main" val="258952798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FC541AD-931F-440A-9086-A8F90F1006C5}"/>
              </a:ext>
            </a:extLst>
          </p:cNvPr>
          <p:cNvSpPr>
            <a:spLocks noGrp="1"/>
          </p:cNvSpPr>
          <p:nvPr>
            <p:ph type="dt" sz="half" idx="10"/>
          </p:nvPr>
        </p:nvSpPr>
        <p:spPr>
          <a:xfrm>
            <a:off x="838200" y="6356350"/>
            <a:ext cx="2743200" cy="365125"/>
          </a:xfrm>
          <a:prstGeom prst="rect">
            <a:avLst/>
          </a:prstGeom>
        </p:spPr>
        <p:txBody>
          <a:bodyPr/>
          <a:lstStyle/>
          <a:p>
            <a:fld id="{9CB69BE1-7EE2-4DCA-9D7C-8E2841949C68}" type="datetimeFigureOut">
              <a:rPr lang="fr-CH" smtClean="0"/>
              <a:t>05.06.2023</a:t>
            </a:fld>
            <a:endParaRPr lang="fr-CH" dirty="0"/>
          </a:p>
        </p:txBody>
      </p:sp>
      <p:sp>
        <p:nvSpPr>
          <p:cNvPr id="3" name="Footer Placeholder 2">
            <a:extLst>
              <a:ext uri="{FF2B5EF4-FFF2-40B4-BE49-F238E27FC236}">
                <a16:creationId xmlns:a16="http://schemas.microsoft.com/office/drawing/2014/main" id="{4E495729-A6CD-428A-A676-5EC5DAA93E8F}"/>
              </a:ext>
            </a:extLst>
          </p:cNvPr>
          <p:cNvSpPr>
            <a:spLocks noGrp="1"/>
          </p:cNvSpPr>
          <p:nvPr>
            <p:ph type="ftr" sz="quarter" idx="11"/>
          </p:nvPr>
        </p:nvSpPr>
        <p:spPr>
          <a:xfrm>
            <a:off x="4038600" y="6356350"/>
            <a:ext cx="4114800" cy="365125"/>
          </a:xfrm>
          <a:prstGeom prst="rect">
            <a:avLst/>
          </a:prstGeom>
        </p:spPr>
        <p:txBody>
          <a:bodyPr/>
          <a:lstStyle/>
          <a:p>
            <a:endParaRPr lang="fr-CH" dirty="0"/>
          </a:p>
        </p:txBody>
      </p:sp>
      <p:sp>
        <p:nvSpPr>
          <p:cNvPr id="4" name="Slide Number Placeholder 3">
            <a:extLst>
              <a:ext uri="{FF2B5EF4-FFF2-40B4-BE49-F238E27FC236}">
                <a16:creationId xmlns:a16="http://schemas.microsoft.com/office/drawing/2014/main" id="{0A8C0970-FD76-4485-BD42-D4C2DBC785DB}"/>
              </a:ext>
            </a:extLst>
          </p:cNvPr>
          <p:cNvSpPr>
            <a:spLocks noGrp="1"/>
          </p:cNvSpPr>
          <p:nvPr>
            <p:ph type="sldNum" sz="quarter" idx="12"/>
          </p:nvPr>
        </p:nvSpPr>
        <p:spPr>
          <a:xfrm>
            <a:off x="8610600" y="6356350"/>
            <a:ext cx="2743200" cy="365125"/>
          </a:xfrm>
          <a:prstGeom prst="rect">
            <a:avLst/>
          </a:prstGeom>
        </p:spPr>
        <p:txBody>
          <a:bodyPr/>
          <a:lstStyle/>
          <a:p>
            <a:fld id="{E5FBD4B3-4394-46C3-A1C2-40436D007F4F}" type="slidenum">
              <a:rPr lang="fr-CH" smtClean="0"/>
              <a:t>‹#›</a:t>
            </a:fld>
            <a:endParaRPr lang="fr-CH" dirty="0"/>
          </a:p>
        </p:txBody>
      </p:sp>
      <p:pic>
        <p:nvPicPr>
          <p:cNvPr id="5" name="Picture 4">
            <a:extLst>
              <a:ext uri="{FF2B5EF4-FFF2-40B4-BE49-F238E27FC236}">
                <a16:creationId xmlns:a16="http://schemas.microsoft.com/office/drawing/2014/main" id="{86AFFA7D-438B-48A4-A59E-638FD27C1896}"/>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
            <a:ext cx="12192000" cy="6858001"/>
          </a:xfrm>
          <a:prstGeom prst="rect">
            <a:avLst/>
          </a:prstGeom>
        </p:spPr>
      </p:pic>
    </p:spTree>
    <p:extLst>
      <p:ext uri="{BB962C8B-B14F-4D97-AF65-F5344CB8AC3E}">
        <p14:creationId xmlns:p14="http://schemas.microsoft.com/office/powerpoint/2010/main" val="188776389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A7AC43-42F5-4C77-B616-3F19F3BFE5F2}"/>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endParaRPr lang="fr-CH"/>
          </a:p>
        </p:txBody>
      </p:sp>
      <p:sp>
        <p:nvSpPr>
          <p:cNvPr id="3" name="Picture Placeholder 2">
            <a:extLst>
              <a:ext uri="{FF2B5EF4-FFF2-40B4-BE49-F238E27FC236}">
                <a16:creationId xmlns:a16="http://schemas.microsoft.com/office/drawing/2014/main" id="{7D21B6D5-6F2A-4747-93D6-DD0D5B319C26}"/>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CH" dirty="0"/>
          </a:p>
        </p:txBody>
      </p:sp>
      <p:sp>
        <p:nvSpPr>
          <p:cNvPr id="4" name="Text Placeholder 3">
            <a:extLst>
              <a:ext uri="{FF2B5EF4-FFF2-40B4-BE49-F238E27FC236}">
                <a16:creationId xmlns:a16="http://schemas.microsoft.com/office/drawing/2014/main" id="{FEE57B9F-2AA0-4501-8A1B-5CCEF78A10B3}"/>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endParaRPr lang="en-US" dirty="0"/>
          </a:p>
        </p:txBody>
      </p:sp>
    </p:spTree>
    <p:extLst>
      <p:ext uri="{BB962C8B-B14F-4D97-AF65-F5344CB8AC3E}">
        <p14:creationId xmlns:p14="http://schemas.microsoft.com/office/powerpoint/2010/main" val="215138450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8E133FD-2B13-4C75-890D-D1506D30F3F5}"/>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1999" cy="6858000"/>
          </a:xfrm>
          <a:prstGeom prst="rect">
            <a:avLst/>
          </a:prstGeom>
        </p:spPr>
      </p:pic>
    </p:spTree>
    <p:extLst>
      <p:ext uri="{BB962C8B-B14F-4D97-AF65-F5344CB8AC3E}">
        <p14:creationId xmlns:p14="http://schemas.microsoft.com/office/powerpoint/2010/main" val="70178293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Vertical Title and Text">
    <p:spTree>
      <p:nvGrpSpPr>
        <p:cNvPr id="1" name=""/>
        <p:cNvGrpSpPr/>
        <p:nvPr/>
      </p:nvGrpSpPr>
      <p:grpSpPr>
        <a:xfrm>
          <a:off x="0" y="0"/>
          <a:ext cx="0" cy="0"/>
          <a:chOff x="0" y="0"/>
          <a:chExt cx="0" cy="0"/>
        </a:xfrm>
      </p:grpSpPr>
      <p:grpSp>
        <p:nvGrpSpPr>
          <p:cNvPr id="7" name="Group 2">
            <a:extLst>
              <a:ext uri="{FF2B5EF4-FFF2-40B4-BE49-F238E27FC236}">
                <a16:creationId xmlns:a16="http://schemas.microsoft.com/office/drawing/2014/main" id="{5A720A8F-79CF-46ED-93B8-CFD285EDF9A5}"/>
              </a:ext>
            </a:extLst>
          </p:cNvPr>
          <p:cNvGrpSpPr>
            <a:grpSpLocks noChangeAspect="1"/>
          </p:cNvGrpSpPr>
          <p:nvPr userDrawn="1"/>
        </p:nvGrpSpPr>
        <p:grpSpPr>
          <a:xfrm>
            <a:off x="867755" y="1500522"/>
            <a:ext cx="2568002" cy="1472975"/>
            <a:chOff x="0" y="0"/>
            <a:chExt cx="7981950" cy="4578350"/>
          </a:xfrm>
        </p:grpSpPr>
        <p:sp>
          <p:nvSpPr>
            <p:cNvPr id="8" name="Freeform 3">
              <a:extLst>
                <a:ext uri="{FF2B5EF4-FFF2-40B4-BE49-F238E27FC236}">
                  <a16:creationId xmlns:a16="http://schemas.microsoft.com/office/drawing/2014/main" id="{34B20044-7579-4579-91CE-16C226D59EEF}"/>
                </a:ext>
              </a:extLst>
            </p:cNvPr>
            <p:cNvSpPr/>
            <p:nvPr/>
          </p:nvSpPr>
          <p:spPr>
            <a:xfrm>
              <a:off x="765810" y="21590"/>
              <a:ext cx="6451600" cy="4326890"/>
            </a:xfrm>
            <a:custGeom>
              <a:avLst/>
              <a:gdLst/>
              <a:ahLst/>
              <a:cxnLst/>
              <a:rect l="l" t="t" r="r" b="b"/>
              <a:pathLst>
                <a:path w="6451600" h="4326890">
                  <a:moveTo>
                    <a:pt x="6224270" y="0"/>
                  </a:moveTo>
                  <a:lnTo>
                    <a:pt x="226060" y="0"/>
                  </a:lnTo>
                  <a:cubicBezTo>
                    <a:pt x="101600" y="0"/>
                    <a:pt x="0" y="101600"/>
                    <a:pt x="0" y="226060"/>
                  </a:cubicBezTo>
                  <a:lnTo>
                    <a:pt x="0" y="4326890"/>
                  </a:lnTo>
                  <a:lnTo>
                    <a:pt x="6451601" y="4326890"/>
                  </a:lnTo>
                  <a:lnTo>
                    <a:pt x="6451601" y="226060"/>
                  </a:lnTo>
                  <a:cubicBezTo>
                    <a:pt x="6450331" y="101600"/>
                    <a:pt x="6348731" y="0"/>
                    <a:pt x="6224270" y="0"/>
                  </a:cubicBezTo>
                  <a:close/>
                  <a:moveTo>
                    <a:pt x="6252210" y="4043680"/>
                  </a:moveTo>
                  <a:lnTo>
                    <a:pt x="196851" y="4043680"/>
                  </a:lnTo>
                  <a:lnTo>
                    <a:pt x="196851" y="255270"/>
                  </a:lnTo>
                  <a:lnTo>
                    <a:pt x="6252210" y="255270"/>
                  </a:lnTo>
                  <a:lnTo>
                    <a:pt x="6252210" y="4043680"/>
                  </a:lnTo>
                  <a:close/>
                </a:path>
              </a:pathLst>
            </a:custGeom>
            <a:solidFill>
              <a:srgbClr val="000000"/>
            </a:solidFill>
          </p:spPr>
        </p:sp>
        <p:sp>
          <p:nvSpPr>
            <p:cNvPr id="9" name="Freeform 4">
              <a:extLst>
                <a:ext uri="{FF2B5EF4-FFF2-40B4-BE49-F238E27FC236}">
                  <a16:creationId xmlns:a16="http://schemas.microsoft.com/office/drawing/2014/main" id="{ED3C80AD-E629-453F-886F-0D971B3F3C8F}"/>
                </a:ext>
              </a:extLst>
            </p:cNvPr>
            <p:cNvSpPr/>
            <p:nvPr/>
          </p:nvSpPr>
          <p:spPr>
            <a:xfrm>
              <a:off x="0" y="0"/>
              <a:ext cx="7981950" cy="4542790"/>
            </a:xfrm>
            <a:custGeom>
              <a:avLst/>
              <a:gdLst/>
              <a:ahLst/>
              <a:cxnLst/>
              <a:rect l="l" t="t" r="r" b="b"/>
              <a:pathLst>
                <a:path w="7981950" h="4542790">
                  <a:moveTo>
                    <a:pt x="7239000" y="4348480"/>
                  </a:moveTo>
                  <a:lnTo>
                    <a:pt x="7239000" y="243840"/>
                  </a:lnTo>
                  <a:cubicBezTo>
                    <a:pt x="7239000" y="109220"/>
                    <a:pt x="7129780" y="0"/>
                    <a:pt x="6995160" y="0"/>
                  </a:cubicBezTo>
                  <a:lnTo>
                    <a:pt x="985520" y="0"/>
                  </a:lnTo>
                  <a:cubicBezTo>
                    <a:pt x="852170" y="0"/>
                    <a:pt x="742950" y="109220"/>
                    <a:pt x="742950" y="243840"/>
                  </a:cubicBezTo>
                  <a:lnTo>
                    <a:pt x="742950" y="4349750"/>
                  </a:lnTo>
                  <a:lnTo>
                    <a:pt x="0" y="4349750"/>
                  </a:lnTo>
                  <a:lnTo>
                    <a:pt x="0" y="4447540"/>
                  </a:lnTo>
                  <a:cubicBezTo>
                    <a:pt x="0" y="4500880"/>
                    <a:pt x="43180" y="4542790"/>
                    <a:pt x="95250" y="4542790"/>
                  </a:cubicBezTo>
                  <a:lnTo>
                    <a:pt x="7886700" y="4542790"/>
                  </a:lnTo>
                  <a:cubicBezTo>
                    <a:pt x="7940040" y="4542790"/>
                    <a:pt x="7981950" y="4499610"/>
                    <a:pt x="7981950" y="4447540"/>
                  </a:cubicBezTo>
                  <a:lnTo>
                    <a:pt x="7981950" y="4349750"/>
                  </a:lnTo>
                  <a:lnTo>
                    <a:pt x="7239000" y="4349750"/>
                  </a:lnTo>
                  <a:close/>
                  <a:moveTo>
                    <a:pt x="4519930" y="4348480"/>
                  </a:moveTo>
                  <a:lnTo>
                    <a:pt x="4519930" y="4349750"/>
                  </a:lnTo>
                  <a:cubicBezTo>
                    <a:pt x="4519930" y="4403090"/>
                    <a:pt x="4476750" y="4445000"/>
                    <a:pt x="4424680" y="4445000"/>
                  </a:cubicBezTo>
                  <a:lnTo>
                    <a:pt x="3557270" y="4445000"/>
                  </a:lnTo>
                  <a:cubicBezTo>
                    <a:pt x="3503930" y="4445000"/>
                    <a:pt x="3462020" y="4401820"/>
                    <a:pt x="3462020" y="4349750"/>
                  </a:cubicBezTo>
                  <a:lnTo>
                    <a:pt x="3462020" y="4348480"/>
                  </a:lnTo>
                  <a:lnTo>
                    <a:pt x="765810" y="4348480"/>
                  </a:lnTo>
                  <a:lnTo>
                    <a:pt x="765810" y="247650"/>
                  </a:lnTo>
                  <a:cubicBezTo>
                    <a:pt x="765810" y="123190"/>
                    <a:pt x="867410" y="21590"/>
                    <a:pt x="991870" y="21590"/>
                  </a:cubicBezTo>
                  <a:lnTo>
                    <a:pt x="6990080" y="21590"/>
                  </a:lnTo>
                  <a:cubicBezTo>
                    <a:pt x="7114539" y="21590"/>
                    <a:pt x="7216139" y="123190"/>
                    <a:pt x="7216139" y="247650"/>
                  </a:cubicBezTo>
                  <a:lnTo>
                    <a:pt x="7216139" y="4348480"/>
                  </a:lnTo>
                  <a:lnTo>
                    <a:pt x="4519930" y="4348480"/>
                  </a:lnTo>
                  <a:close/>
                </a:path>
              </a:pathLst>
            </a:custGeom>
            <a:solidFill>
              <a:srgbClr val="E9E9E9"/>
            </a:solidFill>
          </p:spPr>
        </p:sp>
        <p:sp>
          <p:nvSpPr>
            <p:cNvPr id="10" name="Freeform 5">
              <a:extLst>
                <a:ext uri="{FF2B5EF4-FFF2-40B4-BE49-F238E27FC236}">
                  <a16:creationId xmlns:a16="http://schemas.microsoft.com/office/drawing/2014/main" id="{C9823E46-4A43-4AD1-B6E8-18B38B0BA781}"/>
                </a:ext>
              </a:extLst>
            </p:cNvPr>
            <p:cNvSpPr/>
            <p:nvPr/>
          </p:nvSpPr>
          <p:spPr>
            <a:xfrm>
              <a:off x="3460750" y="4349750"/>
              <a:ext cx="1059180" cy="96520"/>
            </a:xfrm>
            <a:custGeom>
              <a:avLst/>
              <a:gdLst/>
              <a:ahLst/>
              <a:cxnLst/>
              <a:rect l="l" t="t" r="r" b="b"/>
              <a:pathLst>
                <a:path w="1059180" h="96520">
                  <a:moveTo>
                    <a:pt x="96520" y="96520"/>
                  </a:moveTo>
                  <a:lnTo>
                    <a:pt x="963930" y="96520"/>
                  </a:lnTo>
                  <a:cubicBezTo>
                    <a:pt x="1017270" y="96520"/>
                    <a:pt x="1059180" y="53340"/>
                    <a:pt x="1059180" y="1270"/>
                  </a:cubicBezTo>
                  <a:lnTo>
                    <a:pt x="1059180" y="0"/>
                  </a:lnTo>
                  <a:lnTo>
                    <a:pt x="0" y="0"/>
                  </a:lnTo>
                  <a:lnTo>
                    <a:pt x="0" y="1270"/>
                  </a:lnTo>
                  <a:cubicBezTo>
                    <a:pt x="0" y="53340"/>
                    <a:pt x="43180" y="96520"/>
                    <a:pt x="96520" y="96520"/>
                  </a:cubicBezTo>
                  <a:close/>
                </a:path>
              </a:pathLst>
            </a:custGeom>
            <a:solidFill>
              <a:srgbClr val="CCCCCC"/>
            </a:solidFill>
          </p:spPr>
        </p:sp>
        <p:sp>
          <p:nvSpPr>
            <p:cNvPr id="11" name="Freeform 6">
              <a:extLst>
                <a:ext uri="{FF2B5EF4-FFF2-40B4-BE49-F238E27FC236}">
                  <a16:creationId xmlns:a16="http://schemas.microsoft.com/office/drawing/2014/main" id="{9F7E1CB3-6A9E-4288-9CE5-0CB35E53EE71}"/>
                </a:ext>
              </a:extLst>
            </p:cNvPr>
            <p:cNvSpPr/>
            <p:nvPr/>
          </p:nvSpPr>
          <p:spPr>
            <a:xfrm>
              <a:off x="163830" y="4542790"/>
              <a:ext cx="7654290" cy="35560"/>
            </a:xfrm>
            <a:custGeom>
              <a:avLst/>
              <a:gdLst/>
              <a:ahLst/>
              <a:cxnLst/>
              <a:rect l="l" t="t" r="r" b="b"/>
              <a:pathLst>
                <a:path w="7654290" h="35560">
                  <a:moveTo>
                    <a:pt x="0" y="0"/>
                  </a:moveTo>
                  <a:cubicBezTo>
                    <a:pt x="0" y="20320"/>
                    <a:pt x="16510" y="35560"/>
                    <a:pt x="35560" y="35560"/>
                  </a:cubicBezTo>
                  <a:lnTo>
                    <a:pt x="7618730" y="35560"/>
                  </a:lnTo>
                  <a:cubicBezTo>
                    <a:pt x="7639050" y="35560"/>
                    <a:pt x="7654290" y="19050"/>
                    <a:pt x="7654290" y="0"/>
                  </a:cubicBezTo>
                  <a:lnTo>
                    <a:pt x="0" y="0"/>
                  </a:lnTo>
                  <a:close/>
                </a:path>
              </a:pathLst>
            </a:custGeom>
            <a:solidFill>
              <a:srgbClr val="CCCCCC"/>
            </a:solidFill>
          </p:spPr>
        </p:sp>
        <p:sp>
          <p:nvSpPr>
            <p:cNvPr id="12" name="Freeform 7">
              <a:extLst>
                <a:ext uri="{FF2B5EF4-FFF2-40B4-BE49-F238E27FC236}">
                  <a16:creationId xmlns:a16="http://schemas.microsoft.com/office/drawing/2014/main" id="{BEEBC085-5407-4CB7-B054-CDEAE96FCB3F}"/>
                </a:ext>
              </a:extLst>
            </p:cNvPr>
            <p:cNvSpPr/>
            <p:nvPr/>
          </p:nvSpPr>
          <p:spPr>
            <a:xfrm>
              <a:off x="962660" y="276860"/>
              <a:ext cx="6055360" cy="3789680"/>
            </a:xfrm>
            <a:custGeom>
              <a:avLst/>
              <a:gdLst/>
              <a:ahLst/>
              <a:cxnLst/>
              <a:rect l="l" t="t" r="r" b="b"/>
              <a:pathLst>
                <a:path w="6055360" h="3789680">
                  <a:moveTo>
                    <a:pt x="0" y="0"/>
                  </a:moveTo>
                  <a:lnTo>
                    <a:pt x="6055360" y="0"/>
                  </a:lnTo>
                  <a:lnTo>
                    <a:pt x="6055360" y="3789680"/>
                  </a:lnTo>
                  <a:lnTo>
                    <a:pt x="0" y="3789680"/>
                  </a:lnTo>
                  <a:close/>
                </a:path>
              </a:pathLst>
            </a:custGeom>
            <a:blipFill>
              <a:blip r:embed="rId2" cstate="screen">
                <a:extLst>
                  <a:ext uri="{28A0092B-C50C-407E-A947-70E740481C1C}">
                    <a14:useLocalDpi xmlns:a14="http://schemas.microsoft.com/office/drawing/2010/main"/>
                  </a:ext>
                </a:extLst>
              </a:blip>
              <a:stretch>
                <a:fillRect l="12060" t="233" r="12076" b="5365"/>
              </a:stretch>
            </a:blipFill>
          </p:spPr>
        </p:sp>
      </p:grpSp>
      <p:grpSp>
        <p:nvGrpSpPr>
          <p:cNvPr id="13" name="Group 8">
            <a:extLst>
              <a:ext uri="{FF2B5EF4-FFF2-40B4-BE49-F238E27FC236}">
                <a16:creationId xmlns:a16="http://schemas.microsoft.com/office/drawing/2014/main" id="{13686F69-1C6E-4C24-AA84-E06DF6F678DD}"/>
              </a:ext>
            </a:extLst>
          </p:cNvPr>
          <p:cNvGrpSpPr>
            <a:grpSpLocks noChangeAspect="1"/>
          </p:cNvGrpSpPr>
          <p:nvPr userDrawn="1"/>
        </p:nvGrpSpPr>
        <p:grpSpPr>
          <a:xfrm>
            <a:off x="6926377" y="1203009"/>
            <a:ext cx="1417214" cy="1950124"/>
            <a:chOff x="0" y="0"/>
            <a:chExt cx="1854200" cy="2551430"/>
          </a:xfrm>
        </p:grpSpPr>
        <p:sp>
          <p:nvSpPr>
            <p:cNvPr id="14" name="Freeform 9">
              <a:extLst>
                <a:ext uri="{FF2B5EF4-FFF2-40B4-BE49-F238E27FC236}">
                  <a16:creationId xmlns:a16="http://schemas.microsoft.com/office/drawing/2014/main" id="{19F5180A-12EA-4EB4-A739-A46534DADA07}"/>
                </a:ext>
              </a:extLst>
            </p:cNvPr>
            <p:cNvSpPr/>
            <p:nvPr/>
          </p:nvSpPr>
          <p:spPr>
            <a:xfrm>
              <a:off x="5080" y="41910"/>
              <a:ext cx="1849120" cy="2509520"/>
            </a:xfrm>
            <a:custGeom>
              <a:avLst/>
              <a:gdLst/>
              <a:ahLst/>
              <a:cxnLst/>
              <a:rect l="l" t="t" r="r" b="b"/>
              <a:pathLst>
                <a:path w="1849120" h="2509520">
                  <a:moveTo>
                    <a:pt x="1849120" y="2509520"/>
                  </a:moveTo>
                  <a:lnTo>
                    <a:pt x="27940" y="2509520"/>
                  </a:lnTo>
                  <a:lnTo>
                    <a:pt x="0" y="2467610"/>
                  </a:lnTo>
                  <a:lnTo>
                    <a:pt x="27940" y="0"/>
                  </a:lnTo>
                  <a:lnTo>
                    <a:pt x="1849120" y="0"/>
                  </a:lnTo>
                  <a:close/>
                </a:path>
              </a:pathLst>
            </a:custGeom>
            <a:solidFill>
              <a:srgbClr val="BFBFBF"/>
            </a:solidFill>
          </p:spPr>
        </p:sp>
        <p:sp>
          <p:nvSpPr>
            <p:cNvPr id="15" name="Freeform 10">
              <a:extLst>
                <a:ext uri="{FF2B5EF4-FFF2-40B4-BE49-F238E27FC236}">
                  <a16:creationId xmlns:a16="http://schemas.microsoft.com/office/drawing/2014/main" id="{1610C3A9-4DAE-4280-A11F-33180321FD72}"/>
                </a:ext>
              </a:extLst>
            </p:cNvPr>
            <p:cNvSpPr/>
            <p:nvPr/>
          </p:nvSpPr>
          <p:spPr>
            <a:xfrm>
              <a:off x="19050" y="15240"/>
              <a:ext cx="1823720" cy="2526030"/>
            </a:xfrm>
            <a:custGeom>
              <a:avLst/>
              <a:gdLst/>
              <a:ahLst/>
              <a:cxnLst/>
              <a:rect l="l" t="t" r="r" b="b"/>
              <a:pathLst>
                <a:path w="1823720" h="2526030">
                  <a:moveTo>
                    <a:pt x="1823720" y="2526030"/>
                  </a:moveTo>
                  <a:lnTo>
                    <a:pt x="27940" y="2526030"/>
                  </a:lnTo>
                  <a:lnTo>
                    <a:pt x="0" y="2482850"/>
                  </a:lnTo>
                  <a:lnTo>
                    <a:pt x="27940" y="16510"/>
                  </a:lnTo>
                  <a:lnTo>
                    <a:pt x="1800860" y="0"/>
                  </a:lnTo>
                  <a:lnTo>
                    <a:pt x="1823720" y="41910"/>
                  </a:lnTo>
                  <a:close/>
                </a:path>
              </a:pathLst>
            </a:custGeom>
            <a:solidFill>
              <a:srgbClr val="FAFAFA"/>
            </a:solidFill>
          </p:spPr>
        </p:sp>
        <p:sp>
          <p:nvSpPr>
            <p:cNvPr id="16" name="Freeform 11">
              <a:extLst>
                <a:ext uri="{FF2B5EF4-FFF2-40B4-BE49-F238E27FC236}">
                  <a16:creationId xmlns:a16="http://schemas.microsoft.com/office/drawing/2014/main" id="{2C8C7F6F-F313-43B4-98E9-BFB0905C6B25}"/>
                </a:ext>
              </a:extLst>
            </p:cNvPr>
            <p:cNvSpPr/>
            <p:nvPr/>
          </p:nvSpPr>
          <p:spPr>
            <a:xfrm>
              <a:off x="0" y="0"/>
              <a:ext cx="1821180" cy="2509520"/>
            </a:xfrm>
            <a:custGeom>
              <a:avLst/>
              <a:gdLst/>
              <a:ahLst/>
              <a:cxnLst/>
              <a:rect l="l" t="t" r="r" b="b"/>
              <a:pathLst>
                <a:path w="1821180" h="2509520">
                  <a:moveTo>
                    <a:pt x="0" y="0"/>
                  </a:moveTo>
                  <a:lnTo>
                    <a:pt x="1821180" y="0"/>
                  </a:lnTo>
                  <a:lnTo>
                    <a:pt x="1821180" y="2509520"/>
                  </a:lnTo>
                  <a:lnTo>
                    <a:pt x="0" y="2509520"/>
                  </a:lnTo>
                  <a:close/>
                </a:path>
              </a:pathLst>
            </a:custGeom>
            <a:solidFill>
              <a:srgbClr val="E9E9E9"/>
            </a:solidFill>
          </p:spPr>
        </p:sp>
        <p:sp>
          <p:nvSpPr>
            <p:cNvPr id="17" name="Freeform 12">
              <a:extLst>
                <a:ext uri="{FF2B5EF4-FFF2-40B4-BE49-F238E27FC236}">
                  <a16:creationId xmlns:a16="http://schemas.microsoft.com/office/drawing/2014/main" id="{47F2C5ED-E76D-40C9-9819-BED8C3972B7D}"/>
                </a:ext>
              </a:extLst>
            </p:cNvPr>
            <p:cNvSpPr/>
            <p:nvPr/>
          </p:nvSpPr>
          <p:spPr>
            <a:xfrm>
              <a:off x="123190" y="52070"/>
              <a:ext cx="1642110" cy="2405380"/>
            </a:xfrm>
            <a:custGeom>
              <a:avLst/>
              <a:gdLst/>
              <a:ahLst/>
              <a:cxnLst/>
              <a:rect l="l" t="t" r="r" b="b"/>
              <a:pathLst>
                <a:path w="1642110" h="2405380">
                  <a:moveTo>
                    <a:pt x="0" y="0"/>
                  </a:moveTo>
                  <a:lnTo>
                    <a:pt x="1642110" y="0"/>
                  </a:lnTo>
                  <a:lnTo>
                    <a:pt x="1642110" y="2405380"/>
                  </a:lnTo>
                  <a:lnTo>
                    <a:pt x="0" y="2405380"/>
                  </a:lnTo>
                  <a:close/>
                </a:path>
              </a:pathLst>
            </a:custGeom>
            <a:blipFill>
              <a:blip r:embed="rId3" cstate="screen">
                <a:extLst>
                  <a:ext uri="{28A0092B-C50C-407E-A947-70E740481C1C}">
                    <a14:useLocalDpi xmlns:a14="http://schemas.microsoft.com/office/drawing/2010/main"/>
                  </a:ext>
                </a:extLst>
              </a:blip>
              <a:stretch>
                <a:fillRect t="2040" b="3683"/>
              </a:stretch>
            </a:blipFill>
          </p:spPr>
        </p:sp>
        <p:sp>
          <p:nvSpPr>
            <p:cNvPr id="18" name="Freeform 13">
              <a:extLst>
                <a:ext uri="{FF2B5EF4-FFF2-40B4-BE49-F238E27FC236}">
                  <a16:creationId xmlns:a16="http://schemas.microsoft.com/office/drawing/2014/main" id="{7C0CACEF-7312-44EC-90B8-C286637CB1D1}"/>
                </a:ext>
              </a:extLst>
            </p:cNvPr>
            <p:cNvSpPr/>
            <p:nvPr/>
          </p:nvSpPr>
          <p:spPr>
            <a:xfrm>
              <a:off x="38100" y="0"/>
              <a:ext cx="24130" cy="2509520"/>
            </a:xfrm>
            <a:custGeom>
              <a:avLst/>
              <a:gdLst/>
              <a:ahLst/>
              <a:cxnLst/>
              <a:rect l="l" t="t" r="r" b="b"/>
              <a:pathLst>
                <a:path w="24130" h="2509520">
                  <a:moveTo>
                    <a:pt x="0" y="0"/>
                  </a:moveTo>
                  <a:lnTo>
                    <a:pt x="24130" y="0"/>
                  </a:lnTo>
                  <a:lnTo>
                    <a:pt x="24130" y="2509520"/>
                  </a:lnTo>
                  <a:lnTo>
                    <a:pt x="0" y="2509520"/>
                  </a:lnTo>
                  <a:close/>
                </a:path>
              </a:pathLst>
            </a:custGeom>
            <a:solidFill>
              <a:srgbClr val="DBDBDB"/>
            </a:solidFill>
          </p:spPr>
        </p:sp>
      </p:grpSp>
      <p:grpSp>
        <p:nvGrpSpPr>
          <p:cNvPr id="19" name="Group 14">
            <a:extLst>
              <a:ext uri="{FF2B5EF4-FFF2-40B4-BE49-F238E27FC236}">
                <a16:creationId xmlns:a16="http://schemas.microsoft.com/office/drawing/2014/main" id="{C1109CDA-21E5-4134-9CBF-F1E1BC403786}"/>
              </a:ext>
            </a:extLst>
          </p:cNvPr>
          <p:cNvGrpSpPr>
            <a:grpSpLocks noChangeAspect="1"/>
          </p:cNvGrpSpPr>
          <p:nvPr userDrawn="1"/>
        </p:nvGrpSpPr>
        <p:grpSpPr>
          <a:xfrm>
            <a:off x="1585295" y="4263256"/>
            <a:ext cx="1417214" cy="1950124"/>
            <a:chOff x="0" y="0"/>
            <a:chExt cx="1854200" cy="2551430"/>
          </a:xfrm>
        </p:grpSpPr>
        <p:sp>
          <p:nvSpPr>
            <p:cNvPr id="20" name="Freeform 15">
              <a:extLst>
                <a:ext uri="{FF2B5EF4-FFF2-40B4-BE49-F238E27FC236}">
                  <a16:creationId xmlns:a16="http://schemas.microsoft.com/office/drawing/2014/main" id="{991168A2-6D7C-40AD-939E-DB3A77B50C1D}"/>
                </a:ext>
              </a:extLst>
            </p:cNvPr>
            <p:cNvSpPr/>
            <p:nvPr/>
          </p:nvSpPr>
          <p:spPr>
            <a:xfrm>
              <a:off x="5080" y="41910"/>
              <a:ext cx="1849120" cy="2509520"/>
            </a:xfrm>
            <a:custGeom>
              <a:avLst/>
              <a:gdLst/>
              <a:ahLst/>
              <a:cxnLst/>
              <a:rect l="l" t="t" r="r" b="b"/>
              <a:pathLst>
                <a:path w="1849120" h="2509520">
                  <a:moveTo>
                    <a:pt x="1849120" y="2509520"/>
                  </a:moveTo>
                  <a:lnTo>
                    <a:pt x="27940" y="2509520"/>
                  </a:lnTo>
                  <a:lnTo>
                    <a:pt x="0" y="2467610"/>
                  </a:lnTo>
                  <a:lnTo>
                    <a:pt x="27940" y="0"/>
                  </a:lnTo>
                  <a:lnTo>
                    <a:pt x="1849120" y="0"/>
                  </a:lnTo>
                  <a:close/>
                </a:path>
              </a:pathLst>
            </a:custGeom>
            <a:solidFill>
              <a:srgbClr val="BFBFBF"/>
            </a:solidFill>
          </p:spPr>
        </p:sp>
        <p:sp>
          <p:nvSpPr>
            <p:cNvPr id="21" name="Freeform 16">
              <a:extLst>
                <a:ext uri="{FF2B5EF4-FFF2-40B4-BE49-F238E27FC236}">
                  <a16:creationId xmlns:a16="http://schemas.microsoft.com/office/drawing/2014/main" id="{4F85D41A-DDAD-40F3-92F3-3044C86B9E92}"/>
                </a:ext>
              </a:extLst>
            </p:cNvPr>
            <p:cNvSpPr/>
            <p:nvPr/>
          </p:nvSpPr>
          <p:spPr>
            <a:xfrm>
              <a:off x="19050" y="15240"/>
              <a:ext cx="1823720" cy="2526030"/>
            </a:xfrm>
            <a:custGeom>
              <a:avLst/>
              <a:gdLst/>
              <a:ahLst/>
              <a:cxnLst/>
              <a:rect l="l" t="t" r="r" b="b"/>
              <a:pathLst>
                <a:path w="1823720" h="2526030">
                  <a:moveTo>
                    <a:pt x="1823720" y="2526030"/>
                  </a:moveTo>
                  <a:lnTo>
                    <a:pt x="27940" y="2526030"/>
                  </a:lnTo>
                  <a:lnTo>
                    <a:pt x="0" y="2482850"/>
                  </a:lnTo>
                  <a:lnTo>
                    <a:pt x="27940" y="16510"/>
                  </a:lnTo>
                  <a:lnTo>
                    <a:pt x="1800860" y="0"/>
                  </a:lnTo>
                  <a:lnTo>
                    <a:pt x="1823720" y="41910"/>
                  </a:lnTo>
                  <a:close/>
                </a:path>
              </a:pathLst>
            </a:custGeom>
            <a:solidFill>
              <a:srgbClr val="FAFAFA"/>
            </a:solidFill>
          </p:spPr>
        </p:sp>
        <p:sp>
          <p:nvSpPr>
            <p:cNvPr id="22" name="Freeform 17">
              <a:extLst>
                <a:ext uri="{FF2B5EF4-FFF2-40B4-BE49-F238E27FC236}">
                  <a16:creationId xmlns:a16="http://schemas.microsoft.com/office/drawing/2014/main" id="{5BA2BCC0-34DF-4332-A243-A53D06EBF2B2}"/>
                </a:ext>
              </a:extLst>
            </p:cNvPr>
            <p:cNvSpPr/>
            <p:nvPr/>
          </p:nvSpPr>
          <p:spPr>
            <a:xfrm>
              <a:off x="0" y="0"/>
              <a:ext cx="1821180" cy="2509520"/>
            </a:xfrm>
            <a:custGeom>
              <a:avLst/>
              <a:gdLst/>
              <a:ahLst/>
              <a:cxnLst/>
              <a:rect l="l" t="t" r="r" b="b"/>
              <a:pathLst>
                <a:path w="1821180" h="2509520">
                  <a:moveTo>
                    <a:pt x="0" y="0"/>
                  </a:moveTo>
                  <a:lnTo>
                    <a:pt x="1821180" y="0"/>
                  </a:lnTo>
                  <a:lnTo>
                    <a:pt x="1821180" y="2509520"/>
                  </a:lnTo>
                  <a:lnTo>
                    <a:pt x="0" y="2509520"/>
                  </a:lnTo>
                  <a:close/>
                </a:path>
              </a:pathLst>
            </a:custGeom>
            <a:solidFill>
              <a:srgbClr val="E9E9E9"/>
            </a:solidFill>
          </p:spPr>
        </p:sp>
        <p:sp>
          <p:nvSpPr>
            <p:cNvPr id="23" name="Freeform 18">
              <a:extLst>
                <a:ext uri="{FF2B5EF4-FFF2-40B4-BE49-F238E27FC236}">
                  <a16:creationId xmlns:a16="http://schemas.microsoft.com/office/drawing/2014/main" id="{7EB6D5D2-47F0-4291-8C71-70EFBDEFC063}"/>
                </a:ext>
              </a:extLst>
            </p:cNvPr>
            <p:cNvSpPr/>
            <p:nvPr/>
          </p:nvSpPr>
          <p:spPr>
            <a:xfrm>
              <a:off x="123190" y="52070"/>
              <a:ext cx="1642110" cy="2405380"/>
            </a:xfrm>
            <a:custGeom>
              <a:avLst/>
              <a:gdLst/>
              <a:ahLst/>
              <a:cxnLst/>
              <a:rect l="l" t="t" r="r" b="b"/>
              <a:pathLst>
                <a:path w="1642110" h="2405380">
                  <a:moveTo>
                    <a:pt x="0" y="0"/>
                  </a:moveTo>
                  <a:lnTo>
                    <a:pt x="1642110" y="0"/>
                  </a:lnTo>
                  <a:lnTo>
                    <a:pt x="1642110" y="2405380"/>
                  </a:lnTo>
                  <a:lnTo>
                    <a:pt x="0" y="2405380"/>
                  </a:lnTo>
                  <a:close/>
                </a:path>
              </a:pathLst>
            </a:custGeom>
            <a:blipFill>
              <a:blip r:embed="rId4" cstate="screen">
                <a:extLst>
                  <a:ext uri="{28A0092B-C50C-407E-A947-70E740481C1C}">
                    <a14:useLocalDpi xmlns:a14="http://schemas.microsoft.com/office/drawing/2010/main"/>
                  </a:ext>
                </a:extLst>
              </a:blip>
              <a:stretch>
                <a:fillRect l="10" t="2040" b="3683"/>
              </a:stretch>
            </a:blipFill>
          </p:spPr>
        </p:sp>
        <p:sp>
          <p:nvSpPr>
            <p:cNvPr id="24" name="Freeform 19">
              <a:extLst>
                <a:ext uri="{FF2B5EF4-FFF2-40B4-BE49-F238E27FC236}">
                  <a16:creationId xmlns:a16="http://schemas.microsoft.com/office/drawing/2014/main" id="{E1C08603-615C-4B74-A195-856F6128044C}"/>
                </a:ext>
              </a:extLst>
            </p:cNvPr>
            <p:cNvSpPr/>
            <p:nvPr/>
          </p:nvSpPr>
          <p:spPr>
            <a:xfrm>
              <a:off x="38100" y="0"/>
              <a:ext cx="24130" cy="2509520"/>
            </a:xfrm>
            <a:custGeom>
              <a:avLst/>
              <a:gdLst/>
              <a:ahLst/>
              <a:cxnLst/>
              <a:rect l="l" t="t" r="r" b="b"/>
              <a:pathLst>
                <a:path w="24130" h="2509520">
                  <a:moveTo>
                    <a:pt x="0" y="0"/>
                  </a:moveTo>
                  <a:lnTo>
                    <a:pt x="24130" y="0"/>
                  </a:lnTo>
                  <a:lnTo>
                    <a:pt x="24130" y="2509520"/>
                  </a:lnTo>
                  <a:lnTo>
                    <a:pt x="0" y="2509520"/>
                  </a:lnTo>
                  <a:close/>
                </a:path>
              </a:pathLst>
            </a:custGeom>
            <a:solidFill>
              <a:srgbClr val="DBDBDB"/>
            </a:solidFill>
          </p:spPr>
        </p:sp>
      </p:grpSp>
      <p:grpSp>
        <p:nvGrpSpPr>
          <p:cNvPr id="25" name="Group 20">
            <a:extLst>
              <a:ext uri="{FF2B5EF4-FFF2-40B4-BE49-F238E27FC236}">
                <a16:creationId xmlns:a16="http://schemas.microsoft.com/office/drawing/2014/main" id="{5D296683-AFCC-4436-9491-0ED2FEA19763}"/>
              </a:ext>
            </a:extLst>
          </p:cNvPr>
          <p:cNvGrpSpPr/>
          <p:nvPr userDrawn="1"/>
        </p:nvGrpSpPr>
        <p:grpSpPr>
          <a:xfrm>
            <a:off x="6381345" y="4219007"/>
            <a:ext cx="5043318" cy="2181794"/>
            <a:chOff x="0" y="0"/>
            <a:chExt cx="7276769" cy="2619073"/>
          </a:xfrm>
        </p:grpSpPr>
        <p:sp>
          <p:nvSpPr>
            <p:cNvPr id="26" name="Freeform 21">
              <a:extLst>
                <a:ext uri="{FF2B5EF4-FFF2-40B4-BE49-F238E27FC236}">
                  <a16:creationId xmlns:a16="http://schemas.microsoft.com/office/drawing/2014/main" id="{474AA63F-E990-4BE8-8621-D8DE6ED13CAC}"/>
                </a:ext>
              </a:extLst>
            </p:cNvPr>
            <p:cNvSpPr/>
            <p:nvPr/>
          </p:nvSpPr>
          <p:spPr>
            <a:xfrm>
              <a:off x="0" y="0"/>
              <a:ext cx="7276769" cy="2619073"/>
            </a:xfrm>
            <a:custGeom>
              <a:avLst/>
              <a:gdLst/>
              <a:ahLst/>
              <a:cxnLst/>
              <a:rect l="l" t="t" r="r" b="b"/>
              <a:pathLst>
                <a:path w="7276769" h="2619073">
                  <a:moveTo>
                    <a:pt x="7152308" y="59690"/>
                  </a:moveTo>
                  <a:cubicBezTo>
                    <a:pt x="7187868" y="59690"/>
                    <a:pt x="7217079" y="88900"/>
                    <a:pt x="7217079" y="124460"/>
                  </a:cubicBezTo>
                  <a:lnTo>
                    <a:pt x="7217079" y="2494613"/>
                  </a:lnTo>
                  <a:cubicBezTo>
                    <a:pt x="7217079" y="2530173"/>
                    <a:pt x="7187868" y="2559383"/>
                    <a:pt x="7152308" y="2559383"/>
                  </a:cubicBezTo>
                  <a:lnTo>
                    <a:pt x="124460" y="2559383"/>
                  </a:lnTo>
                  <a:cubicBezTo>
                    <a:pt x="88900" y="2559383"/>
                    <a:pt x="59690" y="2530173"/>
                    <a:pt x="59690" y="2494613"/>
                  </a:cubicBezTo>
                  <a:lnTo>
                    <a:pt x="59690" y="124460"/>
                  </a:lnTo>
                  <a:cubicBezTo>
                    <a:pt x="59690" y="88900"/>
                    <a:pt x="88900" y="59690"/>
                    <a:pt x="124460" y="59690"/>
                  </a:cubicBezTo>
                  <a:lnTo>
                    <a:pt x="7152308" y="59690"/>
                  </a:lnTo>
                  <a:moveTo>
                    <a:pt x="7152308" y="0"/>
                  </a:moveTo>
                  <a:lnTo>
                    <a:pt x="124460" y="0"/>
                  </a:lnTo>
                  <a:cubicBezTo>
                    <a:pt x="55880" y="0"/>
                    <a:pt x="0" y="55880"/>
                    <a:pt x="0" y="124460"/>
                  </a:cubicBezTo>
                  <a:lnTo>
                    <a:pt x="0" y="2494613"/>
                  </a:lnTo>
                  <a:cubicBezTo>
                    <a:pt x="0" y="2563193"/>
                    <a:pt x="55880" y="2619073"/>
                    <a:pt x="124460" y="2619073"/>
                  </a:cubicBezTo>
                  <a:lnTo>
                    <a:pt x="7152309" y="2619073"/>
                  </a:lnTo>
                  <a:cubicBezTo>
                    <a:pt x="7220889" y="2619073"/>
                    <a:pt x="7276769" y="2563193"/>
                    <a:pt x="7276769" y="2494613"/>
                  </a:cubicBezTo>
                  <a:lnTo>
                    <a:pt x="7276769" y="124460"/>
                  </a:lnTo>
                  <a:cubicBezTo>
                    <a:pt x="7276769" y="55880"/>
                    <a:pt x="7220889" y="0"/>
                    <a:pt x="7152308" y="0"/>
                  </a:cubicBezTo>
                  <a:close/>
                </a:path>
              </a:pathLst>
            </a:custGeom>
            <a:solidFill>
              <a:srgbClr val="719D8D"/>
            </a:solidFill>
          </p:spPr>
        </p:sp>
      </p:grpSp>
      <p:grpSp>
        <p:nvGrpSpPr>
          <p:cNvPr id="27" name="Group 22">
            <a:extLst>
              <a:ext uri="{FF2B5EF4-FFF2-40B4-BE49-F238E27FC236}">
                <a16:creationId xmlns:a16="http://schemas.microsoft.com/office/drawing/2014/main" id="{6B31F5D7-47E5-4F6F-B41D-FCDCE1F2C1ED}"/>
              </a:ext>
            </a:extLst>
          </p:cNvPr>
          <p:cNvGrpSpPr>
            <a:grpSpLocks noChangeAspect="1"/>
          </p:cNvGrpSpPr>
          <p:nvPr userDrawn="1"/>
        </p:nvGrpSpPr>
        <p:grpSpPr>
          <a:xfrm>
            <a:off x="7022629" y="4263256"/>
            <a:ext cx="1417214" cy="1950124"/>
            <a:chOff x="0" y="0"/>
            <a:chExt cx="1854200" cy="2551430"/>
          </a:xfrm>
        </p:grpSpPr>
        <p:sp>
          <p:nvSpPr>
            <p:cNvPr id="28" name="Freeform 23">
              <a:extLst>
                <a:ext uri="{FF2B5EF4-FFF2-40B4-BE49-F238E27FC236}">
                  <a16:creationId xmlns:a16="http://schemas.microsoft.com/office/drawing/2014/main" id="{A11E8171-4B7C-4452-9037-2BE7FA9D134D}"/>
                </a:ext>
              </a:extLst>
            </p:cNvPr>
            <p:cNvSpPr/>
            <p:nvPr/>
          </p:nvSpPr>
          <p:spPr>
            <a:xfrm>
              <a:off x="5080" y="41910"/>
              <a:ext cx="1849120" cy="2509520"/>
            </a:xfrm>
            <a:custGeom>
              <a:avLst/>
              <a:gdLst/>
              <a:ahLst/>
              <a:cxnLst/>
              <a:rect l="l" t="t" r="r" b="b"/>
              <a:pathLst>
                <a:path w="1849120" h="2509520">
                  <a:moveTo>
                    <a:pt x="1849120" y="2509520"/>
                  </a:moveTo>
                  <a:lnTo>
                    <a:pt x="27940" y="2509520"/>
                  </a:lnTo>
                  <a:lnTo>
                    <a:pt x="0" y="2467610"/>
                  </a:lnTo>
                  <a:lnTo>
                    <a:pt x="27940" y="0"/>
                  </a:lnTo>
                  <a:lnTo>
                    <a:pt x="1849120" y="0"/>
                  </a:lnTo>
                  <a:close/>
                </a:path>
              </a:pathLst>
            </a:custGeom>
            <a:solidFill>
              <a:srgbClr val="BFBFBF"/>
            </a:solidFill>
          </p:spPr>
        </p:sp>
        <p:sp>
          <p:nvSpPr>
            <p:cNvPr id="29" name="Freeform 24">
              <a:extLst>
                <a:ext uri="{FF2B5EF4-FFF2-40B4-BE49-F238E27FC236}">
                  <a16:creationId xmlns:a16="http://schemas.microsoft.com/office/drawing/2014/main" id="{B94E03E2-1A9A-4CF3-A22E-60B99B98D83A}"/>
                </a:ext>
              </a:extLst>
            </p:cNvPr>
            <p:cNvSpPr/>
            <p:nvPr/>
          </p:nvSpPr>
          <p:spPr>
            <a:xfrm>
              <a:off x="19050" y="15240"/>
              <a:ext cx="1823720" cy="2526030"/>
            </a:xfrm>
            <a:custGeom>
              <a:avLst/>
              <a:gdLst/>
              <a:ahLst/>
              <a:cxnLst/>
              <a:rect l="l" t="t" r="r" b="b"/>
              <a:pathLst>
                <a:path w="1823720" h="2526030">
                  <a:moveTo>
                    <a:pt x="1823720" y="2526030"/>
                  </a:moveTo>
                  <a:lnTo>
                    <a:pt x="27940" y="2526030"/>
                  </a:lnTo>
                  <a:lnTo>
                    <a:pt x="0" y="2482850"/>
                  </a:lnTo>
                  <a:lnTo>
                    <a:pt x="27940" y="16510"/>
                  </a:lnTo>
                  <a:lnTo>
                    <a:pt x="1800860" y="0"/>
                  </a:lnTo>
                  <a:lnTo>
                    <a:pt x="1823720" y="41910"/>
                  </a:lnTo>
                  <a:close/>
                </a:path>
              </a:pathLst>
            </a:custGeom>
            <a:solidFill>
              <a:srgbClr val="FAFAFA"/>
            </a:solidFill>
          </p:spPr>
        </p:sp>
        <p:sp>
          <p:nvSpPr>
            <p:cNvPr id="30" name="Freeform 25">
              <a:extLst>
                <a:ext uri="{FF2B5EF4-FFF2-40B4-BE49-F238E27FC236}">
                  <a16:creationId xmlns:a16="http://schemas.microsoft.com/office/drawing/2014/main" id="{07C094DA-8D6D-443D-8844-D48E0080EAD5}"/>
                </a:ext>
              </a:extLst>
            </p:cNvPr>
            <p:cNvSpPr/>
            <p:nvPr/>
          </p:nvSpPr>
          <p:spPr>
            <a:xfrm>
              <a:off x="0" y="0"/>
              <a:ext cx="1821180" cy="2509520"/>
            </a:xfrm>
            <a:custGeom>
              <a:avLst/>
              <a:gdLst/>
              <a:ahLst/>
              <a:cxnLst/>
              <a:rect l="l" t="t" r="r" b="b"/>
              <a:pathLst>
                <a:path w="1821180" h="2509520">
                  <a:moveTo>
                    <a:pt x="0" y="0"/>
                  </a:moveTo>
                  <a:lnTo>
                    <a:pt x="1821180" y="0"/>
                  </a:lnTo>
                  <a:lnTo>
                    <a:pt x="1821180" y="2509520"/>
                  </a:lnTo>
                  <a:lnTo>
                    <a:pt x="0" y="2509520"/>
                  </a:lnTo>
                  <a:close/>
                </a:path>
              </a:pathLst>
            </a:custGeom>
            <a:solidFill>
              <a:srgbClr val="E9E9E9"/>
            </a:solidFill>
          </p:spPr>
        </p:sp>
        <p:sp>
          <p:nvSpPr>
            <p:cNvPr id="31" name="Freeform 26">
              <a:extLst>
                <a:ext uri="{FF2B5EF4-FFF2-40B4-BE49-F238E27FC236}">
                  <a16:creationId xmlns:a16="http://schemas.microsoft.com/office/drawing/2014/main" id="{97C63914-8B4B-4705-8DAB-A3609D4AE258}"/>
                </a:ext>
              </a:extLst>
            </p:cNvPr>
            <p:cNvSpPr/>
            <p:nvPr/>
          </p:nvSpPr>
          <p:spPr>
            <a:xfrm>
              <a:off x="123190" y="52070"/>
              <a:ext cx="1642110" cy="2405380"/>
            </a:xfrm>
            <a:custGeom>
              <a:avLst/>
              <a:gdLst/>
              <a:ahLst/>
              <a:cxnLst/>
              <a:rect l="l" t="t" r="r" b="b"/>
              <a:pathLst>
                <a:path w="1642110" h="2405380">
                  <a:moveTo>
                    <a:pt x="0" y="0"/>
                  </a:moveTo>
                  <a:lnTo>
                    <a:pt x="1642110" y="0"/>
                  </a:lnTo>
                  <a:lnTo>
                    <a:pt x="1642110" y="2405380"/>
                  </a:lnTo>
                  <a:lnTo>
                    <a:pt x="0" y="2405380"/>
                  </a:lnTo>
                  <a:close/>
                </a:path>
              </a:pathLst>
            </a:custGeom>
            <a:blipFill>
              <a:blip r:embed="rId5" cstate="screen">
                <a:extLst>
                  <a:ext uri="{28A0092B-C50C-407E-A947-70E740481C1C}">
                    <a14:useLocalDpi xmlns:a14="http://schemas.microsoft.com/office/drawing/2010/main"/>
                  </a:ext>
                </a:extLst>
              </a:blip>
              <a:stretch>
                <a:fillRect t="2040" b="3683"/>
              </a:stretch>
            </a:blipFill>
          </p:spPr>
        </p:sp>
        <p:sp>
          <p:nvSpPr>
            <p:cNvPr id="32" name="Freeform 27">
              <a:extLst>
                <a:ext uri="{FF2B5EF4-FFF2-40B4-BE49-F238E27FC236}">
                  <a16:creationId xmlns:a16="http://schemas.microsoft.com/office/drawing/2014/main" id="{6FE48875-EFA4-4FC7-94BD-1B5F3E16A977}"/>
                </a:ext>
              </a:extLst>
            </p:cNvPr>
            <p:cNvSpPr/>
            <p:nvPr/>
          </p:nvSpPr>
          <p:spPr>
            <a:xfrm>
              <a:off x="38100" y="0"/>
              <a:ext cx="24130" cy="2509520"/>
            </a:xfrm>
            <a:custGeom>
              <a:avLst/>
              <a:gdLst/>
              <a:ahLst/>
              <a:cxnLst/>
              <a:rect l="l" t="t" r="r" b="b"/>
              <a:pathLst>
                <a:path w="24130" h="2509520">
                  <a:moveTo>
                    <a:pt x="0" y="0"/>
                  </a:moveTo>
                  <a:lnTo>
                    <a:pt x="24130" y="0"/>
                  </a:lnTo>
                  <a:lnTo>
                    <a:pt x="24130" y="2509520"/>
                  </a:lnTo>
                  <a:lnTo>
                    <a:pt x="0" y="2509520"/>
                  </a:lnTo>
                  <a:close/>
                </a:path>
              </a:pathLst>
            </a:custGeom>
            <a:solidFill>
              <a:srgbClr val="DBDBDB"/>
            </a:solidFill>
          </p:spPr>
        </p:sp>
      </p:grpSp>
      <p:grpSp>
        <p:nvGrpSpPr>
          <p:cNvPr id="33" name="Group 28">
            <a:extLst>
              <a:ext uri="{FF2B5EF4-FFF2-40B4-BE49-F238E27FC236}">
                <a16:creationId xmlns:a16="http://schemas.microsoft.com/office/drawing/2014/main" id="{370F6397-82E5-4E64-84A9-90EADEA34F18}"/>
              </a:ext>
            </a:extLst>
          </p:cNvPr>
          <p:cNvGrpSpPr/>
          <p:nvPr userDrawn="1"/>
        </p:nvGrpSpPr>
        <p:grpSpPr>
          <a:xfrm>
            <a:off x="786058" y="1158759"/>
            <a:ext cx="5043318" cy="2181794"/>
            <a:chOff x="0" y="0"/>
            <a:chExt cx="7276769" cy="2619073"/>
          </a:xfrm>
        </p:grpSpPr>
        <p:sp>
          <p:nvSpPr>
            <p:cNvPr id="34" name="Freeform 29">
              <a:extLst>
                <a:ext uri="{FF2B5EF4-FFF2-40B4-BE49-F238E27FC236}">
                  <a16:creationId xmlns:a16="http://schemas.microsoft.com/office/drawing/2014/main" id="{13AD8A2C-BFD6-4992-92F8-9B582C9507D8}"/>
                </a:ext>
              </a:extLst>
            </p:cNvPr>
            <p:cNvSpPr/>
            <p:nvPr/>
          </p:nvSpPr>
          <p:spPr>
            <a:xfrm>
              <a:off x="0" y="0"/>
              <a:ext cx="7276769" cy="2619073"/>
            </a:xfrm>
            <a:custGeom>
              <a:avLst/>
              <a:gdLst/>
              <a:ahLst/>
              <a:cxnLst/>
              <a:rect l="l" t="t" r="r" b="b"/>
              <a:pathLst>
                <a:path w="7276769" h="2619073">
                  <a:moveTo>
                    <a:pt x="7152308" y="59690"/>
                  </a:moveTo>
                  <a:cubicBezTo>
                    <a:pt x="7187868" y="59690"/>
                    <a:pt x="7217079" y="88900"/>
                    <a:pt x="7217079" y="124460"/>
                  </a:cubicBezTo>
                  <a:lnTo>
                    <a:pt x="7217079" y="2494613"/>
                  </a:lnTo>
                  <a:cubicBezTo>
                    <a:pt x="7217079" y="2530173"/>
                    <a:pt x="7187868" y="2559383"/>
                    <a:pt x="7152308" y="2559383"/>
                  </a:cubicBezTo>
                  <a:lnTo>
                    <a:pt x="124460" y="2559383"/>
                  </a:lnTo>
                  <a:cubicBezTo>
                    <a:pt x="88900" y="2559383"/>
                    <a:pt x="59690" y="2530173"/>
                    <a:pt x="59690" y="2494613"/>
                  </a:cubicBezTo>
                  <a:lnTo>
                    <a:pt x="59690" y="124460"/>
                  </a:lnTo>
                  <a:cubicBezTo>
                    <a:pt x="59690" y="88900"/>
                    <a:pt x="88900" y="59690"/>
                    <a:pt x="124460" y="59690"/>
                  </a:cubicBezTo>
                  <a:lnTo>
                    <a:pt x="7152308" y="59690"/>
                  </a:lnTo>
                  <a:moveTo>
                    <a:pt x="7152308" y="0"/>
                  </a:moveTo>
                  <a:lnTo>
                    <a:pt x="124460" y="0"/>
                  </a:lnTo>
                  <a:cubicBezTo>
                    <a:pt x="55880" y="0"/>
                    <a:pt x="0" y="55880"/>
                    <a:pt x="0" y="124460"/>
                  </a:cubicBezTo>
                  <a:lnTo>
                    <a:pt x="0" y="2494613"/>
                  </a:lnTo>
                  <a:cubicBezTo>
                    <a:pt x="0" y="2563193"/>
                    <a:pt x="55880" y="2619073"/>
                    <a:pt x="124460" y="2619073"/>
                  </a:cubicBezTo>
                  <a:lnTo>
                    <a:pt x="7152309" y="2619073"/>
                  </a:lnTo>
                  <a:cubicBezTo>
                    <a:pt x="7220889" y="2619073"/>
                    <a:pt x="7276769" y="2563193"/>
                    <a:pt x="7276769" y="2494613"/>
                  </a:cubicBezTo>
                  <a:lnTo>
                    <a:pt x="7276769" y="124460"/>
                  </a:lnTo>
                  <a:cubicBezTo>
                    <a:pt x="7276769" y="55880"/>
                    <a:pt x="7220889" y="0"/>
                    <a:pt x="7152308" y="0"/>
                  </a:cubicBezTo>
                  <a:close/>
                </a:path>
              </a:pathLst>
            </a:custGeom>
            <a:solidFill>
              <a:srgbClr val="719D8D"/>
            </a:solidFill>
          </p:spPr>
        </p:sp>
      </p:grpSp>
      <p:sp>
        <p:nvSpPr>
          <p:cNvPr id="35" name="TextBox 30">
            <a:extLst>
              <a:ext uri="{FF2B5EF4-FFF2-40B4-BE49-F238E27FC236}">
                <a16:creationId xmlns:a16="http://schemas.microsoft.com/office/drawing/2014/main" id="{CD6DB9E4-CD3F-42E5-A15C-FC0A307E4BEA}"/>
              </a:ext>
            </a:extLst>
          </p:cNvPr>
          <p:cNvSpPr txBox="1"/>
          <p:nvPr userDrawn="1"/>
        </p:nvSpPr>
        <p:spPr>
          <a:xfrm>
            <a:off x="8413085" y="1436059"/>
            <a:ext cx="2795355" cy="1516056"/>
          </a:xfrm>
          <a:prstGeom prst="rect">
            <a:avLst/>
          </a:prstGeom>
        </p:spPr>
        <p:txBody>
          <a:bodyPr wrap="square" lIns="0" tIns="0" rIns="0" bIns="0" rtlCol="0" anchor="t">
            <a:spAutoFit/>
          </a:bodyPr>
          <a:lstStyle/>
          <a:p>
            <a:pPr algn="ctr">
              <a:lnSpc>
                <a:spcPts val="4079"/>
              </a:lnSpc>
              <a:defRPr/>
            </a:pPr>
            <a:r>
              <a:rPr lang="en-GB" sz="2400" spc="120" dirty="0">
                <a:solidFill>
                  <a:srgbClr val="FFFFFF"/>
                </a:solidFill>
                <a:latin typeface="IBM Plex Sans Condensed"/>
                <a:hlinkClick r:id="rId6"/>
              </a:rPr>
              <a:t>2020 Special Appeal on Sexual Violence</a:t>
            </a:r>
            <a:endParaRPr lang="en-US" sz="2400" spc="120" dirty="0">
              <a:solidFill>
                <a:srgbClr val="FFFFFF"/>
              </a:solidFill>
              <a:latin typeface="IBM Plex Sans Condensed"/>
            </a:endParaRPr>
          </a:p>
        </p:txBody>
      </p:sp>
      <p:sp>
        <p:nvSpPr>
          <p:cNvPr id="36" name="TextBox 31">
            <a:extLst>
              <a:ext uri="{FF2B5EF4-FFF2-40B4-BE49-F238E27FC236}">
                <a16:creationId xmlns:a16="http://schemas.microsoft.com/office/drawing/2014/main" id="{F692ECE9-42E3-4396-9B54-76C74D2D8ABF}"/>
              </a:ext>
            </a:extLst>
          </p:cNvPr>
          <p:cNvSpPr txBox="1"/>
          <p:nvPr userDrawn="1"/>
        </p:nvSpPr>
        <p:spPr>
          <a:xfrm>
            <a:off x="3013186" y="4708970"/>
            <a:ext cx="2795355" cy="990271"/>
          </a:xfrm>
          <a:prstGeom prst="rect">
            <a:avLst/>
          </a:prstGeom>
        </p:spPr>
        <p:txBody>
          <a:bodyPr wrap="square" lIns="0" tIns="0" rIns="0" bIns="0" rtlCol="0" anchor="t">
            <a:spAutoFit/>
          </a:bodyPr>
          <a:lstStyle/>
          <a:p>
            <a:pPr algn="ctr">
              <a:lnSpc>
                <a:spcPts val="4079"/>
              </a:lnSpc>
              <a:defRPr/>
            </a:pPr>
            <a:r>
              <a:rPr lang="en-US" sz="2400" spc="120" dirty="0">
                <a:solidFill>
                  <a:srgbClr val="FFFFFF"/>
                </a:solidFill>
                <a:latin typeface="IBM Plex Sans Condensed"/>
                <a:hlinkClick r:id="rId7"/>
              </a:rPr>
              <a:t>ICRC Strategy on Sexual Violence </a:t>
            </a:r>
            <a:endParaRPr lang="en-US" sz="2400" spc="120" dirty="0">
              <a:solidFill>
                <a:srgbClr val="FFFFFF"/>
              </a:solidFill>
              <a:latin typeface="IBM Plex Sans Condensed"/>
            </a:endParaRPr>
          </a:p>
        </p:txBody>
      </p:sp>
      <p:sp>
        <p:nvSpPr>
          <p:cNvPr id="37" name="TextBox 32">
            <a:extLst>
              <a:ext uri="{FF2B5EF4-FFF2-40B4-BE49-F238E27FC236}">
                <a16:creationId xmlns:a16="http://schemas.microsoft.com/office/drawing/2014/main" id="{82071691-DAEF-447C-946B-C81B6955AB58}"/>
              </a:ext>
            </a:extLst>
          </p:cNvPr>
          <p:cNvSpPr txBox="1"/>
          <p:nvPr userDrawn="1"/>
        </p:nvSpPr>
        <p:spPr>
          <a:xfrm>
            <a:off x="8406999" y="4446077"/>
            <a:ext cx="2795355" cy="1516056"/>
          </a:xfrm>
          <a:prstGeom prst="rect">
            <a:avLst/>
          </a:prstGeom>
        </p:spPr>
        <p:txBody>
          <a:bodyPr wrap="square" lIns="0" tIns="0" rIns="0" bIns="0" rtlCol="0" anchor="t">
            <a:spAutoFit/>
          </a:bodyPr>
          <a:lstStyle/>
          <a:p>
            <a:pPr algn="ctr">
              <a:lnSpc>
                <a:spcPts val="4079"/>
              </a:lnSpc>
              <a:defRPr/>
            </a:pPr>
            <a:r>
              <a:rPr lang="en-US" sz="2400" spc="120" dirty="0">
                <a:solidFill>
                  <a:srgbClr val="FFFFFF"/>
                </a:solidFill>
                <a:latin typeface="IBM Plex Sans Condensed"/>
                <a:hlinkClick r:id="rId8"/>
              </a:rPr>
              <a:t>Minimum Accountability Requirements</a:t>
            </a:r>
            <a:endParaRPr lang="en-US" sz="2400" spc="120" dirty="0">
              <a:solidFill>
                <a:srgbClr val="FFFFFF"/>
              </a:solidFill>
              <a:latin typeface="IBM Plex Sans Condensed"/>
            </a:endParaRPr>
          </a:p>
        </p:txBody>
      </p:sp>
      <p:grpSp>
        <p:nvGrpSpPr>
          <p:cNvPr id="38" name="Group 33">
            <a:extLst>
              <a:ext uri="{FF2B5EF4-FFF2-40B4-BE49-F238E27FC236}">
                <a16:creationId xmlns:a16="http://schemas.microsoft.com/office/drawing/2014/main" id="{1E8E5A6B-EB4F-48AB-BBD5-C00654D5CCC3}"/>
              </a:ext>
            </a:extLst>
          </p:cNvPr>
          <p:cNvGrpSpPr/>
          <p:nvPr userDrawn="1"/>
        </p:nvGrpSpPr>
        <p:grpSpPr>
          <a:xfrm>
            <a:off x="824470" y="4149362"/>
            <a:ext cx="5043318" cy="2181794"/>
            <a:chOff x="0" y="0"/>
            <a:chExt cx="7276769" cy="2619073"/>
          </a:xfrm>
        </p:grpSpPr>
        <p:sp>
          <p:nvSpPr>
            <p:cNvPr id="39" name="Freeform 34">
              <a:extLst>
                <a:ext uri="{FF2B5EF4-FFF2-40B4-BE49-F238E27FC236}">
                  <a16:creationId xmlns:a16="http://schemas.microsoft.com/office/drawing/2014/main" id="{1F6911AD-F7B6-4336-B85F-7396D2A84B8D}"/>
                </a:ext>
              </a:extLst>
            </p:cNvPr>
            <p:cNvSpPr/>
            <p:nvPr/>
          </p:nvSpPr>
          <p:spPr>
            <a:xfrm>
              <a:off x="0" y="0"/>
              <a:ext cx="7276769" cy="2619073"/>
            </a:xfrm>
            <a:custGeom>
              <a:avLst/>
              <a:gdLst/>
              <a:ahLst/>
              <a:cxnLst/>
              <a:rect l="l" t="t" r="r" b="b"/>
              <a:pathLst>
                <a:path w="7276769" h="2619073">
                  <a:moveTo>
                    <a:pt x="7152308" y="59690"/>
                  </a:moveTo>
                  <a:cubicBezTo>
                    <a:pt x="7187868" y="59690"/>
                    <a:pt x="7217079" y="88900"/>
                    <a:pt x="7217079" y="124460"/>
                  </a:cubicBezTo>
                  <a:lnTo>
                    <a:pt x="7217079" y="2494613"/>
                  </a:lnTo>
                  <a:cubicBezTo>
                    <a:pt x="7217079" y="2530173"/>
                    <a:pt x="7187868" y="2559383"/>
                    <a:pt x="7152308" y="2559383"/>
                  </a:cubicBezTo>
                  <a:lnTo>
                    <a:pt x="124460" y="2559383"/>
                  </a:lnTo>
                  <a:cubicBezTo>
                    <a:pt x="88900" y="2559383"/>
                    <a:pt x="59690" y="2530173"/>
                    <a:pt x="59690" y="2494613"/>
                  </a:cubicBezTo>
                  <a:lnTo>
                    <a:pt x="59690" y="124460"/>
                  </a:lnTo>
                  <a:cubicBezTo>
                    <a:pt x="59690" y="88900"/>
                    <a:pt x="88900" y="59690"/>
                    <a:pt x="124460" y="59690"/>
                  </a:cubicBezTo>
                  <a:lnTo>
                    <a:pt x="7152308" y="59690"/>
                  </a:lnTo>
                  <a:moveTo>
                    <a:pt x="7152308" y="0"/>
                  </a:moveTo>
                  <a:lnTo>
                    <a:pt x="124460" y="0"/>
                  </a:lnTo>
                  <a:cubicBezTo>
                    <a:pt x="55880" y="0"/>
                    <a:pt x="0" y="55880"/>
                    <a:pt x="0" y="124460"/>
                  </a:cubicBezTo>
                  <a:lnTo>
                    <a:pt x="0" y="2494613"/>
                  </a:lnTo>
                  <a:cubicBezTo>
                    <a:pt x="0" y="2563193"/>
                    <a:pt x="55880" y="2619073"/>
                    <a:pt x="124460" y="2619073"/>
                  </a:cubicBezTo>
                  <a:lnTo>
                    <a:pt x="7152309" y="2619073"/>
                  </a:lnTo>
                  <a:cubicBezTo>
                    <a:pt x="7220889" y="2619073"/>
                    <a:pt x="7276769" y="2563193"/>
                    <a:pt x="7276769" y="2494613"/>
                  </a:cubicBezTo>
                  <a:lnTo>
                    <a:pt x="7276769" y="124460"/>
                  </a:lnTo>
                  <a:cubicBezTo>
                    <a:pt x="7276769" y="55880"/>
                    <a:pt x="7220889" y="0"/>
                    <a:pt x="7152308" y="0"/>
                  </a:cubicBezTo>
                  <a:close/>
                </a:path>
              </a:pathLst>
            </a:custGeom>
            <a:solidFill>
              <a:srgbClr val="719D8D"/>
            </a:solidFill>
          </p:spPr>
        </p:sp>
      </p:grpSp>
      <p:grpSp>
        <p:nvGrpSpPr>
          <p:cNvPr id="40" name="Group 35">
            <a:extLst>
              <a:ext uri="{FF2B5EF4-FFF2-40B4-BE49-F238E27FC236}">
                <a16:creationId xmlns:a16="http://schemas.microsoft.com/office/drawing/2014/main" id="{54179A85-7AF7-4D37-860D-C3DC33D245E2}"/>
              </a:ext>
            </a:extLst>
          </p:cNvPr>
          <p:cNvGrpSpPr/>
          <p:nvPr userDrawn="1"/>
        </p:nvGrpSpPr>
        <p:grpSpPr>
          <a:xfrm>
            <a:off x="6285093" y="1158759"/>
            <a:ext cx="5043318" cy="2181794"/>
            <a:chOff x="0" y="0"/>
            <a:chExt cx="7276769" cy="2619073"/>
          </a:xfrm>
        </p:grpSpPr>
        <p:sp>
          <p:nvSpPr>
            <p:cNvPr id="41" name="Freeform 36">
              <a:extLst>
                <a:ext uri="{FF2B5EF4-FFF2-40B4-BE49-F238E27FC236}">
                  <a16:creationId xmlns:a16="http://schemas.microsoft.com/office/drawing/2014/main" id="{C305D342-BC4C-4125-8306-D26275AD8662}"/>
                </a:ext>
              </a:extLst>
            </p:cNvPr>
            <p:cNvSpPr/>
            <p:nvPr/>
          </p:nvSpPr>
          <p:spPr>
            <a:xfrm>
              <a:off x="0" y="0"/>
              <a:ext cx="7276769" cy="2619073"/>
            </a:xfrm>
            <a:custGeom>
              <a:avLst/>
              <a:gdLst/>
              <a:ahLst/>
              <a:cxnLst/>
              <a:rect l="l" t="t" r="r" b="b"/>
              <a:pathLst>
                <a:path w="7276769" h="2619073">
                  <a:moveTo>
                    <a:pt x="7152308" y="59690"/>
                  </a:moveTo>
                  <a:cubicBezTo>
                    <a:pt x="7187868" y="59690"/>
                    <a:pt x="7217079" y="88900"/>
                    <a:pt x="7217079" y="124460"/>
                  </a:cubicBezTo>
                  <a:lnTo>
                    <a:pt x="7217079" y="2494613"/>
                  </a:lnTo>
                  <a:cubicBezTo>
                    <a:pt x="7217079" y="2530173"/>
                    <a:pt x="7187868" y="2559383"/>
                    <a:pt x="7152308" y="2559383"/>
                  </a:cubicBezTo>
                  <a:lnTo>
                    <a:pt x="124460" y="2559383"/>
                  </a:lnTo>
                  <a:cubicBezTo>
                    <a:pt x="88900" y="2559383"/>
                    <a:pt x="59690" y="2530173"/>
                    <a:pt x="59690" y="2494613"/>
                  </a:cubicBezTo>
                  <a:lnTo>
                    <a:pt x="59690" y="124460"/>
                  </a:lnTo>
                  <a:cubicBezTo>
                    <a:pt x="59690" y="88900"/>
                    <a:pt x="88900" y="59690"/>
                    <a:pt x="124460" y="59690"/>
                  </a:cubicBezTo>
                  <a:lnTo>
                    <a:pt x="7152308" y="59690"/>
                  </a:lnTo>
                  <a:moveTo>
                    <a:pt x="7152308" y="0"/>
                  </a:moveTo>
                  <a:lnTo>
                    <a:pt x="124460" y="0"/>
                  </a:lnTo>
                  <a:cubicBezTo>
                    <a:pt x="55880" y="0"/>
                    <a:pt x="0" y="55880"/>
                    <a:pt x="0" y="124460"/>
                  </a:cubicBezTo>
                  <a:lnTo>
                    <a:pt x="0" y="2494613"/>
                  </a:lnTo>
                  <a:cubicBezTo>
                    <a:pt x="0" y="2563193"/>
                    <a:pt x="55880" y="2619073"/>
                    <a:pt x="124460" y="2619073"/>
                  </a:cubicBezTo>
                  <a:lnTo>
                    <a:pt x="7152309" y="2619073"/>
                  </a:lnTo>
                  <a:cubicBezTo>
                    <a:pt x="7220889" y="2619073"/>
                    <a:pt x="7276769" y="2563193"/>
                    <a:pt x="7276769" y="2494613"/>
                  </a:cubicBezTo>
                  <a:lnTo>
                    <a:pt x="7276769" y="124460"/>
                  </a:lnTo>
                  <a:cubicBezTo>
                    <a:pt x="7276769" y="55880"/>
                    <a:pt x="7220889" y="0"/>
                    <a:pt x="7152308" y="0"/>
                  </a:cubicBezTo>
                  <a:close/>
                </a:path>
              </a:pathLst>
            </a:custGeom>
            <a:solidFill>
              <a:srgbClr val="719D8D"/>
            </a:solidFill>
          </p:spPr>
        </p:sp>
      </p:grpSp>
      <p:sp>
        <p:nvSpPr>
          <p:cNvPr id="42" name="TextBox 37">
            <a:extLst>
              <a:ext uri="{FF2B5EF4-FFF2-40B4-BE49-F238E27FC236}">
                <a16:creationId xmlns:a16="http://schemas.microsoft.com/office/drawing/2014/main" id="{DAB10FEF-EDEF-4127-92AF-6120F6869A22}"/>
              </a:ext>
            </a:extLst>
          </p:cNvPr>
          <p:cNvSpPr txBox="1"/>
          <p:nvPr userDrawn="1"/>
        </p:nvSpPr>
        <p:spPr>
          <a:xfrm>
            <a:off x="-422650" y="16447"/>
            <a:ext cx="12277847" cy="928844"/>
          </a:xfrm>
          <a:prstGeom prst="rect">
            <a:avLst/>
          </a:prstGeom>
        </p:spPr>
        <p:txBody>
          <a:bodyPr wrap="square" lIns="0" tIns="0" rIns="0" bIns="0" rtlCol="0" anchor="t">
            <a:spAutoFit/>
          </a:bodyPr>
          <a:lstStyle/>
          <a:p>
            <a:pPr algn="ctr">
              <a:lnSpc>
                <a:spcPts val="8159"/>
              </a:lnSpc>
              <a:defRPr/>
            </a:pPr>
            <a:r>
              <a:rPr lang="en-US" sz="4800" spc="240" dirty="0">
                <a:solidFill>
                  <a:srgbClr val="FFFFFF"/>
                </a:solidFill>
                <a:latin typeface="IBM Plex Sans Bold"/>
              </a:rPr>
              <a:t>Institutional Resources</a:t>
            </a:r>
          </a:p>
        </p:txBody>
      </p:sp>
      <p:sp>
        <p:nvSpPr>
          <p:cNvPr id="43" name="TextBox 38">
            <a:extLst>
              <a:ext uri="{FF2B5EF4-FFF2-40B4-BE49-F238E27FC236}">
                <a16:creationId xmlns:a16="http://schemas.microsoft.com/office/drawing/2014/main" id="{0BE6A92F-D2CD-4F21-B9B6-63C0D96FC95A}"/>
              </a:ext>
            </a:extLst>
          </p:cNvPr>
          <p:cNvSpPr txBox="1"/>
          <p:nvPr userDrawn="1"/>
        </p:nvSpPr>
        <p:spPr>
          <a:xfrm>
            <a:off x="3013185" y="1188772"/>
            <a:ext cx="2795355" cy="2041841"/>
          </a:xfrm>
          <a:prstGeom prst="rect">
            <a:avLst/>
          </a:prstGeom>
        </p:spPr>
        <p:txBody>
          <a:bodyPr wrap="square" lIns="0" tIns="0" rIns="0" bIns="0" rtlCol="0" anchor="t">
            <a:spAutoFit/>
          </a:bodyPr>
          <a:lstStyle/>
          <a:p>
            <a:pPr algn="ctr">
              <a:lnSpc>
                <a:spcPts val="4079"/>
              </a:lnSpc>
              <a:defRPr/>
            </a:pPr>
            <a:r>
              <a:rPr lang="en-US" sz="2400" spc="120" dirty="0">
                <a:solidFill>
                  <a:srgbClr val="FFFFFF"/>
                </a:solidFill>
                <a:latin typeface="IBM Plex Sans Condensed"/>
                <a:hlinkClick r:id="rId9"/>
              </a:rPr>
              <a:t>ICRC Addressing Sexual Violence Community of Practice</a:t>
            </a:r>
            <a:endParaRPr lang="en-US" sz="2400" spc="120" dirty="0">
              <a:solidFill>
                <a:srgbClr val="FFFFFF"/>
              </a:solidFill>
              <a:latin typeface="IBM Plex Sans Condensed"/>
            </a:endParaRPr>
          </a:p>
        </p:txBody>
      </p:sp>
    </p:spTree>
    <p:extLst>
      <p:ext uri="{BB962C8B-B14F-4D97-AF65-F5344CB8AC3E}">
        <p14:creationId xmlns:p14="http://schemas.microsoft.com/office/powerpoint/2010/main" val="41614991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2846D2-3AA7-41A4-9693-A9E84B9B4E02}"/>
              </a:ext>
            </a:extLst>
          </p:cNvPr>
          <p:cNvSpPr>
            <a:spLocks noGrp="1"/>
          </p:cNvSpPr>
          <p:nvPr>
            <p:ph type="title"/>
          </p:nvPr>
        </p:nvSpPr>
        <p:spPr/>
        <p:txBody>
          <a:bodyPr/>
          <a:lstStyle/>
          <a:p>
            <a:r>
              <a:rPr lang="en-US"/>
              <a:t>Click to edit Master title style</a:t>
            </a:r>
            <a:endParaRPr lang="fr-CH"/>
          </a:p>
        </p:txBody>
      </p:sp>
      <p:sp>
        <p:nvSpPr>
          <p:cNvPr id="3" name="Content Placeholder 2">
            <a:extLst>
              <a:ext uri="{FF2B5EF4-FFF2-40B4-BE49-F238E27FC236}">
                <a16:creationId xmlns:a16="http://schemas.microsoft.com/office/drawing/2014/main" id="{C773D124-DD35-4311-A826-F759ECCC195D}"/>
              </a:ext>
            </a:extLst>
          </p:cNvPr>
          <p:cNvSpPr>
            <a:spLocks noGrp="1"/>
          </p:cNvSpPr>
          <p:nvPr>
            <p:ph idx="1"/>
          </p:nvPr>
        </p:nvSpPr>
        <p:spPr>
          <a:xfrm>
            <a:off x="838200" y="1825625"/>
            <a:ext cx="10515600" cy="435133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CH" dirty="0"/>
          </a:p>
        </p:txBody>
      </p:sp>
    </p:spTree>
    <p:extLst>
      <p:ext uri="{BB962C8B-B14F-4D97-AF65-F5344CB8AC3E}">
        <p14:creationId xmlns:p14="http://schemas.microsoft.com/office/powerpoint/2010/main" val="84350750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F15AD8-83B7-45C2-A989-8D5AB34EC06E}"/>
              </a:ext>
            </a:extLst>
          </p:cNvPr>
          <p:cNvSpPr>
            <a:spLocks noGrp="1"/>
          </p:cNvSpPr>
          <p:nvPr>
            <p:ph type="title"/>
          </p:nvPr>
        </p:nvSpPr>
        <p:spPr/>
        <p:txBody>
          <a:bodyPr/>
          <a:lstStyle/>
          <a:p>
            <a:r>
              <a:rPr lang="en-US"/>
              <a:t>Click to edit Master title style</a:t>
            </a:r>
            <a:endParaRPr lang="fr-CH"/>
          </a:p>
        </p:txBody>
      </p:sp>
      <p:sp>
        <p:nvSpPr>
          <p:cNvPr id="3" name="Content Placeholder 2">
            <a:extLst>
              <a:ext uri="{FF2B5EF4-FFF2-40B4-BE49-F238E27FC236}">
                <a16:creationId xmlns:a16="http://schemas.microsoft.com/office/drawing/2014/main" id="{D19938B5-A9CB-42FE-82FC-21C92D2E6BF4}"/>
              </a:ext>
            </a:extLst>
          </p:cNvPr>
          <p:cNvSpPr>
            <a:spLocks noGrp="1"/>
          </p:cNvSpPr>
          <p:nvPr>
            <p:ph sz="half" idx="1"/>
          </p:nvPr>
        </p:nvSpPr>
        <p:spPr>
          <a:xfrm>
            <a:off x="838200" y="1825625"/>
            <a:ext cx="5181600" cy="435133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CH" dirty="0"/>
          </a:p>
        </p:txBody>
      </p:sp>
      <p:sp>
        <p:nvSpPr>
          <p:cNvPr id="4" name="Content Placeholder 3">
            <a:extLst>
              <a:ext uri="{FF2B5EF4-FFF2-40B4-BE49-F238E27FC236}">
                <a16:creationId xmlns:a16="http://schemas.microsoft.com/office/drawing/2014/main" id="{4D436E75-6015-43AC-A2FA-6D4E203EEE96}"/>
              </a:ext>
            </a:extLst>
          </p:cNvPr>
          <p:cNvSpPr>
            <a:spLocks noGrp="1"/>
          </p:cNvSpPr>
          <p:nvPr>
            <p:ph sz="half" idx="2"/>
          </p:nvPr>
        </p:nvSpPr>
        <p:spPr>
          <a:xfrm>
            <a:off x="6172200" y="1825625"/>
            <a:ext cx="5181600" cy="435133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CH" dirty="0"/>
          </a:p>
        </p:txBody>
      </p:sp>
    </p:spTree>
    <p:extLst>
      <p:ext uri="{BB962C8B-B14F-4D97-AF65-F5344CB8AC3E}">
        <p14:creationId xmlns:p14="http://schemas.microsoft.com/office/powerpoint/2010/main" val="367034031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0"/>
            <a:ext cx="2743200" cy="365125"/>
          </a:xfrm>
          <a:prstGeom prst="rect">
            <a:avLst/>
          </a:prstGeom>
        </p:spPr>
        <p:txBody>
          <a:bodyPr/>
          <a:lstStyle/>
          <a:p>
            <a:fld id="{9CB69BE1-7EE2-4DCA-9D7C-8E2841949C68}" type="datetimeFigureOut">
              <a:rPr lang="fr-CH" smtClean="0"/>
              <a:t>05.06.2023</a:t>
            </a:fld>
            <a:endParaRPr lang="fr-CH" dirty="0"/>
          </a:p>
        </p:txBody>
      </p:sp>
      <p:sp>
        <p:nvSpPr>
          <p:cNvPr id="3" name="Footer Placeholder 2"/>
          <p:cNvSpPr>
            <a:spLocks noGrp="1"/>
          </p:cNvSpPr>
          <p:nvPr>
            <p:ph type="ftr" sz="quarter" idx="11"/>
          </p:nvPr>
        </p:nvSpPr>
        <p:spPr>
          <a:xfrm>
            <a:off x="4038600" y="6356350"/>
            <a:ext cx="4114800" cy="365125"/>
          </a:xfrm>
          <a:prstGeom prst="rect">
            <a:avLst/>
          </a:prstGeom>
        </p:spPr>
        <p:txBody>
          <a:bodyPr/>
          <a:lstStyle/>
          <a:p>
            <a:endParaRPr lang="fr-CH" dirty="0"/>
          </a:p>
        </p:txBody>
      </p:sp>
      <p:sp>
        <p:nvSpPr>
          <p:cNvPr id="4" name="Slide Number Placeholder 3"/>
          <p:cNvSpPr>
            <a:spLocks noGrp="1"/>
          </p:cNvSpPr>
          <p:nvPr>
            <p:ph type="sldNum" sz="quarter" idx="12"/>
          </p:nvPr>
        </p:nvSpPr>
        <p:spPr>
          <a:xfrm>
            <a:off x="8610600" y="6356350"/>
            <a:ext cx="2743200" cy="365125"/>
          </a:xfrm>
          <a:prstGeom prst="rect">
            <a:avLst/>
          </a:prstGeom>
        </p:spPr>
        <p:txBody>
          <a:bodyPr/>
          <a:lstStyle/>
          <a:p>
            <a:fld id="{E5FBD4B3-4394-46C3-A1C2-40436D007F4F}" type="slidenum">
              <a:rPr lang="fr-CH" smtClean="0"/>
              <a:t>‹#›</a:t>
            </a:fld>
            <a:endParaRPr lang="fr-CH" dirty="0"/>
          </a:p>
        </p:txBody>
      </p:sp>
    </p:spTree>
    <p:extLst>
      <p:ext uri="{BB962C8B-B14F-4D97-AF65-F5344CB8AC3E}">
        <p14:creationId xmlns:p14="http://schemas.microsoft.com/office/powerpoint/2010/main" val="277757921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Title slide 1">
    <p:bg>
      <p:bgPr>
        <a:solidFill>
          <a:srgbClr val="4D7568"/>
        </a:solidFill>
        <a:effectLst/>
      </p:bgPr>
    </p:bg>
    <p:spTree>
      <p:nvGrpSpPr>
        <p:cNvPr id="1" name=""/>
        <p:cNvGrpSpPr/>
        <p:nvPr/>
      </p:nvGrpSpPr>
      <p:grpSpPr>
        <a:xfrm>
          <a:off x="0" y="0"/>
          <a:ext cx="0" cy="0"/>
          <a:chOff x="0" y="0"/>
          <a:chExt cx="0" cy="0"/>
        </a:xfrm>
      </p:grpSpPr>
      <p:pic>
        <p:nvPicPr>
          <p:cNvPr id="17" name="Picture 2">
            <a:extLst>
              <a:ext uri="{FF2B5EF4-FFF2-40B4-BE49-F238E27FC236}">
                <a16:creationId xmlns:a16="http://schemas.microsoft.com/office/drawing/2014/main" id="{79298EF3-24DA-4BEC-856B-E92B593C6E0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a:off x="-1" y="5462045"/>
            <a:ext cx="12192001" cy="1395955"/>
          </a:xfrm>
          <a:prstGeom prst="rect">
            <a:avLst/>
          </a:prstGeom>
        </p:spPr>
      </p:pic>
      <p:sp>
        <p:nvSpPr>
          <p:cNvPr id="2" name="Title 1">
            <a:extLst>
              <a:ext uri="{FF2B5EF4-FFF2-40B4-BE49-F238E27FC236}">
                <a16:creationId xmlns:a16="http://schemas.microsoft.com/office/drawing/2014/main" id="{AACC0B56-E707-4AD9-A2C9-B9E9A3F72A70}"/>
              </a:ext>
            </a:extLst>
          </p:cNvPr>
          <p:cNvSpPr>
            <a:spLocks noGrp="1"/>
          </p:cNvSpPr>
          <p:nvPr>
            <p:ph type="title"/>
          </p:nvPr>
        </p:nvSpPr>
        <p:spPr>
          <a:xfrm>
            <a:off x="1443937" y="1892415"/>
            <a:ext cx="7916373" cy="1325563"/>
          </a:xfrm>
        </p:spPr>
        <p:txBody>
          <a:bodyPr/>
          <a:lstStyle>
            <a:lvl1pPr>
              <a:defRPr b="1">
                <a:solidFill>
                  <a:schemeClr val="bg1"/>
                </a:solidFill>
              </a:defRPr>
            </a:lvl1pPr>
          </a:lstStyle>
          <a:p>
            <a:r>
              <a:rPr lang="en-US" dirty="0"/>
              <a:t>Click to edit Master title style</a:t>
            </a:r>
            <a:endParaRPr lang="fr-CH" dirty="0"/>
          </a:p>
        </p:txBody>
      </p:sp>
    </p:spTree>
    <p:extLst>
      <p:ext uri="{BB962C8B-B14F-4D97-AF65-F5344CB8AC3E}">
        <p14:creationId xmlns:p14="http://schemas.microsoft.com/office/powerpoint/2010/main" val="89184525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422D55-B8F2-4CAE-9E5D-2B0F7CF50CA8}"/>
              </a:ext>
            </a:extLst>
          </p:cNvPr>
          <p:cNvSpPr>
            <a:spLocks noGrp="1"/>
          </p:cNvSpPr>
          <p:nvPr>
            <p:ph type="title"/>
          </p:nvPr>
        </p:nvSpPr>
        <p:spPr/>
        <p:txBody>
          <a:bodyPr/>
          <a:lstStyle/>
          <a:p>
            <a:r>
              <a:rPr lang="en-US" dirty="0"/>
              <a:t>Click to edit Master title style</a:t>
            </a:r>
            <a:endParaRPr lang="fr-CH" dirty="0"/>
          </a:p>
        </p:txBody>
      </p:sp>
      <p:sp>
        <p:nvSpPr>
          <p:cNvPr id="8" name="Picture Placeholder 7">
            <a:extLst>
              <a:ext uri="{FF2B5EF4-FFF2-40B4-BE49-F238E27FC236}">
                <a16:creationId xmlns:a16="http://schemas.microsoft.com/office/drawing/2014/main" id="{6A93EF53-B627-41B5-8B87-E01DCE14C2E1}"/>
              </a:ext>
            </a:extLst>
          </p:cNvPr>
          <p:cNvSpPr>
            <a:spLocks noGrp="1"/>
          </p:cNvSpPr>
          <p:nvPr>
            <p:ph type="pic" sz="quarter" idx="10"/>
          </p:nvPr>
        </p:nvSpPr>
        <p:spPr>
          <a:xfrm>
            <a:off x="636588" y="1911350"/>
            <a:ext cx="11229975" cy="4581525"/>
          </a:xfrm>
          <a:prstGeom prst="rect">
            <a:avLst/>
          </a:prstGeom>
        </p:spPr>
        <p:txBody>
          <a:bodyPr/>
          <a:lstStyle/>
          <a:p>
            <a:endParaRPr lang="fr-CH" dirty="0"/>
          </a:p>
        </p:txBody>
      </p:sp>
    </p:spTree>
    <p:extLst>
      <p:ext uri="{BB962C8B-B14F-4D97-AF65-F5344CB8AC3E}">
        <p14:creationId xmlns:p14="http://schemas.microsoft.com/office/powerpoint/2010/main" val="159414264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144D6A-4880-4380-8E1D-6891AC1DB386}"/>
              </a:ext>
            </a:extLst>
          </p:cNvPr>
          <p:cNvSpPr>
            <a:spLocks noGrp="1"/>
          </p:cNvSpPr>
          <p:nvPr>
            <p:ph type="title"/>
          </p:nvPr>
        </p:nvSpPr>
        <p:spPr/>
        <p:txBody>
          <a:bodyPr/>
          <a:lstStyle/>
          <a:p>
            <a:r>
              <a:rPr lang="en-US"/>
              <a:t>Click to edit Master title style</a:t>
            </a:r>
            <a:endParaRPr lang="fr-CH"/>
          </a:p>
        </p:txBody>
      </p:sp>
      <p:sp>
        <p:nvSpPr>
          <p:cNvPr id="4" name="SmartArt Placeholder 3">
            <a:extLst>
              <a:ext uri="{FF2B5EF4-FFF2-40B4-BE49-F238E27FC236}">
                <a16:creationId xmlns:a16="http://schemas.microsoft.com/office/drawing/2014/main" id="{D3898DCA-4882-4D41-912D-48BB3EBCC7CA}"/>
              </a:ext>
            </a:extLst>
          </p:cNvPr>
          <p:cNvSpPr>
            <a:spLocks noGrp="1"/>
          </p:cNvSpPr>
          <p:nvPr>
            <p:ph type="dgm" sz="quarter" idx="10"/>
          </p:nvPr>
        </p:nvSpPr>
        <p:spPr>
          <a:xfrm>
            <a:off x="595313" y="2054225"/>
            <a:ext cx="11147425" cy="4438650"/>
          </a:xfrm>
          <a:prstGeom prst="rect">
            <a:avLst/>
          </a:prstGeom>
        </p:spPr>
        <p:txBody>
          <a:bodyPr/>
          <a:lstStyle/>
          <a:p>
            <a:endParaRPr lang="fr-CH" dirty="0"/>
          </a:p>
        </p:txBody>
      </p:sp>
    </p:spTree>
    <p:extLst>
      <p:ext uri="{BB962C8B-B14F-4D97-AF65-F5344CB8AC3E}">
        <p14:creationId xmlns:p14="http://schemas.microsoft.com/office/powerpoint/2010/main" val="385830043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74F174-A64E-459F-B7CF-E8C4C1B1C115}"/>
              </a:ext>
            </a:extLst>
          </p:cNvPr>
          <p:cNvSpPr>
            <a:spLocks noGrp="1"/>
          </p:cNvSpPr>
          <p:nvPr>
            <p:ph type="title"/>
          </p:nvPr>
        </p:nvSpPr>
        <p:spPr/>
        <p:txBody>
          <a:bodyPr/>
          <a:lstStyle/>
          <a:p>
            <a:r>
              <a:rPr lang="en-US"/>
              <a:t>Click to edit Master title style</a:t>
            </a:r>
            <a:endParaRPr lang="fr-CH"/>
          </a:p>
        </p:txBody>
      </p:sp>
      <p:sp>
        <p:nvSpPr>
          <p:cNvPr id="4" name="Media Placeholder 3">
            <a:extLst>
              <a:ext uri="{FF2B5EF4-FFF2-40B4-BE49-F238E27FC236}">
                <a16:creationId xmlns:a16="http://schemas.microsoft.com/office/drawing/2014/main" id="{D08C3DBF-A99D-4956-A732-77567182904B}"/>
              </a:ext>
            </a:extLst>
          </p:cNvPr>
          <p:cNvSpPr>
            <a:spLocks noGrp="1"/>
          </p:cNvSpPr>
          <p:nvPr>
            <p:ph type="media" sz="quarter" idx="10"/>
          </p:nvPr>
        </p:nvSpPr>
        <p:spPr>
          <a:xfrm>
            <a:off x="698500" y="1911350"/>
            <a:ext cx="10931525" cy="4746625"/>
          </a:xfrm>
          <a:prstGeom prst="rect">
            <a:avLst/>
          </a:prstGeom>
        </p:spPr>
        <p:txBody>
          <a:bodyPr/>
          <a:lstStyle/>
          <a:p>
            <a:endParaRPr lang="fr-CH" dirty="0"/>
          </a:p>
        </p:txBody>
      </p:sp>
    </p:spTree>
    <p:extLst>
      <p:ext uri="{BB962C8B-B14F-4D97-AF65-F5344CB8AC3E}">
        <p14:creationId xmlns:p14="http://schemas.microsoft.com/office/powerpoint/2010/main" val="310293844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AFB5BA-B67B-4637-AF0A-66EBB7FEDF6A}"/>
              </a:ext>
            </a:extLst>
          </p:cNvPr>
          <p:cNvSpPr>
            <a:spLocks noGrp="1"/>
          </p:cNvSpPr>
          <p:nvPr>
            <p:ph type="title"/>
          </p:nvPr>
        </p:nvSpPr>
        <p:spPr/>
        <p:txBody>
          <a:bodyPr/>
          <a:lstStyle/>
          <a:p>
            <a:r>
              <a:rPr lang="en-US"/>
              <a:t>Click to edit Master title style</a:t>
            </a:r>
            <a:endParaRPr lang="fr-CH"/>
          </a:p>
        </p:txBody>
      </p:sp>
      <p:sp>
        <p:nvSpPr>
          <p:cNvPr id="4" name="Content Placeholder 3">
            <a:extLst>
              <a:ext uri="{FF2B5EF4-FFF2-40B4-BE49-F238E27FC236}">
                <a16:creationId xmlns:a16="http://schemas.microsoft.com/office/drawing/2014/main" id="{05D5B70F-E384-44EB-BFF9-F462FBB24C99}"/>
              </a:ext>
            </a:extLst>
          </p:cNvPr>
          <p:cNvSpPr>
            <a:spLocks noGrp="1"/>
          </p:cNvSpPr>
          <p:nvPr>
            <p:ph sz="quarter" idx="10"/>
          </p:nvPr>
        </p:nvSpPr>
        <p:spPr>
          <a:xfrm>
            <a:off x="976313" y="2024063"/>
            <a:ext cx="10706100" cy="4468812"/>
          </a:xfrm>
          <a:prstGeom prst="rect">
            <a:avLst/>
          </a:prstGeom>
        </p:spPr>
        <p:txBody>
          <a:bodyPr/>
          <a:lstStyle>
            <a:lvl1pPr marL="457200" indent="-457200" algn="l">
              <a:buFont typeface="Wingdings" panose="05000000000000000000" pitchFamily="2" charset="2"/>
              <a:buChar char="q"/>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CH" dirty="0"/>
          </a:p>
        </p:txBody>
      </p:sp>
    </p:spTree>
    <p:extLst>
      <p:ext uri="{BB962C8B-B14F-4D97-AF65-F5344CB8AC3E}">
        <p14:creationId xmlns:p14="http://schemas.microsoft.com/office/powerpoint/2010/main" val="78169952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854012" y="536575"/>
            <a:ext cx="10780776" cy="384721"/>
          </a:xfrm>
        </p:spPr>
        <p:txBody>
          <a:bodyPr vert="horz" wrap="square" lIns="0" tIns="0" rIns="0" bIns="0" rtlCol="0" anchor="t" anchorCtr="0">
            <a:spAutoFit/>
          </a:bodyPr>
          <a:lstStyle>
            <a:lvl1pPr>
              <a:defRPr lang="en-US" dirty="0"/>
            </a:lvl1pPr>
          </a:lstStyle>
          <a:p>
            <a:pPr lvl="0"/>
            <a:r>
              <a:rPr lang="en-US" dirty="0"/>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854012" y="999134"/>
            <a:ext cx="10766552" cy="276999"/>
          </a:xfrm>
          <a:prstGeom prst="rect">
            <a:avLst/>
          </a:prstGeom>
        </p:spPr>
        <p:txBody>
          <a:bodyPr vert="horz" wrap="square" lIns="0" tIns="0" rIns="0" bIns="0" rtlCol="0">
            <a:spAutoFit/>
          </a:bodyPr>
          <a:lstStyle>
            <a:lvl1pPr>
              <a:defRPr lang="en-US" sz="1800" b="0" dirty="0"/>
            </a:lvl1pPr>
          </a:lstStyle>
          <a:p>
            <a:pPr lvl="0">
              <a:buNone/>
            </a:pPr>
            <a:r>
              <a:rPr lang="en-US" dirty="0"/>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859454" y="631324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spcBef>
                <a:spcPts val="0"/>
              </a:spcBef>
              <a:spcAft>
                <a:spcPts val="0"/>
              </a:spcAft>
            </a:pPr>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854012" y="374545"/>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2" name="Footer Placeholder 8">
            <a:extLst>
              <a:ext uri="{FF2B5EF4-FFF2-40B4-BE49-F238E27FC236}">
                <a16:creationId xmlns:a16="http://schemas.microsoft.com/office/drawing/2014/main" id="{17E2CAFB-654B-41B4-B5BB-EF5BFD1ED1D8}"/>
              </a:ext>
            </a:extLst>
          </p:cNvPr>
          <p:cNvSpPr>
            <a:spLocks noGrp="1"/>
          </p:cNvSpPr>
          <p:nvPr>
            <p:ph type="ftr" sz="quarter" idx="3"/>
          </p:nvPr>
        </p:nvSpPr>
        <p:spPr>
          <a:xfrm>
            <a:off x="2358683" y="6498754"/>
            <a:ext cx="333425" cy="138499"/>
          </a:xfrm>
          <a:prstGeom prst="rect">
            <a:avLst/>
          </a:prstGeom>
        </p:spPr>
        <p:txBody>
          <a:bodyPr vert="horz" wrap="square" lIns="0" tIns="0" rIns="0" bIns="0" rtlCol="0" anchor="ctr">
            <a:spAutoFit/>
          </a:bodyPr>
          <a:lstStyle>
            <a:lvl1pPr algn="ctr">
              <a:defRPr sz="900">
                <a:solidFill>
                  <a:schemeClr val="tx1">
                    <a:tint val="75000"/>
                  </a:schemeClr>
                </a:solidFill>
              </a:defRPr>
            </a:lvl1pPr>
          </a:lstStyle>
          <a:p>
            <a:r>
              <a:rPr lang="en-US" dirty="0"/>
              <a:t>ERCO</a:t>
            </a:r>
          </a:p>
        </p:txBody>
      </p:sp>
      <p:sp>
        <p:nvSpPr>
          <p:cNvPr id="16" name="Slide Number">
            <a:extLst>
              <a:ext uri="{FF2B5EF4-FFF2-40B4-BE49-F238E27FC236}">
                <a16:creationId xmlns:a16="http://schemas.microsoft.com/office/drawing/2014/main" id="{A5C53AEF-300D-46C7-A057-9D6B706417A4}"/>
              </a:ext>
            </a:extLst>
          </p:cNvPr>
          <p:cNvSpPr>
            <a:spLocks noChangeArrowheads="1"/>
          </p:cNvSpPr>
          <p:nvPr userDrawn="1">
            <p:custDataLst>
              <p:tags r:id="rId7"/>
            </p:custDataLst>
          </p:nvPr>
        </p:nvSpPr>
        <p:spPr bwMode="black">
          <a:xfrm>
            <a:off x="11166583" y="64778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17" name="Date Placeholder 7">
            <a:extLst>
              <a:ext uri="{FF2B5EF4-FFF2-40B4-BE49-F238E27FC236}">
                <a16:creationId xmlns:a16="http://schemas.microsoft.com/office/drawing/2014/main" id="{2CA01E51-1CF3-46CD-96E0-F18A2C4AB544}"/>
              </a:ext>
            </a:extLst>
          </p:cNvPr>
          <p:cNvSpPr>
            <a:spLocks noGrp="1"/>
          </p:cNvSpPr>
          <p:nvPr>
            <p:ph type="dt" sz="half" idx="2"/>
          </p:nvPr>
        </p:nvSpPr>
        <p:spPr>
          <a:xfrm>
            <a:off x="868508" y="6479915"/>
            <a:ext cx="609448" cy="138499"/>
          </a:xfrm>
          <a:prstGeom prst="rect">
            <a:avLst/>
          </a:prstGeom>
        </p:spPr>
        <p:txBody>
          <a:bodyPr vert="horz" wrap="square" lIns="0" tIns="0" rIns="0" bIns="0" rtlCol="0" anchor="ctr">
            <a:spAutoFit/>
          </a:bodyPr>
          <a:lstStyle>
            <a:lvl1pPr algn="l">
              <a:defRPr sz="900">
                <a:solidFill>
                  <a:schemeClr val="tx1">
                    <a:tint val="75000"/>
                  </a:schemeClr>
                </a:solidFill>
              </a:defRPr>
            </a:lvl1pPr>
          </a:lstStyle>
          <a:p>
            <a:fld id="{90F0E685-6FEA-4FC2-86A2-14054598FE7C}" type="datetime5">
              <a:rPr lang="en-US" smtClean="0"/>
              <a:t>5-Jun-23</a:t>
            </a:fld>
            <a:endParaRPr lang="en-US" dirty="0"/>
          </a:p>
        </p:txBody>
      </p:sp>
      <p:sp>
        <p:nvSpPr>
          <p:cNvPr id="4" name="Chart Placeholder 3">
            <a:extLst>
              <a:ext uri="{FF2B5EF4-FFF2-40B4-BE49-F238E27FC236}">
                <a16:creationId xmlns:a16="http://schemas.microsoft.com/office/drawing/2014/main" id="{55B78697-3BA2-40C0-8739-A97494C447FC}"/>
              </a:ext>
            </a:extLst>
          </p:cNvPr>
          <p:cNvSpPr>
            <a:spLocks noGrp="1"/>
          </p:cNvSpPr>
          <p:nvPr>
            <p:ph type="chart" sz="quarter" idx="11"/>
          </p:nvPr>
        </p:nvSpPr>
        <p:spPr>
          <a:xfrm>
            <a:off x="854075" y="1352550"/>
            <a:ext cx="5051425" cy="4968875"/>
          </a:xfrm>
        </p:spPr>
        <p:txBody>
          <a:bodyPr/>
          <a:lstStyle/>
          <a:p>
            <a:endParaRPr lang="en-GB" dirty="0"/>
          </a:p>
        </p:txBody>
      </p:sp>
      <p:sp>
        <p:nvSpPr>
          <p:cNvPr id="7" name="Content Placeholder 6">
            <a:extLst>
              <a:ext uri="{FF2B5EF4-FFF2-40B4-BE49-F238E27FC236}">
                <a16:creationId xmlns:a16="http://schemas.microsoft.com/office/drawing/2014/main" id="{5E1CCAD2-DA4B-449A-A870-65FDBC3AE575}"/>
              </a:ext>
            </a:extLst>
          </p:cNvPr>
          <p:cNvSpPr>
            <a:spLocks noGrp="1"/>
          </p:cNvSpPr>
          <p:nvPr>
            <p:ph sz="quarter" idx="12"/>
          </p:nvPr>
        </p:nvSpPr>
        <p:spPr>
          <a:xfrm>
            <a:off x="6496050" y="1352550"/>
            <a:ext cx="5124450" cy="49688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4157908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FC541AD-931F-440A-9086-A8F90F1006C5}"/>
              </a:ext>
            </a:extLst>
          </p:cNvPr>
          <p:cNvSpPr>
            <a:spLocks noGrp="1"/>
          </p:cNvSpPr>
          <p:nvPr>
            <p:ph type="dt" sz="half" idx="10"/>
          </p:nvPr>
        </p:nvSpPr>
        <p:spPr>
          <a:xfrm>
            <a:off x="838200" y="6356351"/>
            <a:ext cx="2743200" cy="365125"/>
          </a:xfrm>
          <a:prstGeom prst="rect">
            <a:avLst/>
          </a:prstGeom>
        </p:spPr>
        <p:txBody>
          <a:bodyPr/>
          <a:lstStyle/>
          <a:p>
            <a:fld id="{9CB69BE1-7EE2-4DCA-9D7C-8E2841949C68}" type="datetimeFigureOut">
              <a:rPr lang="fr-CH" smtClean="0"/>
              <a:t>05.06.2023</a:t>
            </a:fld>
            <a:endParaRPr lang="fr-CH" dirty="0"/>
          </a:p>
        </p:txBody>
      </p:sp>
      <p:sp>
        <p:nvSpPr>
          <p:cNvPr id="3" name="Footer Placeholder 2">
            <a:extLst>
              <a:ext uri="{FF2B5EF4-FFF2-40B4-BE49-F238E27FC236}">
                <a16:creationId xmlns:a16="http://schemas.microsoft.com/office/drawing/2014/main" id="{4E495729-A6CD-428A-A676-5EC5DAA93E8F}"/>
              </a:ext>
            </a:extLst>
          </p:cNvPr>
          <p:cNvSpPr>
            <a:spLocks noGrp="1"/>
          </p:cNvSpPr>
          <p:nvPr>
            <p:ph type="ftr" sz="quarter" idx="11"/>
          </p:nvPr>
        </p:nvSpPr>
        <p:spPr>
          <a:xfrm>
            <a:off x="4038600" y="6356351"/>
            <a:ext cx="4114800" cy="365125"/>
          </a:xfrm>
          <a:prstGeom prst="rect">
            <a:avLst/>
          </a:prstGeom>
        </p:spPr>
        <p:txBody>
          <a:bodyPr/>
          <a:lstStyle/>
          <a:p>
            <a:endParaRPr lang="fr-CH" dirty="0"/>
          </a:p>
        </p:txBody>
      </p:sp>
      <p:sp>
        <p:nvSpPr>
          <p:cNvPr id="4" name="Slide Number Placeholder 3">
            <a:extLst>
              <a:ext uri="{FF2B5EF4-FFF2-40B4-BE49-F238E27FC236}">
                <a16:creationId xmlns:a16="http://schemas.microsoft.com/office/drawing/2014/main" id="{0A8C0970-FD76-4485-BD42-D4C2DBC785DB}"/>
              </a:ext>
            </a:extLst>
          </p:cNvPr>
          <p:cNvSpPr>
            <a:spLocks noGrp="1"/>
          </p:cNvSpPr>
          <p:nvPr>
            <p:ph type="sldNum" sz="quarter" idx="12"/>
          </p:nvPr>
        </p:nvSpPr>
        <p:spPr>
          <a:xfrm>
            <a:off x="8610600" y="6356351"/>
            <a:ext cx="2743200" cy="365125"/>
          </a:xfrm>
          <a:prstGeom prst="rect">
            <a:avLst/>
          </a:prstGeom>
        </p:spPr>
        <p:txBody>
          <a:bodyPr/>
          <a:lstStyle/>
          <a:p>
            <a:fld id="{E5FBD4B3-4394-46C3-A1C2-40436D007F4F}" type="slidenum">
              <a:rPr lang="fr-CH" smtClean="0"/>
              <a:t>‹#›</a:t>
            </a:fld>
            <a:endParaRPr lang="fr-CH" dirty="0"/>
          </a:p>
        </p:txBody>
      </p:sp>
      <p:pic>
        <p:nvPicPr>
          <p:cNvPr id="5" name="Picture 4">
            <a:extLst>
              <a:ext uri="{FF2B5EF4-FFF2-40B4-BE49-F238E27FC236}">
                <a16:creationId xmlns:a16="http://schemas.microsoft.com/office/drawing/2014/main" id="{86AFFA7D-438B-48A4-A59E-638FD27C1896}"/>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
            <a:ext cx="12192000" cy="6858001"/>
          </a:xfrm>
          <a:prstGeom prst="rect">
            <a:avLst/>
          </a:prstGeom>
        </p:spPr>
      </p:pic>
    </p:spTree>
    <p:extLst>
      <p:ext uri="{BB962C8B-B14F-4D97-AF65-F5344CB8AC3E}">
        <p14:creationId xmlns:p14="http://schemas.microsoft.com/office/powerpoint/2010/main" val="224983110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5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0FC521-96A6-48F7-A203-839EF23217BD}"/>
              </a:ext>
            </a:extLst>
          </p:cNvPr>
          <p:cNvSpPr>
            <a:spLocks noGrp="1"/>
          </p:cNvSpPr>
          <p:nvPr>
            <p:ph type="title"/>
          </p:nvPr>
        </p:nvSpPr>
        <p:spPr>
          <a:xfrm>
            <a:off x="1351547" y="1648494"/>
            <a:ext cx="10515600" cy="1325563"/>
          </a:xfrm>
          <a:prstGeom prst="rect">
            <a:avLst/>
          </a:prstGeom>
        </p:spPr>
        <p:txBody>
          <a:bodyPr/>
          <a:lstStyle>
            <a:lvl1pPr>
              <a:defRPr b="1">
                <a:solidFill>
                  <a:srgbClr val="4D7568"/>
                </a:solidFill>
                <a:latin typeface="IBM Plex Sans Bold" panose="020B0604020202020204" charset="0"/>
                <a:cs typeface="IBM Plex Sans Bold" panose="020B0604020202020204" charset="0"/>
              </a:defRPr>
            </a:lvl1pPr>
          </a:lstStyle>
          <a:p>
            <a:r>
              <a:rPr lang="en-US" dirty="0"/>
              <a:t>Click to edit Master title style</a:t>
            </a:r>
            <a:endParaRPr lang="fr-CH" dirty="0"/>
          </a:p>
        </p:txBody>
      </p:sp>
    </p:spTree>
    <p:extLst>
      <p:ext uri="{BB962C8B-B14F-4D97-AF65-F5344CB8AC3E}">
        <p14:creationId xmlns:p14="http://schemas.microsoft.com/office/powerpoint/2010/main" val="207758899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C0CA47-3CB3-4512-9C31-66FA3D8597B3}"/>
              </a:ext>
            </a:extLst>
          </p:cNvPr>
          <p:cNvSpPr>
            <a:spLocks noGrp="1"/>
          </p:cNvSpPr>
          <p:nvPr>
            <p:ph type="title"/>
          </p:nvPr>
        </p:nvSpPr>
        <p:spPr/>
        <p:txBody>
          <a:bodyPr/>
          <a:lstStyle/>
          <a:p>
            <a:r>
              <a:rPr lang="en-US"/>
              <a:t>Click to edit Master title style</a:t>
            </a:r>
            <a:endParaRPr lang="fr-CH"/>
          </a:p>
        </p:txBody>
      </p:sp>
      <p:sp>
        <p:nvSpPr>
          <p:cNvPr id="3" name="Date Placeholder 2">
            <a:extLst>
              <a:ext uri="{FF2B5EF4-FFF2-40B4-BE49-F238E27FC236}">
                <a16:creationId xmlns:a16="http://schemas.microsoft.com/office/drawing/2014/main" id="{3E74B7AF-426E-49D6-8F0B-AE1F62509E29}"/>
              </a:ext>
            </a:extLst>
          </p:cNvPr>
          <p:cNvSpPr>
            <a:spLocks noGrp="1"/>
          </p:cNvSpPr>
          <p:nvPr>
            <p:ph type="dt" sz="half" idx="10"/>
          </p:nvPr>
        </p:nvSpPr>
        <p:spPr/>
        <p:txBody>
          <a:bodyPr/>
          <a:lstStyle/>
          <a:p>
            <a:fld id="{1D8BD707-D9CF-40AE-B4C6-C98DA3205C09}" type="datetimeFigureOut">
              <a:rPr lang="en-US" smtClean="0"/>
              <a:pPr/>
              <a:t>6/5/2023</a:t>
            </a:fld>
            <a:endParaRPr lang="en-US" dirty="0"/>
          </a:p>
        </p:txBody>
      </p:sp>
      <p:sp>
        <p:nvSpPr>
          <p:cNvPr id="4" name="Footer Placeholder 3">
            <a:extLst>
              <a:ext uri="{FF2B5EF4-FFF2-40B4-BE49-F238E27FC236}">
                <a16:creationId xmlns:a16="http://schemas.microsoft.com/office/drawing/2014/main" id="{16AD358E-2137-40A3-B599-2172C5290BB6}"/>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4265A433-1CFC-43CE-92F8-07CCB7FEC516}"/>
              </a:ext>
            </a:extLst>
          </p:cNvPr>
          <p:cNvSpPr>
            <a:spLocks noGrp="1"/>
          </p:cNvSpPr>
          <p:nvPr>
            <p:ph type="sldNum" sz="quarter" idx="12"/>
          </p:nvPr>
        </p:nvSpPr>
        <p:spPr/>
        <p:txBody>
          <a:bodyPr/>
          <a:lstStyle/>
          <a:p>
            <a:fld id="{B6F15528-21DE-4FAA-801E-634DDDAF4B2B}" type="slidenum">
              <a:rPr lang="en-US" smtClean="0"/>
              <a:pPr/>
              <a:t>‹#›</a:t>
            </a:fld>
            <a:endParaRPr lang="en-US" dirty="0"/>
          </a:p>
        </p:txBody>
      </p:sp>
    </p:spTree>
    <p:extLst>
      <p:ext uri="{BB962C8B-B14F-4D97-AF65-F5344CB8AC3E}">
        <p14:creationId xmlns:p14="http://schemas.microsoft.com/office/powerpoint/2010/main" val="392350297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17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A296D6-1213-427D-BD83-D57981BC5F3E}"/>
              </a:ext>
            </a:extLst>
          </p:cNvPr>
          <p:cNvSpPr>
            <a:spLocks noGrp="1"/>
          </p:cNvSpPr>
          <p:nvPr>
            <p:ph type="title"/>
          </p:nvPr>
        </p:nvSpPr>
        <p:spPr/>
        <p:txBody>
          <a:bodyPr/>
          <a:lstStyle/>
          <a:p>
            <a:r>
              <a:rPr lang="en-US" dirty="0"/>
              <a:t>Click to edit Master title style</a:t>
            </a:r>
            <a:endParaRPr lang="fr-CH" dirty="0"/>
          </a:p>
        </p:txBody>
      </p:sp>
      <p:sp>
        <p:nvSpPr>
          <p:cNvPr id="4" name="Content Placeholder 2">
            <a:extLst>
              <a:ext uri="{FF2B5EF4-FFF2-40B4-BE49-F238E27FC236}">
                <a16:creationId xmlns:a16="http://schemas.microsoft.com/office/drawing/2014/main" id="{6FDD6568-3F6E-4AA8-ACFF-3AB9B8529EA0}"/>
              </a:ext>
            </a:extLst>
          </p:cNvPr>
          <p:cNvSpPr>
            <a:spLocks noGrp="1"/>
          </p:cNvSpPr>
          <p:nvPr>
            <p:ph idx="13" hasCustomPrompt="1"/>
          </p:nvPr>
        </p:nvSpPr>
        <p:spPr>
          <a:xfrm>
            <a:off x="565354" y="1995319"/>
            <a:ext cx="10722076" cy="4497556"/>
          </a:xfrm>
          <a:prstGeom prst="rect">
            <a:avLst/>
          </a:prstGeom>
          <a:solidFill>
            <a:srgbClr val="CAD4C1"/>
          </a:solidFill>
        </p:spPr>
        <p:txBody>
          <a:bodyPr anchor="ctr"/>
          <a:lstStyle>
            <a:lvl1pPr marL="1000125" indent="-457200" algn="l">
              <a:buFont typeface="Arial" panose="020B0604020202020204" pitchFamily="34" charset="0"/>
              <a:buChar char="•"/>
              <a:defRPr sz="2560"/>
            </a:lvl1pPr>
          </a:lstStyle>
          <a:p>
            <a:pPr lvl="0"/>
            <a:r>
              <a:rPr lang="en-AU" dirty="0"/>
              <a:t>Your text goes here</a:t>
            </a:r>
          </a:p>
          <a:p>
            <a:pPr lvl="0"/>
            <a:r>
              <a:rPr lang="en-AU" dirty="0"/>
              <a:t>Sample</a:t>
            </a:r>
          </a:p>
          <a:p>
            <a:pPr lvl="0"/>
            <a:r>
              <a:rPr lang="en-AU" dirty="0"/>
              <a:t>Testing</a:t>
            </a:r>
          </a:p>
          <a:p>
            <a:pPr lvl="0"/>
            <a:r>
              <a:rPr lang="en-AU" dirty="0"/>
              <a:t>Other examples</a:t>
            </a:r>
            <a:endParaRPr lang="fr-CH" dirty="0"/>
          </a:p>
        </p:txBody>
      </p:sp>
    </p:spTree>
    <p:extLst>
      <p:ext uri="{BB962C8B-B14F-4D97-AF65-F5344CB8AC3E}">
        <p14:creationId xmlns:p14="http://schemas.microsoft.com/office/powerpoint/2010/main" val="60545488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4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A296D6-1213-427D-BD83-D57981BC5F3E}"/>
              </a:ext>
            </a:extLst>
          </p:cNvPr>
          <p:cNvSpPr>
            <a:spLocks noGrp="1"/>
          </p:cNvSpPr>
          <p:nvPr>
            <p:ph type="title"/>
          </p:nvPr>
        </p:nvSpPr>
        <p:spPr/>
        <p:txBody>
          <a:bodyPr/>
          <a:lstStyle/>
          <a:p>
            <a:r>
              <a:rPr lang="en-US" dirty="0"/>
              <a:t>Click to edit Master title style</a:t>
            </a:r>
            <a:endParaRPr lang="fr-CH" dirty="0"/>
          </a:p>
        </p:txBody>
      </p:sp>
      <p:sp>
        <p:nvSpPr>
          <p:cNvPr id="4" name="Content Placeholder 2">
            <a:extLst>
              <a:ext uri="{FF2B5EF4-FFF2-40B4-BE49-F238E27FC236}">
                <a16:creationId xmlns:a16="http://schemas.microsoft.com/office/drawing/2014/main" id="{6FDD6568-3F6E-4AA8-ACFF-3AB9B8529EA0}"/>
              </a:ext>
            </a:extLst>
          </p:cNvPr>
          <p:cNvSpPr>
            <a:spLocks noGrp="1"/>
          </p:cNvSpPr>
          <p:nvPr>
            <p:ph idx="13" hasCustomPrompt="1"/>
          </p:nvPr>
        </p:nvSpPr>
        <p:spPr>
          <a:xfrm>
            <a:off x="565354" y="1995319"/>
            <a:ext cx="10722076" cy="4497556"/>
          </a:xfrm>
          <a:prstGeom prst="rect">
            <a:avLst/>
          </a:prstGeom>
          <a:solidFill>
            <a:srgbClr val="CAD4C1"/>
          </a:solidFill>
        </p:spPr>
        <p:txBody>
          <a:bodyPr anchor="ctr"/>
          <a:lstStyle>
            <a:lvl1pPr marL="1000125" indent="-457200" algn="l">
              <a:buFont typeface="Arial" panose="020B0604020202020204" pitchFamily="34" charset="0"/>
              <a:buChar char="•"/>
              <a:defRPr sz="2560"/>
            </a:lvl1pPr>
          </a:lstStyle>
          <a:p>
            <a:pPr lvl="0"/>
            <a:r>
              <a:rPr lang="en-AU" dirty="0"/>
              <a:t>Your text goes here</a:t>
            </a:r>
          </a:p>
          <a:p>
            <a:pPr lvl="0"/>
            <a:r>
              <a:rPr lang="en-AU" dirty="0"/>
              <a:t>Sample</a:t>
            </a:r>
          </a:p>
          <a:p>
            <a:pPr lvl="0"/>
            <a:r>
              <a:rPr lang="en-AU" dirty="0"/>
              <a:t>Testing</a:t>
            </a:r>
          </a:p>
          <a:p>
            <a:pPr lvl="0"/>
            <a:r>
              <a:rPr lang="en-AU" dirty="0"/>
              <a:t>Other examples</a:t>
            </a:r>
            <a:endParaRPr lang="fr-CH" dirty="0"/>
          </a:p>
        </p:txBody>
      </p:sp>
    </p:spTree>
    <p:extLst>
      <p:ext uri="{BB962C8B-B14F-4D97-AF65-F5344CB8AC3E}">
        <p14:creationId xmlns:p14="http://schemas.microsoft.com/office/powerpoint/2010/main" val="340291753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57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A296D6-1213-427D-BD83-D57981BC5F3E}"/>
              </a:ext>
            </a:extLst>
          </p:cNvPr>
          <p:cNvSpPr>
            <a:spLocks noGrp="1"/>
          </p:cNvSpPr>
          <p:nvPr>
            <p:ph type="title"/>
          </p:nvPr>
        </p:nvSpPr>
        <p:spPr/>
        <p:txBody>
          <a:bodyPr/>
          <a:lstStyle/>
          <a:p>
            <a:r>
              <a:rPr lang="en-US" dirty="0"/>
              <a:t>Click to edit Master title style</a:t>
            </a:r>
            <a:endParaRPr lang="fr-CH" dirty="0"/>
          </a:p>
        </p:txBody>
      </p:sp>
      <p:sp>
        <p:nvSpPr>
          <p:cNvPr id="4" name="Content Placeholder 2">
            <a:extLst>
              <a:ext uri="{FF2B5EF4-FFF2-40B4-BE49-F238E27FC236}">
                <a16:creationId xmlns:a16="http://schemas.microsoft.com/office/drawing/2014/main" id="{6FDD6568-3F6E-4AA8-ACFF-3AB9B8529EA0}"/>
              </a:ext>
            </a:extLst>
          </p:cNvPr>
          <p:cNvSpPr>
            <a:spLocks noGrp="1"/>
          </p:cNvSpPr>
          <p:nvPr>
            <p:ph idx="13" hasCustomPrompt="1"/>
          </p:nvPr>
        </p:nvSpPr>
        <p:spPr>
          <a:xfrm>
            <a:off x="565354" y="1995319"/>
            <a:ext cx="10722076" cy="4497556"/>
          </a:xfrm>
          <a:prstGeom prst="rect">
            <a:avLst/>
          </a:prstGeom>
          <a:solidFill>
            <a:srgbClr val="CAD4C1"/>
          </a:solidFill>
        </p:spPr>
        <p:txBody>
          <a:bodyPr anchor="ctr"/>
          <a:lstStyle>
            <a:lvl1pPr marL="1000125" indent="-457200" algn="l">
              <a:buFont typeface="Arial" panose="020B0604020202020204" pitchFamily="34" charset="0"/>
              <a:buChar char="•"/>
              <a:defRPr sz="2560"/>
            </a:lvl1pPr>
          </a:lstStyle>
          <a:p>
            <a:pPr lvl="0"/>
            <a:r>
              <a:rPr lang="en-AU" dirty="0"/>
              <a:t>Your text goes here</a:t>
            </a:r>
          </a:p>
          <a:p>
            <a:pPr lvl="0"/>
            <a:r>
              <a:rPr lang="en-AU" dirty="0"/>
              <a:t>Sample</a:t>
            </a:r>
          </a:p>
          <a:p>
            <a:pPr lvl="0"/>
            <a:r>
              <a:rPr lang="en-AU" dirty="0"/>
              <a:t>Testing</a:t>
            </a:r>
          </a:p>
          <a:p>
            <a:pPr lvl="0"/>
            <a:r>
              <a:rPr lang="en-AU" dirty="0"/>
              <a:t>Other examples</a:t>
            </a:r>
            <a:endParaRPr lang="fr-CH" dirty="0"/>
          </a:p>
        </p:txBody>
      </p:sp>
    </p:spTree>
    <p:extLst>
      <p:ext uri="{BB962C8B-B14F-4D97-AF65-F5344CB8AC3E}">
        <p14:creationId xmlns:p14="http://schemas.microsoft.com/office/powerpoint/2010/main" val="162859068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75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A296D6-1213-427D-BD83-D57981BC5F3E}"/>
              </a:ext>
            </a:extLst>
          </p:cNvPr>
          <p:cNvSpPr>
            <a:spLocks noGrp="1"/>
          </p:cNvSpPr>
          <p:nvPr>
            <p:ph type="title"/>
          </p:nvPr>
        </p:nvSpPr>
        <p:spPr/>
        <p:txBody>
          <a:bodyPr/>
          <a:lstStyle/>
          <a:p>
            <a:r>
              <a:rPr lang="en-US" dirty="0"/>
              <a:t>Click to edit Master title style</a:t>
            </a:r>
            <a:endParaRPr lang="fr-CH" dirty="0"/>
          </a:p>
        </p:txBody>
      </p:sp>
      <p:sp>
        <p:nvSpPr>
          <p:cNvPr id="4" name="Content Placeholder 2">
            <a:extLst>
              <a:ext uri="{FF2B5EF4-FFF2-40B4-BE49-F238E27FC236}">
                <a16:creationId xmlns:a16="http://schemas.microsoft.com/office/drawing/2014/main" id="{6FDD6568-3F6E-4AA8-ACFF-3AB9B8529EA0}"/>
              </a:ext>
            </a:extLst>
          </p:cNvPr>
          <p:cNvSpPr>
            <a:spLocks noGrp="1"/>
          </p:cNvSpPr>
          <p:nvPr>
            <p:ph idx="13" hasCustomPrompt="1"/>
          </p:nvPr>
        </p:nvSpPr>
        <p:spPr>
          <a:xfrm>
            <a:off x="565354" y="1995319"/>
            <a:ext cx="10722076" cy="4497556"/>
          </a:xfrm>
          <a:prstGeom prst="rect">
            <a:avLst/>
          </a:prstGeom>
          <a:solidFill>
            <a:srgbClr val="CAD4C1"/>
          </a:solidFill>
        </p:spPr>
        <p:txBody>
          <a:bodyPr anchor="ctr"/>
          <a:lstStyle>
            <a:lvl1pPr marL="1000125" indent="-457200" algn="l">
              <a:buFont typeface="Arial" panose="020B0604020202020204" pitchFamily="34" charset="0"/>
              <a:buChar char="•"/>
              <a:defRPr sz="2560"/>
            </a:lvl1pPr>
          </a:lstStyle>
          <a:p>
            <a:pPr lvl="0"/>
            <a:r>
              <a:rPr lang="en-AU" dirty="0"/>
              <a:t>Your text goes here</a:t>
            </a:r>
          </a:p>
          <a:p>
            <a:pPr lvl="0"/>
            <a:r>
              <a:rPr lang="en-AU" dirty="0"/>
              <a:t>Sample</a:t>
            </a:r>
          </a:p>
          <a:p>
            <a:pPr lvl="0"/>
            <a:r>
              <a:rPr lang="en-AU" dirty="0"/>
              <a:t>Testing</a:t>
            </a:r>
          </a:p>
          <a:p>
            <a:pPr lvl="0"/>
            <a:r>
              <a:rPr lang="en-AU" dirty="0"/>
              <a:t>Other examples</a:t>
            </a:r>
            <a:endParaRPr lang="fr-CH" dirty="0"/>
          </a:p>
        </p:txBody>
      </p:sp>
    </p:spTree>
    <p:extLst>
      <p:ext uri="{BB962C8B-B14F-4D97-AF65-F5344CB8AC3E}">
        <p14:creationId xmlns:p14="http://schemas.microsoft.com/office/powerpoint/2010/main" val="166772291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1CF1D8-5AE4-4E72-9FB8-922D0EF4AB1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fr-CH"/>
          </a:p>
        </p:txBody>
      </p:sp>
      <p:sp>
        <p:nvSpPr>
          <p:cNvPr id="3" name="Subtitle 2">
            <a:extLst>
              <a:ext uri="{FF2B5EF4-FFF2-40B4-BE49-F238E27FC236}">
                <a16:creationId xmlns:a16="http://schemas.microsoft.com/office/drawing/2014/main" id="{9D914330-63E6-49CF-AB09-F5FDC2D60251}"/>
              </a:ext>
            </a:extLst>
          </p:cNvPr>
          <p:cNvSpPr>
            <a:spLocks noGrp="1"/>
          </p:cNvSpPr>
          <p:nvPr>
            <p:ph type="subTitle" idx="1"/>
          </p:nvPr>
        </p:nvSpPr>
        <p:spPr>
          <a:xfrm>
            <a:off x="1524000" y="3602038"/>
            <a:ext cx="9144000" cy="1655762"/>
          </a:xfrm>
        </p:spPr>
        <p:txBody>
          <a:bodyPr/>
          <a:lstStyle>
            <a:lvl1pPr marL="0" indent="0" algn="ctr">
              <a:buNone/>
              <a:defRPr sz="24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endParaRPr lang="fr-CH"/>
          </a:p>
        </p:txBody>
      </p:sp>
      <p:sp>
        <p:nvSpPr>
          <p:cNvPr id="4" name="Date Placeholder 3">
            <a:extLst>
              <a:ext uri="{FF2B5EF4-FFF2-40B4-BE49-F238E27FC236}">
                <a16:creationId xmlns:a16="http://schemas.microsoft.com/office/drawing/2014/main" id="{A9AD4D9C-C325-41DA-9143-A8FE3A8C04F9}"/>
              </a:ext>
            </a:extLst>
          </p:cNvPr>
          <p:cNvSpPr>
            <a:spLocks noGrp="1"/>
          </p:cNvSpPr>
          <p:nvPr>
            <p:ph type="dt" sz="half" idx="10"/>
          </p:nvPr>
        </p:nvSpPr>
        <p:spPr/>
        <p:txBody>
          <a:bodyPr/>
          <a:lstStyle/>
          <a:p>
            <a:fld id="{1D8BD707-D9CF-40AE-B4C6-C98DA3205C09}" type="datetimeFigureOut">
              <a:rPr lang="en-US" smtClean="0"/>
              <a:pPr/>
              <a:t>6/5/2023</a:t>
            </a:fld>
            <a:endParaRPr lang="en-US" dirty="0"/>
          </a:p>
        </p:txBody>
      </p:sp>
      <p:sp>
        <p:nvSpPr>
          <p:cNvPr id="5" name="Footer Placeholder 4">
            <a:extLst>
              <a:ext uri="{FF2B5EF4-FFF2-40B4-BE49-F238E27FC236}">
                <a16:creationId xmlns:a16="http://schemas.microsoft.com/office/drawing/2014/main" id="{71AD568C-F183-499C-AB0B-CB6B1D25DB6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95394004-CB2E-48AE-8519-B710075E3DCA}"/>
              </a:ext>
            </a:extLst>
          </p:cNvPr>
          <p:cNvSpPr>
            <a:spLocks noGrp="1"/>
          </p:cNvSpPr>
          <p:nvPr>
            <p:ph type="sldNum" sz="quarter" idx="12"/>
          </p:nvPr>
        </p:nvSpPr>
        <p:spPr/>
        <p:txBody>
          <a:bodyPr/>
          <a:lstStyle/>
          <a:p>
            <a:fld id="{B6F15528-21DE-4FAA-801E-634DDDAF4B2B}" type="slidenum">
              <a:rPr lang="en-US" smtClean="0"/>
              <a:pPr/>
              <a:t>‹#›</a:t>
            </a:fld>
            <a:endParaRPr lang="en-US" dirty="0"/>
          </a:p>
        </p:txBody>
      </p:sp>
    </p:spTree>
    <p:extLst>
      <p:ext uri="{BB962C8B-B14F-4D97-AF65-F5344CB8AC3E}">
        <p14:creationId xmlns:p14="http://schemas.microsoft.com/office/powerpoint/2010/main" val="348602462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970C81-F2BC-40FE-8C66-3AE61136484E}"/>
              </a:ext>
            </a:extLst>
          </p:cNvPr>
          <p:cNvSpPr>
            <a:spLocks noGrp="1"/>
          </p:cNvSpPr>
          <p:nvPr>
            <p:ph type="title"/>
          </p:nvPr>
        </p:nvSpPr>
        <p:spPr/>
        <p:txBody>
          <a:bodyPr/>
          <a:lstStyle/>
          <a:p>
            <a:r>
              <a:rPr lang="en-US"/>
              <a:t>Click to edit Master title style</a:t>
            </a:r>
            <a:endParaRPr lang="fr-CH"/>
          </a:p>
        </p:txBody>
      </p:sp>
      <p:sp>
        <p:nvSpPr>
          <p:cNvPr id="3" name="Content Placeholder 2">
            <a:extLst>
              <a:ext uri="{FF2B5EF4-FFF2-40B4-BE49-F238E27FC236}">
                <a16:creationId xmlns:a16="http://schemas.microsoft.com/office/drawing/2014/main" id="{FA708A17-1834-429F-A4C0-D15EA2A41DF1}"/>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CH"/>
          </a:p>
        </p:txBody>
      </p:sp>
      <p:sp>
        <p:nvSpPr>
          <p:cNvPr id="4" name="Date Placeholder 3">
            <a:extLst>
              <a:ext uri="{FF2B5EF4-FFF2-40B4-BE49-F238E27FC236}">
                <a16:creationId xmlns:a16="http://schemas.microsoft.com/office/drawing/2014/main" id="{38ACA4E6-2B01-487F-8AC4-C525CCF56151}"/>
              </a:ext>
            </a:extLst>
          </p:cNvPr>
          <p:cNvSpPr>
            <a:spLocks noGrp="1"/>
          </p:cNvSpPr>
          <p:nvPr>
            <p:ph type="dt" sz="half" idx="10"/>
          </p:nvPr>
        </p:nvSpPr>
        <p:spPr/>
        <p:txBody>
          <a:bodyPr/>
          <a:lstStyle/>
          <a:p>
            <a:fld id="{1D8BD707-D9CF-40AE-B4C6-C98DA3205C09}" type="datetimeFigureOut">
              <a:rPr lang="en-US" smtClean="0"/>
              <a:pPr/>
              <a:t>6/5/2023</a:t>
            </a:fld>
            <a:endParaRPr lang="en-US" dirty="0"/>
          </a:p>
        </p:txBody>
      </p:sp>
      <p:sp>
        <p:nvSpPr>
          <p:cNvPr id="5" name="Footer Placeholder 4">
            <a:extLst>
              <a:ext uri="{FF2B5EF4-FFF2-40B4-BE49-F238E27FC236}">
                <a16:creationId xmlns:a16="http://schemas.microsoft.com/office/drawing/2014/main" id="{0E4F067A-AD48-49F2-A519-FD59DF61DF1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9AB0E7F3-FD29-42ED-B0E3-0CEC976C3A3B}"/>
              </a:ext>
            </a:extLst>
          </p:cNvPr>
          <p:cNvSpPr>
            <a:spLocks noGrp="1"/>
          </p:cNvSpPr>
          <p:nvPr>
            <p:ph type="sldNum" sz="quarter" idx="12"/>
          </p:nvPr>
        </p:nvSpPr>
        <p:spPr/>
        <p:txBody>
          <a:bodyPr/>
          <a:lstStyle/>
          <a:p>
            <a:fld id="{B6F15528-21DE-4FAA-801E-634DDDAF4B2B}" type="slidenum">
              <a:rPr lang="en-US" smtClean="0"/>
              <a:pPr/>
              <a:t>‹#›</a:t>
            </a:fld>
            <a:endParaRPr lang="en-US" dirty="0"/>
          </a:p>
        </p:txBody>
      </p:sp>
    </p:spTree>
    <p:extLst>
      <p:ext uri="{BB962C8B-B14F-4D97-AF65-F5344CB8AC3E}">
        <p14:creationId xmlns:p14="http://schemas.microsoft.com/office/powerpoint/2010/main" val="18505665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8BB3C2-3BB0-45F2-8ABD-B8927E1DCF55}"/>
              </a:ext>
            </a:extLst>
          </p:cNvPr>
          <p:cNvSpPr>
            <a:spLocks noGrp="1"/>
          </p:cNvSpPr>
          <p:nvPr>
            <p:ph type="title"/>
          </p:nvPr>
        </p:nvSpPr>
        <p:spPr>
          <a:xfrm>
            <a:off x="831850" y="1709739"/>
            <a:ext cx="10515600" cy="2852737"/>
          </a:xfrm>
        </p:spPr>
        <p:txBody>
          <a:bodyPr anchor="b"/>
          <a:lstStyle>
            <a:lvl1pPr>
              <a:defRPr sz="6000"/>
            </a:lvl1pPr>
          </a:lstStyle>
          <a:p>
            <a:r>
              <a:rPr lang="en-US"/>
              <a:t>Click to edit Master title style</a:t>
            </a:r>
            <a:endParaRPr lang="fr-CH"/>
          </a:p>
        </p:txBody>
      </p:sp>
      <p:sp>
        <p:nvSpPr>
          <p:cNvPr id="3" name="Text Placeholder 2">
            <a:extLst>
              <a:ext uri="{FF2B5EF4-FFF2-40B4-BE49-F238E27FC236}">
                <a16:creationId xmlns:a16="http://schemas.microsoft.com/office/drawing/2014/main" id="{8FF5EE04-BD21-471E-A04A-2F527DD456E9}"/>
              </a:ext>
            </a:extLst>
          </p:cNvPr>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223" indent="0">
              <a:buNone/>
              <a:defRPr sz="2000">
                <a:solidFill>
                  <a:schemeClr val="tx1">
                    <a:tint val="75000"/>
                  </a:schemeClr>
                </a:solidFill>
              </a:defRPr>
            </a:lvl2pPr>
            <a:lvl3pPr marL="914446" indent="0">
              <a:buNone/>
              <a:defRPr sz="1800">
                <a:solidFill>
                  <a:schemeClr val="tx1">
                    <a:tint val="75000"/>
                  </a:schemeClr>
                </a:solidFill>
              </a:defRPr>
            </a:lvl3pPr>
            <a:lvl4pPr marL="1371669" indent="0">
              <a:buNone/>
              <a:defRPr sz="1600">
                <a:solidFill>
                  <a:schemeClr val="tx1">
                    <a:tint val="75000"/>
                  </a:schemeClr>
                </a:solidFill>
              </a:defRPr>
            </a:lvl4pPr>
            <a:lvl5pPr marL="1828891" indent="0">
              <a:buNone/>
              <a:defRPr sz="1600">
                <a:solidFill>
                  <a:schemeClr val="tx1">
                    <a:tint val="75000"/>
                  </a:schemeClr>
                </a:solidFill>
              </a:defRPr>
            </a:lvl5pPr>
            <a:lvl6pPr marL="2286114" indent="0">
              <a:buNone/>
              <a:defRPr sz="1600">
                <a:solidFill>
                  <a:schemeClr val="tx1">
                    <a:tint val="75000"/>
                  </a:schemeClr>
                </a:solidFill>
              </a:defRPr>
            </a:lvl6pPr>
            <a:lvl7pPr marL="2743337" indent="0">
              <a:buNone/>
              <a:defRPr sz="1600">
                <a:solidFill>
                  <a:schemeClr val="tx1">
                    <a:tint val="75000"/>
                  </a:schemeClr>
                </a:solidFill>
              </a:defRPr>
            </a:lvl7pPr>
            <a:lvl8pPr marL="3200560" indent="0">
              <a:buNone/>
              <a:defRPr sz="1600">
                <a:solidFill>
                  <a:schemeClr val="tx1">
                    <a:tint val="75000"/>
                  </a:schemeClr>
                </a:solidFill>
              </a:defRPr>
            </a:lvl8pPr>
            <a:lvl9pPr marL="3657783"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62C5F6F1-BFB2-44A3-B066-0433B74F70A8}"/>
              </a:ext>
            </a:extLst>
          </p:cNvPr>
          <p:cNvSpPr>
            <a:spLocks noGrp="1"/>
          </p:cNvSpPr>
          <p:nvPr>
            <p:ph type="dt" sz="half" idx="10"/>
          </p:nvPr>
        </p:nvSpPr>
        <p:spPr/>
        <p:txBody>
          <a:bodyPr/>
          <a:lstStyle/>
          <a:p>
            <a:fld id="{1D8BD707-D9CF-40AE-B4C6-C98DA3205C09}" type="datetimeFigureOut">
              <a:rPr lang="en-US" smtClean="0"/>
              <a:pPr/>
              <a:t>6/5/2023</a:t>
            </a:fld>
            <a:endParaRPr lang="en-US" dirty="0"/>
          </a:p>
        </p:txBody>
      </p:sp>
      <p:sp>
        <p:nvSpPr>
          <p:cNvPr id="5" name="Footer Placeholder 4">
            <a:extLst>
              <a:ext uri="{FF2B5EF4-FFF2-40B4-BE49-F238E27FC236}">
                <a16:creationId xmlns:a16="http://schemas.microsoft.com/office/drawing/2014/main" id="{1CA48761-BEB3-4119-8B25-A62EED46AF03}"/>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BD1B109A-1875-4EE0-BBC3-38396FB6D29F}"/>
              </a:ext>
            </a:extLst>
          </p:cNvPr>
          <p:cNvSpPr>
            <a:spLocks noGrp="1"/>
          </p:cNvSpPr>
          <p:nvPr>
            <p:ph type="sldNum" sz="quarter" idx="12"/>
          </p:nvPr>
        </p:nvSpPr>
        <p:spPr/>
        <p:txBody>
          <a:bodyPr/>
          <a:lstStyle/>
          <a:p>
            <a:fld id="{B6F15528-21DE-4FAA-801E-634DDDAF4B2B}" type="slidenum">
              <a:rPr lang="en-US" smtClean="0"/>
              <a:pPr/>
              <a:t>‹#›</a:t>
            </a:fld>
            <a:endParaRPr lang="en-US" dirty="0"/>
          </a:p>
        </p:txBody>
      </p:sp>
    </p:spTree>
    <p:extLst>
      <p:ext uri="{BB962C8B-B14F-4D97-AF65-F5344CB8AC3E}">
        <p14:creationId xmlns:p14="http://schemas.microsoft.com/office/powerpoint/2010/main" val="362788046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3B8DBB-7E34-43D3-9151-AC5A075F75F9}"/>
              </a:ext>
            </a:extLst>
          </p:cNvPr>
          <p:cNvSpPr>
            <a:spLocks noGrp="1"/>
          </p:cNvSpPr>
          <p:nvPr>
            <p:ph type="title"/>
          </p:nvPr>
        </p:nvSpPr>
        <p:spPr/>
        <p:txBody>
          <a:bodyPr/>
          <a:lstStyle/>
          <a:p>
            <a:r>
              <a:rPr lang="en-US"/>
              <a:t>Click to edit Master title style</a:t>
            </a:r>
            <a:endParaRPr lang="fr-CH"/>
          </a:p>
        </p:txBody>
      </p:sp>
      <p:sp>
        <p:nvSpPr>
          <p:cNvPr id="3" name="Content Placeholder 2">
            <a:extLst>
              <a:ext uri="{FF2B5EF4-FFF2-40B4-BE49-F238E27FC236}">
                <a16:creationId xmlns:a16="http://schemas.microsoft.com/office/drawing/2014/main" id="{F5288C40-1905-436E-85DD-180D6F52912E}"/>
              </a:ext>
            </a:extLst>
          </p:cNvPr>
          <p:cNvSpPr>
            <a:spLocks noGrp="1"/>
          </p:cNvSpPr>
          <p:nvPr>
            <p:ph sz="half" idx="1"/>
          </p:nvPr>
        </p:nvSpPr>
        <p:spPr>
          <a:xfrm>
            <a:off x="838200" y="1825626"/>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CH"/>
          </a:p>
        </p:txBody>
      </p:sp>
      <p:sp>
        <p:nvSpPr>
          <p:cNvPr id="4" name="Content Placeholder 3">
            <a:extLst>
              <a:ext uri="{FF2B5EF4-FFF2-40B4-BE49-F238E27FC236}">
                <a16:creationId xmlns:a16="http://schemas.microsoft.com/office/drawing/2014/main" id="{F131E283-09D3-4E42-939A-88FFD6D80314}"/>
              </a:ext>
            </a:extLst>
          </p:cNvPr>
          <p:cNvSpPr>
            <a:spLocks noGrp="1"/>
          </p:cNvSpPr>
          <p:nvPr>
            <p:ph sz="half" idx="2"/>
          </p:nvPr>
        </p:nvSpPr>
        <p:spPr>
          <a:xfrm>
            <a:off x="6172200" y="1825626"/>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CH"/>
          </a:p>
        </p:txBody>
      </p:sp>
      <p:sp>
        <p:nvSpPr>
          <p:cNvPr id="5" name="Date Placeholder 4">
            <a:extLst>
              <a:ext uri="{FF2B5EF4-FFF2-40B4-BE49-F238E27FC236}">
                <a16:creationId xmlns:a16="http://schemas.microsoft.com/office/drawing/2014/main" id="{0EEC9D6D-A59B-4731-AAE8-042A8AA3C632}"/>
              </a:ext>
            </a:extLst>
          </p:cNvPr>
          <p:cNvSpPr>
            <a:spLocks noGrp="1"/>
          </p:cNvSpPr>
          <p:nvPr>
            <p:ph type="dt" sz="half" idx="10"/>
          </p:nvPr>
        </p:nvSpPr>
        <p:spPr/>
        <p:txBody>
          <a:bodyPr/>
          <a:lstStyle/>
          <a:p>
            <a:fld id="{1D8BD707-D9CF-40AE-B4C6-C98DA3205C09}" type="datetimeFigureOut">
              <a:rPr lang="en-US" smtClean="0"/>
              <a:pPr/>
              <a:t>6/5/2023</a:t>
            </a:fld>
            <a:endParaRPr lang="en-US" dirty="0"/>
          </a:p>
        </p:txBody>
      </p:sp>
      <p:sp>
        <p:nvSpPr>
          <p:cNvPr id="6" name="Footer Placeholder 5">
            <a:extLst>
              <a:ext uri="{FF2B5EF4-FFF2-40B4-BE49-F238E27FC236}">
                <a16:creationId xmlns:a16="http://schemas.microsoft.com/office/drawing/2014/main" id="{D001AE1E-06EF-4E9E-B92F-9A451CFCCD67}"/>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251E4C02-7174-4E0B-A536-0352D8DAFA8F}"/>
              </a:ext>
            </a:extLst>
          </p:cNvPr>
          <p:cNvSpPr>
            <a:spLocks noGrp="1"/>
          </p:cNvSpPr>
          <p:nvPr>
            <p:ph type="sldNum" sz="quarter" idx="12"/>
          </p:nvPr>
        </p:nvSpPr>
        <p:spPr/>
        <p:txBody>
          <a:bodyPr/>
          <a:lstStyle/>
          <a:p>
            <a:fld id="{B6F15528-21DE-4FAA-801E-634DDDAF4B2B}" type="slidenum">
              <a:rPr lang="en-US" smtClean="0"/>
              <a:pPr/>
              <a:t>‹#›</a:t>
            </a:fld>
            <a:endParaRPr lang="en-US" dirty="0"/>
          </a:p>
        </p:txBody>
      </p:sp>
    </p:spTree>
    <p:extLst>
      <p:ext uri="{BB962C8B-B14F-4D97-AF65-F5344CB8AC3E}">
        <p14:creationId xmlns:p14="http://schemas.microsoft.com/office/powerpoint/2010/main" val="359105969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A7AC43-42F5-4C77-B616-3F19F3BFE5F2}"/>
              </a:ext>
            </a:extLst>
          </p:cNvPr>
          <p:cNvSpPr>
            <a:spLocks noGrp="1"/>
          </p:cNvSpPr>
          <p:nvPr>
            <p:ph type="title"/>
          </p:nvPr>
        </p:nvSpPr>
        <p:spPr>
          <a:xfrm>
            <a:off x="839789" y="457200"/>
            <a:ext cx="3932237" cy="1600200"/>
          </a:xfrm>
          <a:prstGeom prst="rect">
            <a:avLst/>
          </a:prstGeom>
        </p:spPr>
        <p:txBody>
          <a:bodyPr anchor="b"/>
          <a:lstStyle>
            <a:lvl1pPr>
              <a:defRPr sz="3200"/>
            </a:lvl1pPr>
          </a:lstStyle>
          <a:p>
            <a:r>
              <a:rPr lang="en-US"/>
              <a:t>Click to edit Master title style</a:t>
            </a:r>
            <a:endParaRPr lang="fr-CH"/>
          </a:p>
        </p:txBody>
      </p:sp>
      <p:sp>
        <p:nvSpPr>
          <p:cNvPr id="3" name="Picture Placeholder 2">
            <a:extLst>
              <a:ext uri="{FF2B5EF4-FFF2-40B4-BE49-F238E27FC236}">
                <a16:creationId xmlns:a16="http://schemas.microsoft.com/office/drawing/2014/main" id="{7D21B6D5-6F2A-4747-93D6-DD0D5B319C26}"/>
              </a:ext>
            </a:extLst>
          </p:cNvPr>
          <p:cNvSpPr>
            <a:spLocks noGrp="1"/>
          </p:cNvSpPr>
          <p:nvPr>
            <p:ph type="pic" idx="1"/>
          </p:nvPr>
        </p:nvSpPr>
        <p:spPr>
          <a:xfrm>
            <a:off x="5183188" y="987426"/>
            <a:ext cx="6172200" cy="4873625"/>
          </a:xfrm>
          <a:prstGeom prst="rect">
            <a:avLst/>
          </a:prstGeom>
        </p:spPr>
        <p:txBody>
          <a:bodyPr/>
          <a:lstStyle>
            <a:lvl1pPr marL="0" indent="0">
              <a:buNone/>
              <a:defRPr sz="3200"/>
            </a:lvl1pPr>
            <a:lvl2pPr marL="457223" indent="0">
              <a:buNone/>
              <a:defRPr sz="2800"/>
            </a:lvl2pPr>
            <a:lvl3pPr marL="914446" indent="0">
              <a:buNone/>
              <a:defRPr sz="2400"/>
            </a:lvl3pPr>
            <a:lvl4pPr marL="1371669" indent="0">
              <a:buNone/>
              <a:defRPr sz="2000"/>
            </a:lvl4pPr>
            <a:lvl5pPr marL="1828891" indent="0">
              <a:buNone/>
              <a:defRPr sz="2000"/>
            </a:lvl5pPr>
            <a:lvl6pPr marL="2286114" indent="0">
              <a:buNone/>
              <a:defRPr sz="2000"/>
            </a:lvl6pPr>
            <a:lvl7pPr marL="2743337" indent="0">
              <a:buNone/>
              <a:defRPr sz="2000"/>
            </a:lvl7pPr>
            <a:lvl8pPr marL="3200560" indent="0">
              <a:buNone/>
              <a:defRPr sz="2000"/>
            </a:lvl8pPr>
            <a:lvl9pPr marL="3657783" indent="0">
              <a:buNone/>
              <a:defRPr sz="2000"/>
            </a:lvl9pPr>
          </a:lstStyle>
          <a:p>
            <a:endParaRPr lang="fr-CH" dirty="0"/>
          </a:p>
        </p:txBody>
      </p:sp>
      <p:sp>
        <p:nvSpPr>
          <p:cNvPr id="4" name="Text Placeholder 3">
            <a:extLst>
              <a:ext uri="{FF2B5EF4-FFF2-40B4-BE49-F238E27FC236}">
                <a16:creationId xmlns:a16="http://schemas.microsoft.com/office/drawing/2014/main" id="{FEE57B9F-2AA0-4501-8A1B-5CCEF78A10B3}"/>
              </a:ext>
            </a:extLst>
          </p:cNvPr>
          <p:cNvSpPr>
            <a:spLocks noGrp="1"/>
          </p:cNvSpPr>
          <p:nvPr>
            <p:ph type="body" sz="half" idx="2"/>
          </p:nvPr>
        </p:nvSpPr>
        <p:spPr>
          <a:xfrm>
            <a:off x="839789" y="2057400"/>
            <a:ext cx="3932237" cy="3811588"/>
          </a:xfrm>
          <a:prstGeom prst="rect">
            <a:avLst/>
          </a:prstGeom>
        </p:spPr>
        <p:txBody>
          <a:bodyPr/>
          <a:lstStyle>
            <a:lvl1pPr marL="0" indent="0">
              <a:buNone/>
              <a:defRPr sz="1600"/>
            </a:lvl1pPr>
            <a:lvl2pPr marL="457223" indent="0">
              <a:buNone/>
              <a:defRPr sz="1400"/>
            </a:lvl2pPr>
            <a:lvl3pPr marL="914446" indent="0">
              <a:buNone/>
              <a:defRPr sz="1200"/>
            </a:lvl3pPr>
            <a:lvl4pPr marL="1371669" indent="0">
              <a:buNone/>
              <a:defRPr sz="1000"/>
            </a:lvl4pPr>
            <a:lvl5pPr marL="1828891" indent="0">
              <a:buNone/>
              <a:defRPr sz="1000"/>
            </a:lvl5pPr>
            <a:lvl6pPr marL="2286114" indent="0">
              <a:buNone/>
              <a:defRPr sz="1000"/>
            </a:lvl6pPr>
            <a:lvl7pPr marL="2743337" indent="0">
              <a:buNone/>
              <a:defRPr sz="1000"/>
            </a:lvl7pPr>
            <a:lvl8pPr marL="3200560" indent="0">
              <a:buNone/>
              <a:defRPr sz="1000"/>
            </a:lvl8pPr>
            <a:lvl9pPr marL="3657783" indent="0">
              <a:buNone/>
              <a:defRPr sz="1000"/>
            </a:lvl9pPr>
          </a:lstStyle>
          <a:p>
            <a:pPr lvl="0"/>
            <a:endParaRPr lang="en-US" dirty="0"/>
          </a:p>
        </p:txBody>
      </p:sp>
    </p:spTree>
    <p:extLst>
      <p:ext uri="{BB962C8B-B14F-4D97-AF65-F5344CB8AC3E}">
        <p14:creationId xmlns:p14="http://schemas.microsoft.com/office/powerpoint/2010/main" val="281161569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7C45D1-B4D0-4795-8C9A-49766DBCD6C0}"/>
              </a:ext>
            </a:extLst>
          </p:cNvPr>
          <p:cNvSpPr>
            <a:spLocks noGrp="1"/>
          </p:cNvSpPr>
          <p:nvPr>
            <p:ph type="title"/>
          </p:nvPr>
        </p:nvSpPr>
        <p:spPr>
          <a:xfrm>
            <a:off x="839788" y="365126"/>
            <a:ext cx="10515600" cy="1325563"/>
          </a:xfrm>
        </p:spPr>
        <p:txBody>
          <a:bodyPr/>
          <a:lstStyle/>
          <a:p>
            <a:r>
              <a:rPr lang="en-US"/>
              <a:t>Click to edit Master title style</a:t>
            </a:r>
            <a:endParaRPr lang="fr-CH"/>
          </a:p>
        </p:txBody>
      </p:sp>
      <p:sp>
        <p:nvSpPr>
          <p:cNvPr id="3" name="Text Placeholder 2">
            <a:extLst>
              <a:ext uri="{FF2B5EF4-FFF2-40B4-BE49-F238E27FC236}">
                <a16:creationId xmlns:a16="http://schemas.microsoft.com/office/drawing/2014/main" id="{20A6298D-9CE8-4647-9076-C360889B3505}"/>
              </a:ext>
            </a:extLst>
          </p:cNvPr>
          <p:cNvSpPr>
            <a:spLocks noGrp="1"/>
          </p:cNvSpPr>
          <p:nvPr>
            <p:ph type="body" idx="1"/>
          </p:nvPr>
        </p:nvSpPr>
        <p:spPr>
          <a:xfrm>
            <a:off x="839789" y="1681163"/>
            <a:ext cx="5157787" cy="823912"/>
          </a:xfrm>
        </p:spPr>
        <p:txBody>
          <a:bodyPr anchor="b"/>
          <a:lstStyle>
            <a:lvl1pPr marL="0" indent="0">
              <a:buNone/>
              <a:defRPr sz="2400" b="1"/>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A8C134B2-A9E8-40FE-90F8-20B0FBA04E08}"/>
              </a:ext>
            </a:extLst>
          </p:cNvPr>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CH"/>
          </a:p>
        </p:txBody>
      </p:sp>
      <p:sp>
        <p:nvSpPr>
          <p:cNvPr id="5" name="Text Placeholder 4">
            <a:extLst>
              <a:ext uri="{FF2B5EF4-FFF2-40B4-BE49-F238E27FC236}">
                <a16:creationId xmlns:a16="http://schemas.microsoft.com/office/drawing/2014/main" id="{E1B980A5-C67B-4C66-AFC6-4F98C9F692B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68C76AAC-7F3A-4389-BF5B-368C8FA075C1}"/>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CH"/>
          </a:p>
        </p:txBody>
      </p:sp>
      <p:sp>
        <p:nvSpPr>
          <p:cNvPr id="7" name="Date Placeholder 6">
            <a:extLst>
              <a:ext uri="{FF2B5EF4-FFF2-40B4-BE49-F238E27FC236}">
                <a16:creationId xmlns:a16="http://schemas.microsoft.com/office/drawing/2014/main" id="{90E994BA-488C-43E0-AC7F-EE265DCF8C62}"/>
              </a:ext>
            </a:extLst>
          </p:cNvPr>
          <p:cNvSpPr>
            <a:spLocks noGrp="1"/>
          </p:cNvSpPr>
          <p:nvPr>
            <p:ph type="dt" sz="half" idx="10"/>
          </p:nvPr>
        </p:nvSpPr>
        <p:spPr/>
        <p:txBody>
          <a:bodyPr/>
          <a:lstStyle/>
          <a:p>
            <a:fld id="{1D8BD707-D9CF-40AE-B4C6-C98DA3205C09}" type="datetimeFigureOut">
              <a:rPr lang="en-US" smtClean="0"/>
              <a:pPr/>
              <a:t>6/5/2023</a:t>
            </a:fld>
            <a:endParaRPr lang="en-US" dirty="0"/>
          </a:p>
        </p:txBody>
      </p:sp>
      <p:sp>
        <p:nvSpPr>
          <p:cNvPr id="8" name="Footer Placeholder 7">
            <a:extLst>
              <a:ext uri="{FF2B5EF4-FFF2-40B4-BE49-F238E27FC236}">
                <a16:creationId xmlns:a16="http://schemas.microsoft.com/office/drawing/2014/main" id="{C913BB19-4CD1-4769-AECC-0325E8F22DDA}"/>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3B9B846E-0FF3-4109-9618-0F82C83C0AB5}"/>
              </a:ext>
            </a:extLst>
          </p:cNvPr>
          <p:cNvSpPr>
            <a:spLocks noGrp="1"/>
          </p:cNvSpPr>
          <p:nvPr>
            <p:ph type="sldNum" sz="quarter" idx="12"/>
          </p:nvPr>
        </p:nvSpPr>
        <p:spPr/>
        <p:txBody>
          <a:bodyPr/>
          <a:lstStyle/>
          <a:p>
            <a:fld id="{B6F15528-21DE-4FAA-801E-634DDDAF4B2B}" type="slidenum">
              <a:rPr lang="en-US" smtClean="0"/>
              <a:pPr/>
              <a:t>‹#›</a:t>
            </a:fld>
            <a:endParaRPr lang="en-US" dirty="0"/>
          </a:p>
        </p:txBody>
      </p:sp>
    </p:spTree>
    <p:extLst>
      <p:ext uri="{BB962C8B-B14F-4D97-AF65-F5344CB8AC3E}">
        <p14:creationId xmlns:p14="http://schemas.microsoft.com/office/powerpoint/2010/main" val="240335054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C0CA47-3CB3-4512-9C31-66FA3D8597B3}"/>
              </a:ext>
            </a:extLst>
          </p:cNvPr>
          <p:cNvSpPr>
            <a:spLocks noGrp="1"/>
          </p:cNvSpPr>
          <p:nvPr>
            <p:ph type="title"/>
          </p:nvPr>
        </p:nvSpPr>
        <p:spPr/>
        <p:txBody>
          <a:bodyPr/>
          <a:lstStyle/>
          <a:p>
            <a:r>
              <a:rPr lang="en-US"/>
              <a:t>Click to edit Master title style</a:t>
            </a:r>
            <a:endParaRPr lang="fr-CH"/>
          </a:p>
        </p:txBody>
      </p:sp>
      <p:sp>
        <p:nvSpPr>
          <p:cNvPr id="3" name="Date Placeholder 2">
            <a:extLst>
              <a:ext uri="{FF2B5EF4-FFF2-40B4-BE49-F238E27FC236}">
                <a16:creationId xmlns:a16="http://schemas.microsoft.com/office/drawing/2014/main" id="{3E74B7AF-426E-49D6-8F0B-AE1F62509E29}"/>
              </a:ext>
            </a:extLst>
          </p:cNvPr>
          <p:cNvSpPr>
            <a:spLocks noGrp="1"/>
          </p:cNvSpPr>
          <p:nvPr>
            <p:ph type="dt" sz="half" idx="10"/>
          </p:nvPr>
        </p:nvSpPr>
        <p:spPr/>
        <p:txBody>
          <a:bodyPr/>
          <a:lstStyle/>
          <a:p>
            <a:fld id="{1D8BD707-D9CF-40AE-B4C6-C98DA3205C09}" type="datetimeFigureOut">
              <a:rPr lang="en-US" smtClean="0"/>
              <a:pPr/>
              <a:t>6/5/2023</a:t>
            </a:fld>
            <a:endParaRPr lang="en-US" dirty="0"/>
          </a:p>
        </p:txBody>
      </p:sp>
      <p:sp>
        <p:nvSpPr>
          <p:cNvPr id="4" name="Footer Placeholder 3">
            <a:extLst>
              <a:ext uri="{FF2B5EF4-FFF2-40B4-BE49-F238E27FC236}">
                <a16:creationId xmlns:a16="http://schemas.microsoft.com/office/drawing/2014/main" id="{16AD358E-2137-40A3-B599-2172C5290BB6}"/>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4265A433-1CFC-43CE-92F8-07CCB7FEC516}"/>
              </a:ext>
            </a:extLst>
          </p:cNvPr>
          <p:cNvSpPr>
            <a:spLocks noGrp="1"/>
          </p:cNvSpPr>
          <p:nvPr>
            <p:ph type="sldNum" sz="quarter" idx="12"/>
          </p:nvPr>
        </p:nvSpPr>
        <p:spPr/>
        <p:txBody>
          <a:bodyPr/>
          <a:lstStyle/>
          <a:p>
            <a:fld id="{B6F15528-21DE-4FAA-801E-634DDDAF4B2B}" type="slidenum">
              <a:rPr lang="en-US" smtClean="0"/>
              <a:pPr/>
              <a:t>‹#›</a:t>
            </a:fld>
            <a:endParaRPr lang="en-US" dirty="0"/>
          </a:p>
        </p:txBody>
      </p:sp>
    </p:spTree>
    <p:extLst>
      <p:ext uri="{BB962C8B-B14F-4D97-AF65-F5344CB8AC3E}">
        <p14:creationId xmlns:p14="http://schemas.microsoft.com/office/powerpoint/2010/main" val="311769826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BDF54D-DFFE-4B1A-872C-C4A10F73F6FE}"/>
              </a:ext>
            </a:extLst>
          </p:cNvPr>
          <p:cNvSpPr>
            <a:spLocks noGrp="1"/>
          </p:cNvSpPr>
          <p:nvPr>
            <p:ph type="dt" sz="half" idx="10"/>
          </p:nvPr>
        </p:nvSpPr>
        <p:spPr/>
        <p:txBody>
          <a:bodyPr/>
          <a:lstStyle/>
          <a:p>
            <a:fld id="{1D8BD707-D9CF-40AE-B4C6-C98DA3205C09}" type="datetimeFigureOut">
              <a:rPr lang="en-US" smtClean="0"/>
              <a:pPr/>
              <a:t>6/5/2023</a:t>
            </a:fld>
            <a:endParaRPr lang="en-US" dirty="0"/>
          </a:p>
        </p:txBody>
      </p:sp>
      <p:sp>
        <p:nvSpPr>
          <p:cNvPr id="3" name="Footer Placeholder 2">
            <a:extLst>
              <a:ext uri="{FF2B5EF4-FFF2-40B4-BE49-F238E27FC236}">
                <a16:creationId xmlns:a16="http://schemas.microsoft.com/office/drawing/2014/main" id="{E674CAE5-E8A7-4D84-BE18-5B431A164CE1}"/>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56A16975-49A4-488E-98A8-DFCEA0CA9877}"/>
              </a:ext>
            </a:extLst>
          </p:cNvPr>
          <p:cNvSpPr>
            <a:spLocks noGrp="1"/>
          </p:cNvSpPr>
          <p:nvPr>
            <p:ph type="sldNum" sz="quarter" idx="12"/>
          </p:nvPr>
        </p:nvSpPr>
        <p:spPr/>
        <p:txBody>
          <a:bodyPr/>
          <a:lstStyle/>
          <a:p>
            <a:fld id="{B6F15528-21DE-4FAA-801E-634DDDAF4B2B}" type="slidenum">
              <a:rPr lang="en-US" smtClean="0"/>
              <a:pPr/>
              <a:t>‹#›</a:t>
            </a:fld>
            <a:endParaRPr lang="en-US" dirty="0"/>
          </a:p>
        </p:txBody>
      </p:sp>
    </p:spTree>
    <p:extLst>
      <p:ext uri="{BB962C8B-B14F-4D97-AF65-F5344CB8AC3E}">
        <p14:creationId xmlns:p14="http://schemas.microsoft.com/office/powerpoint/2010/main" val="394870769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06F229-A0D4-47A8-BFD3-7981ECB0A509}"/>
              </a:ext>
            </a:extLst>
          </p:cNvPr>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fr-CH"/>
          </a:p>
        </p:txBody>
      </p:sp>
      <p:sp>
        <p:nvSpPr>
          <p:cNvPr id="3" name="Content Placeholder 2">
            <a:extLst>
              <a:ext uri="{FF2B5EF4-FFF2-40B4-BE49-F238E27FC236}">
                <a16:creationId xmlns:a16="http://schemas.microsoft.com/office/drawing/2014/main" id="{31D23327-3029-43A7-8902-D5D097EC30A1}"/>
              </a:ext>
            </a:extLst>
          </p:cNvPr>
          <p:cNvSpPr>
            <a:spLocks noGrp="1"/>
          </p:cNvSpPr>
          <p:nvPr>
            <p:ph idx="1"/>
          </p:nvPr>
        </p:nvSpPr>
        <p:spPr>
          <a:xfrm>
            <a:off x="5183188"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CH"/>
          </a:p>
        </p:txBody>
      </p:sp>
      <p:sp>
        <p:nvSpPr>
          <p:cNvPr id="4" name="Text Placeholder 3">
            <a:extLst>
              <a:ext uri="{FF2B5EF4-FFF2-40B4-BE49-F238E27FC236}">
                <a16:creationId xmlns:a16="http://schemas.microsoft.com/office/drawing/2014/main" id="{FE31524D-B72C-472A-90C0-DFF67AB73991}"/>
              </a:ext>
            </a:extLst>
          </p:cNvPr>
          <p:cNvSpPr>
            <a:spLocks noGrp="1"/>
          </p:cNvSpPr>
          <p:nvPr>
            <p:ph type="body" sz="half" idx="2"/>
          </p:nvPr>
        </p:nvSpPr>
        <p:spPr>
          <a:xfrm>
            <a:off x="839789" y="2057400"/>
            <a:ext cx="3932237" cy="3811588"/>
          </a:xfrm>
        </p:spPr>
        <p:txBody>
          <a:bodyPr/>
          <a:lstStyle>
            <a:lvl1pPr marL="0" indent="0">
              <a:buNone/>
              <a:defRPr sz="1600"/>
            </a:lvl1pPr>
            <a:lvl2pPr marL="457223" indent="0">
              <a:buNone/>
              <a:defRPr sz="1400"/>
            </a:lvl2pPr>
            <a:lvl3pPr marL="914446" indent="0">
              <a:buNone/>
              <a:defRPr sz="1200"/>
            </a:lvl3pPr>
            <a:lvl4pPr marL="1371669" indent="0">
              <a:buNone/>
              <a:defRPr sz="1000"/>
            </a:lvl4pPr>
            <a:lvl5pPr marL="1828891" indent="0">
              <a:buNone/>
              <a:defRPr sz="1000"/>
            </a:lvl5pPr>
            <a:lvl6pPr marL="2286114" indent="0">
              <a:buNone/>
              <a:defRPr sz="1000"/>
            </a:lvl6pPr>
            <a:lvl7pPr marL="2743337" indent="0">
              <a:buNone/>
              <a:defRPr sz="1000"/>
            </a:lvl7pPr>
            <a:lvl8pPr marL="3200560" indent="0">
              <a:buNone/>
              <a:defRPr sz="1000"/>
            </a:lvl8pPr>
            <a:lvl9pPr marL="3657783"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B588DC1-211D-425A-ACFB-5C7A29E53DDD}"/>
              </a:ext>
            </a:extLst>
          </p:cNvPr>
          <p:cNvSpPr>
            <a:spLocks noGrp="1"/>
          </p:cNvSpPr>
          <p:nvPr>
            <p:ph type="dt" sz="half" idx="10"/>
          </p:nvPr>
        </p:nvSpPr>
        <p:spPr/>
        <p:txBody>
          <a:bodyPr/>
          <a:lstStyle/>
          <a:p>
            <a:fld id="{1D8BD707-D9CF-40AE-B4C6-C98DA3205C09}" type="datetimeFigureOut">
              <a:rPr lang="en-US" smtClean="0"/>
              <a:pPr/>
              <a:t>6/5/2023</a:t>
            </a:fld>
            <a:endParaRPr lang="en-US" dirty="0"/>
          </a:p>
        </p:txBody>
      </p:sp>
      <p:sp>
        <p:nvSpPr>
          <p:cNvPr id="6" name="Footer Placeholder 5">
            <a:extLst>
              <a:ext uri="{FF2B5EF4-FFF2-40B4-BE49-F238E27FC236}">
                <a16:creationId xmlns:a16="http://schemas.microsoft.com/office/drawing/2014/main" id="{5F89AC93-C02E-4B4A-A2A5-75F1EC346FF6}"/>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7EFDB6B1-7052-442E-BC53-4216F2D4D4BD}"/>
              </a:ext>
            </a:extLst>
          </p:cNvPr>
          <p:cNvSpPr>
            <a:spLocks noGrp="1"/>
          </p:cNvSpPr>
          <p:nvPr>
            <p:ph type="sldNum" sz="quarter" idx="12"/>
          </p:nvPr>
        </p:nvSpPr>
        <p:spPr/>
        <p:txBody>
          <a:bodyPr/>
          <a:lstStyle/>
          <a:p>
            <a:fld id="{B6F15528-21DE-4FAA-801E-634DDDAF4B2B}" type="slidenum">
              <a:rPr lang="en-US" smtClean="0"/>
              <a:pPr/>
              <a:t>‹#›</a:t>
            </a:fld>
            <a:endParaRPr lang="en-US" dirty="0"/>
          </a:p>
        </p:txBody>
      </p:sp>
    </p:spTree>
    <p:extLst>
      <p:ext uri="{BB962C8B-B14F-4D97-AF65-F5344CB8AC3E}">
        <p14:creationId xmlns:p14="http://schemas.microsoft.com/office/powerpoint/2010/main" val="10057057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90E29F-A523-44FA-A46E-D554B7800A0E}"/>
              </a:ext>
            </a:extLst>
          </p:cNvPr>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fr-CH"/>
          </a:p>
        </p:txBody>
      </p:sp>
      <p:sp>
        <p:nvSpPr>
          <p:cNvPr id="3" name="Picture Placeholder 2">
            <a:extLst>
              <a:ext uri="{FF2B5EF4-FFF2-40B4-BE49-F238E27FC236}">
                <a16:creationId xmlns:a16="http://schemas.microsoft.com/office/drawing/2014/main" id="{13444698-C55D-46BD-B432-571DAAAD6F6D}"/>
              </a:ext>
            </a:extLst>
          </p:cNvPr>
          <p:cNvSpPr>
            <a:spLocks noGrp="1"/>
          </p:cNvSpPr>
          <p:nvPr>
            <p:ph type="pic" idx="1"/>
          </p:nvPr>
        </p:nvSpPr>
        <p:spPr>
          <a:xfrm>
            <a:off x="5183188" y="987426"/>
            <a:ext cx="6172200" cy="4873625"/>
          </a:xfrm>
        </p:spPr>
        <p:txBody>
          <a:bodyPr/>
          <a:lstStyle>
            <a:lvl1pPr marL="0" indent="0">
              <a:buNone/>
              <a:defRPr sz="3200"/>
            </a:lvl1pPr>
            <a:lvl2pPr marL="457223" indent="0">
              <a:buNone/>
              <a:defRPr sz="2800"/>
            </a:lvl2pPr>
            <a:lvl3pPr marL="914446" indent="0">
              <a:buNone/>
              <a:defRPr sz="2400"/>
            </a:lvl3pPr>
            <a:lvl4pPr marL="1371669" indent="0">
              <a:buNone/>
              <a:defRPr sz="2000"/>
            </a:lvl4pPr>
            <a:lvl5pPr marL="1828891" indent="0">
              <a:buNone/>
              <a:defRPr sz="2000"/>
            </a:lvl5pPr>
            <a:lvl6pPr marL="2286114" indent="0">
              <a:buNone/>
              <a:defRPr sz="2000"/>
            </a:lvl6pPr>
            <a:lvl7pPr marL="2743337" indent="0">
              <a:buNone/>
              <a:defRPr sz="2000"/>
            </a:lvl7pPr>
            <a:lvl8pPr marL="3200560" indent="0">
              <a:buNone/>
              <a:defRPr sz="2000"/>
            </a:lvl8pPr>
            <a:lvl9pPr marL="3657783" indent="0">
              <a:buNone/>
              <a:defRPr sz="2000"/>
            </a:lvl9pPr>
          </a:lstStyle>
          <a:p>
            <a:endParaRPr lang="fr-CH" dirty="0"/>
          </a:p>
        </p:txBody>
      </p:sp>
      <p:sp>
        <p:nvSpPr>
          <p:cNvPr id="4" name="Text Placeholder 3">
            <a:extLst>
              <a:ext uri="{FF2B5EF4-FFF2-40B4-BE49-F238E27FC236}">
                <a16:creationId xmlns:a16="http://schemas.microsoft.com/office/drawing/2014/main" id="{9D707F03-7AD6-47EF-86C9-DFC2CA22C41E}"/>
              </a:ext>
            </a:extLst>
          </p:cNvPr>
          <p:cNvSpPr>
            <a:spLocks noGrp="1"/>
          </p:cNvSpPr>
          <p:nvPr>
            <p:ph type="body" sz="half" idx="2"/>
          </p:nvPr>
        </p:nvSpPr>
        <p:spPr>
          <a:xfrm>
            <a:off x="839789" y="2057400"/>
            <a:ext cx="3932237" cy="3811588"/>
          </a:xfrm>
        </p:spPr>
        <p:txBody>
          <a:bodyPr/>
          <a:lstStyle>
            <a:lvl1pPr marL="0" indent="0">
              <a:buNone/>
              <a:defRPr sz="1600"/>
            </a:lvl1pPr>
            <a:lvl2pPr marL="457223" indent="0">
              <a:buNone/>
              <a:defRPr sz="1400"/>
            </a:lvl2pPr>
            <a:lvl3pPr marL="914446" indent="0">
              <a:buNone/>
              <a:defRPr sz="1200"/>
            </a:lvl3pPr>
            <a:lvl4pPr marL="1371669" indent="0">
              <a:buNone/>
              <a:defRPr sz="1000"/>
            </a:lvl4pPr>
            <a:lvl5pPr marL="1828891" indent="0">
              <a:buNone/>
              <a:defRPr sz="1000"/>
            </a:lvl5pPr>
            <a:lvl6pPr marL="2286114" indent="0">
              <a:buNone/>
              <a:defRPr sz="1000"/>
            </a:lvl6pPr>
            <a:lvl7pPr marL="2743337" indent="0">
              <a:buNone/>
              <a:defRPr sz="1000"/>
            </a:lvl7pPr>
            <a:lvl8pPr marL="3200560" indent="0">
              <a:buNone/>
              <a:defRPr sz="1000"/>
            </a:lvl8pPr>
            <a:lvl9pPr marL="3657783"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AD27CD39-BC40-48EB-BED3-302F59416B5F}"/>
              </a:ext>
            </a:extLst>
          </p:cNvPr>
          <p:cNvSpPr>
            <a:spLocks noGrp="1"/>
          </p:cNvSpPr>
          <p:nvPr>
            <p:ph type="dt" sz="half" idx="10"/>
          </p:nvPr>
        </p:nvSpPr>
        <p:spPr/>
        <p:txBody>
          <a:bodyPr/>
          <a:lstStyle/>
          <a:p>
            <a:fld id="{1D8BD707-D9CF-40AE-B4C6-C98DA3205C09}" type="datetimeFigureOut">
              <a:rPr lang="en-US" smtClean="0"/>
              <a:pPr/>
              <a:t>6/5/2023</a:t>
            </a:fld>
            <a:endParaRPr lang="en-US" dirty="0"/>
          </a:p>
        </p:txBody>
      </p:sp>
      <p:sp>
        <p:nvSpPr>
          <p:cNvPr id="6" name="Footer Placeholder 5">
            <a:extLst>
              <a:ext uri="{FF2B5EF4-FFF2-40B4-BE49-F238E27FC236}">
                <a16:creationId xmlns:a16="http://schemas.microsoft.com/office/drawing/2014/main" id="{EFC4419D-4279-4D90-9E79-B06FAAA4BB6E}"/>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8DD20591-631A-4C5B-868A-0765DC472F89}"/>
              </a:ext>
            </a:extLst>
          </p:cNvPr>
          <p:cNvSpPr>
            <a:spLocks noGrp="1"/>
          </p:cNvSpPr>
          <p:nvPr>
            <p:ph type="sldNum" sz="quarter" idx="12"/>
          </p:nvPr>
        </p:nvSpPr>
        <p:spPr/>
        <p:txBody>
          <a:bodyPr/>
          <a:lstStyle/>
          <a:p>
            <a:fld id="{B6F15528-21DE-4FAA-801E-634DDDAF4B2B}" type="slidenum">
              <a:rPr lang="en-US" smtClean="0"/>
              <a:pPr/>
              <a:t>‹#›</a:t>
            </a:fld>
            <a:endParaRPr lang="en-US" dirty="0"/>
          </a:p>
        </p:txBody>
      </p:sp>
    </p:spTree>
    <p:extLst>
      <p:ext uri="{BB962C8B-B14F-4D97-AF65-F5344CB8AC3E}">
        <p14:creationId xmlns:p14="http://schemas.microsoft.com/office/powerpoint/2010/main" val="140291584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CC7EB9-336C-403A-A8B4-181416C101CE}"/>
              </a:ext>
            </a:extLst>
          </p:cNvPr>
          <p:cNvSpPr>
            <a:spLocks noGrp="1"/>
          </p:cNvSpPr>
          <p:nvPr>
            <p:ph type="title"/>
          </p:nvPr>
        </p:nvSpPr>
        <p:spPr/>
        <p:txBody>
          <a:bodyPr/>
          <a:lstStyle/>
          <a:p>
            <a:r>
              <a:rPr lang="en-US"/>
              <a:t>Click to edit Master title style</a:t>
            </a:r>
            <a:endParaRPr lang="fr-CH"/>
          </a:p>
        </p:txBody>
      </p:sp>
      <p:sp>
        <p:nvSpPr>
          <p:cNvPr id="3" name="Vertical Text Placeholder 2">
            <a:extLst>
              <a:ext uri="{FF2B5EF4-FFF2-40B4-BE49-F238E27FC236}">
                <a16:creationId xmlns:a16="http://schemas.microsoft.com/office/drawing/2014/main" id="{3EA340E2-F76F-4A37-B0A7-0D95DCE3B5C1}"/>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CH"/>
          </a:p>
        </p:txBody>
      </p:sp>
      <p:sp>
        <p:nvSpPr>
          <p:cNvPr id="4" name="Date Placeholder 3">
            <a:extLst>
              <a:ext uri="{FF2B5EF4-FFF2-40B4-BE49-F238E27FC236}">
                <a16:creationId xmlns:a16="http://schemas.microsoft.com/office/drawing/2014/main" id="{546F8183-50D0-45E2-AEDD-D3943C37DD13}"/>
              </a:ext>
            </a:extLst>
          </p:cNvPr>
          <p:cNvSpPr>
            <a:spLocks noGrp="1"/>
          </p:cNvSpPr>
          <p:nvPr>
            <p:ph type="dt" sz="half" idx="10"/>
          </p:nvPr>
        </p:nvSpPr>
        <p:spPr/>
        <p:txBody>
          <a:bodyPr/>
          <a:lstStyle/>
          <a:p>
            <a:fld id="{1D8BD707-D9CF-40AE-B4C6-C98DA3205C09}" type="datetimeFigureOut">
              <a:rPr lang="en-US" smtClean="0"/>
              <a:pPr/>
              <a:t>6/5/2023</a:t>
            </a:fld>
            <a:endParaRPr lang="en-US" dirty="0"/>
          </a:p>
        </p:txBody>
      </p:sp>
      <p:sp>
        <p:nvSpPr>
          <p:cNvPr id="5" name="Footer Placeholder 4">
            <a:extLst>
              <a:ext uri="{FF2B5EF4-FFF2-40B4-BE49-F238E27FC236}">
                <a16:creationId xmlns:a16="http://schemas.microsoft.com/office/drawing/2014/main" id="{1D1CE7CF-1E89-4E75-83D5-A034A22CDAA8}"/>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49EFFC4B-813E-4A1F-8F2A-492FF40FF9D5}"/>
              </a:ext>
            </a:extLst>
          </p:cNvPr>
          <p:cNvSpPr>
            <a:spLocks noGrp="1"/>
          </p:cNvSpPr>
          <p:nvPr>
            <p:ph type="sldNum" sz="quarter" idx="12"/>
          </p:nvPr>
        </p:nvSpPr>
        <p:spPr/>
        <p:txBody>
          <a:bodyPr/>
          <a:lstStyle/>
          <a:p>
            <a:fld id="{B6F15528-21DE-4FAA-801E-634DDDAF4B2B}" type="slidenum">
              <a:rPr lang="en-US" smtClean="0"/>
              <a:pPr/>
              <a:t>‹#›</a:t>
            </a:fld>
            <a:endParaRPr lang="en-US" dirty="0"/>
          </a:p>
        </p:txBody>
      </p:sp>
    </p:spTree>
    <p:extLst>
      <p:ext uri="{BB962C8B-B14F-4D97-AF65-F5344CB8AC3E}">
        <p14:creationId xmlns:p14="http://schemas.microsoft.com/office/powerpoint/2010/main" val="295121021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4ADB20B-0CDD-400B-AE3B-59D709AD9001}"/>
              </a:ext>
            </a:extLst>
          </p:cNvPr>
          <p:cNvSpPr>
            <a:spLocks noGrp="1"/>
          </p:cNvSpPr>
          <p:nvPr>
            <p:ph type="title" orient="vert"/>
          </p:nvPr>
        </p:nvSpPr>
        <p:spPr>
          <a:xfrm>
            <a:off x="8724900" y="365126"/>
            <a:ext cx="2628900" cy="5811838"/>
          </a:xfrm>
        </p:spPr>
        <p:txBody>
          <a:bodyPr vert="eaVert"/>
          <a:lstStyle/>
          <a:p>
            <a:r>
              <a:rPr lang="en-US"/>
              <a:t>Click to edit Master title style</a:t>
            </a:r>
            <a:endParaRPr lang="fr-CH"/>
          </a:p>
        </p:txBody>
      </p:sp>
      <p:sp>
        <p:nvSpPr>
          <p:cNvPr id="3" name="Vertical Text Placeholder 2">
            <a:extLst>
              <a:ext uri="{FF2B5EF4-FFF2-40B4-BE49-F238E27FC236}">
                <a16:creationId xmlns:a16="http://schemas.microsoft.com/office/drawing/2014/main" id="{2F7692AC-3AFB-4B62-93D7-3FCDC7E4C2C8}"/>
              </a:ext>
            </a:extLst>
          </p:cNvPr>
          <p:cNvSpPr>
            <a:spLocks noGrp="1"/>
          </p:cNvSpPr>
          <p:nvPr>
            <p:ph type="body" orient="vert" idx="1"/>
          </p:nvPr>
        </p:nvSpPr>
        <p:spPr>
          <a:xfrm>
            <a:off x="838200"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CH"/>
          </a:p>
        </p:txBody>
      </p:sp>
      <p:sp>
        <p:nvSpPr>
          <p:cNvPr id="4" name="Date Placeholder 3">
            <a:extLst>
              <a:ext uri="{FF2B5EF4-FFF2-40B4-BE49-F238E27FC236}">
                <a16:creationId xmlns:a16="http://schemas.microsoft.com/office/drawing/2014/main" id="{92293F36-87F6-4C2D-B3BF-8FCE5A06B64C}"/>
              </a:ext>
            </a:extLst>
          </p:cNvPr>
          <p:cNvSpPr>
            <a:spLocks noGrp="1"/>
          </p:cNvSpPr>
          <p:nvPr>
            <p:ph type="dt" sz="half" idx="10"/>
          </p:nvPr>
        </p:nvSpPr>
        <p:spPr/>
        <p:txBody>
          <a:bodyPr/>
          <a:lstStyle/>
          <a:p>
            <a:fld id="{1D8BD707-D9CF-40AE-B4C6-C98DA3205C09}" type="datetimeFigureOut">
              <a:rPr lang="en-US" smtClean="0"/>
              <a:pPr/>
              <a:t>6/5/2023</a:t>
            </a:fld>
            <a:endParaRPr lang="en-US" dirty="0"/>
          </a:p>
        </p:txBody>
      </p:sp>
      <p:sp>
        <p:nvSpPr>
          <p:cNvPr id="5" name="Footer Placeholder 4">
            <a:extLst>
              <a:ext uri="{FF2B5EF4-FFF2-40B4-BE49-F238E27FC236}">
                <a16:creationId xmlns:a16="http://schemas.microsoft.com/office/drawing/2014/main" id="{0EA0BA89-8A87-4949-80D0-D046CEAE518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6A368D23-AC1A-41B6-AF07-E6B5135E4B56}"/>
              </a:ext>
            </a:extLst>
          </p:cNvPr>
          <p:cNvSpPr>
            <a:spLocks noGrp="1"/>
          </p:cNvSpPr>
          <p:nvPr>
            <p:ph type="sldNum" sz="quarter" idx="12"/>
          </p:nvPr>
        </p:nvSpPr>
        <p:spPr/>
        <p:txBody>
          <a:bodyPr/>
          <a:lstStyle/>
          <a:p>
            <a:fld id="{B6F15528-21DE-4FAA-801E-634DDDAF4B2B}" type="slidenum">
              <a:rPr lang="en-US" smtClean="0"/>
              <a:pPr/>
              <a:t>‹#›</a:t>
            </a:fld>
            <a:endParaRPr lang="en-US" dirty="0"/>
          </a:p>
        </p:txBody>
      </p:sp>
    </p:spTree>
    <p:extLst>
      <p:ext uri="{BB962C8B-B14F-4D97-AF65-F5344CB8AC3E}">
        <p14:creationId xmlns:p14="http://schemas.microsoft.com/office/powerpoint/2010/main" val="224508940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ertical Title and Text">
    <p:spTree>
      <p:nvGrpSpPr>
        <p:cNvPr id="1" name=""/>
        <p:cNvGrpSpPr/>
        <p:nvPr/>
      </p:nvGrpSpPr>
      <p:grpSpPr>
        <a:xfrm>
          <a:off x="0" y="0"/>
          <a:ext cx="0" cy="0"/>
          <a:chOff x="0" y="0"/>
          <a:chExt cx="0" cy="0"/>
        </a:xfrm>
      </p:grpSpPr>
      <p:grpSp>
        <p:nvGrpSpPr>
          <p:cNvPr id="7" name="Group 2">
            <a:extLst>
              <a:ext uri="{FF2B5EF4-FFF2-40B4-BE49-F238E27FC236}">
                <a16:creationId xmlns:a16="http://schemas.microsoft.com/office/drawing/2014/main" id="{5A720A8F-79CF-46ED-93B8-CFD285EDF9A5}"/>
              </a:ext>
            </a:extLst>
          </p:cNvPr>
          <p:cNvGrpSpPr>
            <a:grpSpLocks noChangeAspect="1"/>
          </p:cNvGrpSpPr>
          <p:nvPr userDrawn="1"/>
        </p:nvGrpSpPr>
        <p:grpSpPr>
          <a:xfrm>
            <a:off x="867756" y="1500523"/>
            <a:ext cx="2568002" cy="1472975"/>
            <a:chOff x="0" y="0"/>
            <a:chExt cx="7981950" cy="4578350"/>
          </a:xfrm>
        </p:grpSpPr>
        <p:sp>
          <p:nvSpPr>
            <p:cNvPr id="8" name="Freeform 3">
              <a:extLst>
                <a:ext uri="{FF2B5EF4-FFF2-40B4-BE49-F238E27FC236}">
                  <a16:creationId xmlns:a16="http://schemas.microsoft.com/office/drawing/2014/main" id="{34B20044-7579-4579-91CE-16C226D59EEF}"/>
                </a:ext>
              </a:extLst>
            </p:cNvPr>
            <p:cNvSpPr/>
            <p:nvPr/>
          </p:nvSpPr>
          <p:spPr>
            <a:xfrm>
              <a:off x="765810" y="21590"/>
              <a:ext cx="6451600" cy="4326890"/>
            </a:xfrm>
            <a:custGeom>
              <a:avLst/>
              <a:gdLst/>
              <a:ahLst/>
              <a:cxnLst/>
              <a:rect l="l" t="t" r="r" b="b"/>
              <a:pathLst>
                <a:path w="6451600" h="4326890">
                  <a:moveTo>
                    <a:pt x="6224270" y="0"/>
                  </a:moveTo>
                  <a:lnTo>
                    <a:pt x="226060" y="0"/>
                  </a:lnTo>
                  <a:cubicBezTo>
                    <a:pt x="101600" y="0"/>
                    <a:pt x="0" y="101600"/>
                    <a:pt x="0" y="226060"/>
                  </a:cubicBezTo>
                  <a:lnTo>
                    <a:pt x="0" y="4326890"/>
                  </a:lnTo>
                  <a:lnTo>
                    <a:pt x="6451601" y="4326890"/>
                  </a:lnTo>
                  <a:lnTo>
                    <a:pt x="6451601" y="226060"/>
                  </a:lnTo>
                  <a:cubicBezTo>
                    <a:pt x="6450331" y="101600"/>
                    <a:pt x="6348731" y="0"/>
                    <a:pt x="6224270" y="0"/>
                  </a:cubicBezTo>
                  <a:close/>
                  <a:moveTo>
                    <a:pt x="6252210" y="4043680"/>
                  </a:moveTo>
                  <a:lnTo>
                    <a:pt x="196851" y="4043680"/>
                  </a:lnTo>
                  <a:lnTo>
                    <a:pt x="196851" y="255270"/>
                  </a:lnTo>
                  <a:lnTo>
                    <a:pt x="6252210" y="255270"/>
                  </a:lnTo>
                  <a:lnTo>
                    <a:pt x="6252210" y="4043680"/>
                  </a:lnTo>
                  <a:close/>
                </a:path>
              </a:pathLst>
            </a:custGeom>
            <a:solidFill>
              <a:srgbClr val="000000"/>
            </a:solidFill>
          </p:spPr>
        </p:sp>
        <p:sp>
          <p:nvSpPr>
            <p:cNvPr id="9" name="Freeform 4">
              <a:extLst>
                <a:ext uri="{FF2B5EF4-FFF2-40B4-BE49-F238E27FC236}">
                  <a16:creationId xmlns:a16="http://schemas.microsoft.com/office/drawing/2014/main" id="{ED3C80AD-E629-453F-886F-0D971B3F3C8F}"/>
                </a:ext>
              </a:extLst>
            </p:cNvPr>
            <p:cNvSpPr/>
            <p:nvPr/>
          </p:nvSpPr>
          <p:spPr>
            <a:xfrm>
              <a:off x="0" y="0"/>
              <a:ext cx="7981950" cy="4542790"/>
            </a:xfrm>
            <a:custGeom>
              <a:avLst/>
              <a:gdLst/>
              <a:ahLst/>
              <a:cxnLst/>
              <a:rect l="l" t="t" r="r" b="b"/>
              <a:pathLst>
                <a:path w="7981950" h="4542790">
                  <a:moveTo>
                    <a:pt x="7239000" y="4348480"/>
                  </a:moveTo>
                  <a:lnTo>
                    <a:pt x="7239000" y="243840"/>
                  </a:lnTo>
                  <a:cubicBezTo>
                    <a:pt x="7239000" y="109220"/>
                    <a:pt x="7129780" y="0"/>
                    <a:pt x="6995160" y="0"/>
                  </a:cubicBezTo>
                  <a:lnTo>
                    <a:pt x="985520" y="0"/>
                  </a:lnTo>
                  <a:cubicBezTo>
                    <a:pt x="852170" y="0"/>
                    <a:pt x="742950" y="109220"/>
                    <a:pt x="742950" y="243840"/>
                  </a:cubicBezTo>
                  <a:lnTo>
                    <a:pt x="742950" y="4349750"/>
                  </a:lnTo>
                  <a:lnTo>
                    <a:pt x="0" y="4349750"/>
                  </a:lnTo>
                  <a:lnTo>
                    <a:pt x="0" y="4447540"/>
                  </a:lnTo>
                  <a:cubicBezTo>
                    <a:pt x="0" y="4500880"/>
                    <a:pt x="43180" y="4542790"/>
                    <a:pt x="95250" y="4542790"/>
                  </a:cubicBezTo>
                  <a:lnTo>
                    <a:pt x="7886700" y="4542790"/>
                  </a:lnTo>
                  <a:cubicBezTo>
                    <a:pt x="7940040" y="4542790"/>
                    <a:pt x="7981950" y="4499610"/>
                    <a:pt x="7981950" y="4447540"/>
                  </a:cubicBezTo>
                  <a:lnTo>
                    <a:pt x="7981950" y="4349750"/>
                  </a:lnTo>
                  <a:lnTo>
                    <a:pt x="7239000" y="4349750"/>
                  </a:lnTo>
                  <a:close/>
                  <a:moveTo>
                    <a:pt x="4519930" y="4348480"/>
                  </a:moveTo>
                  <a:lnTo>
                    <a:pt x="4519930" y="4349750"/>
                  </a:lnTo>
                  <a:cubicBezTo>
                    <a:pt x="4519930" y="4403090"/>
                    <a:pt x="4476750" y="4445000"/>
                    <a:pt x="4424680" y="4445000"/>
                  </a:cubicBezTo>
                  <a:lnTo>
                    <a:pt x="3557270" y="4445000"/>
                  </a:lnTo>
                  <a:cubicBezTo>
                    <a:pt x="3503930" y="4445000"/>
                    <a:pt x="3462020" y="4401820"/>
                    <a:pt x="3462020" y="4349750"/>
                  </a:cubicBezTo>
                  <a:lnTo>
                    <a:pt x="3462020" y="4348480"/>
                  </a:lnTo>
                  <a:lnTo>
                    <a:pt x="765810" y="4348480"/>
                  </a:lnTo>
                  <a:lnTo>
                    <a:pt x="765810" y="247650"/>
                  </a:lnTo>
                  <a:cubicBezTo>
                    <a:pt x="765810" y="123190"/>
                    <a:pt x="867410" y="21590"/>
                    <a:pt x="991870" y="21590"/>
                  </a:cubicBezTo>
                  <a:lnTo>
                    <a:pt x="6990080" y="21590"/>
                  </a:lnTo>
                  <a:cubicBezTo>
                    <a:pt x="7114539" y="21590"/>
                    <a:pt x="7216139" y="123190"/>
                    <a:pt x="7216139" y="247650"/>
                  </a:cubicBezTo>
                  <a:lnTo>
                    <a:pt x="7216139" y="4348480"/>
                  </a:lnTo>
                  <a:lnTo>
                    <a:pt x="4519930" y="4348480"/>
                  </a:lnTo>
                  <a:close/>
                </a:path>
              </a:pathLst>
            </a:custGeom>
            <a:solidFill>
              <a:srgbClr val="E9E9E9"/>
            </a:solidFill>
          </p:spPr>
        </p:sp>
        <p:sp>
          <p:nvSpPr>
            <p:cNvPr id="10" name="Freeform 5">
              <a:extLst>
                <a:ext uri="{FF2B5EF4-FFF2-40B4-BE49-F238E27FC236}">
                  <a16:creationId xmlns:a16="http://schemas.microsoft.com/office/drawing/2014/main" id="{C9823E46-4A43-4AD1-B6E8-18B38B0BA781}"/>
                </a:ext>
              </a:extLst>
            </p:cNvPr>
            <p:cNvSpPr/>
            <p:nvPr/>
          </p:nvSpPr>
          <p:spPr>
            <a:xfrm>
              <a:off x="3460750" y="4349750"/>
              <a:ext cx="1059180" cy="96520"/>
            </a:xfrm>
            <a:custGeom>
              <a:avLst/>
              <a:gdLst/>
              <a:ahLst/>
              <a:cxnLst/>
              <a:rect l="l" t="t" r="r" b="b"/>
              <a:pathLst>
                <a:path w="1059180" h="96520">
                  <a:moveTo>
                    <a:pt x="96520" y="96520"/>
                  </a:moveTo>
                  <a:lnTo>
                    <a:pt x="963930" y="96520"/>
                  </a:lnTo>
                  <a:cubicBezTo>
                    <a:pt x="1017270" y="96520"/>
                    <a:pt x="1059180" y="53340"/>
                    <a:pt x="1059180" y="1270"/>
                  </a:cubicBezTo>
                  <a:lnTo>
                    <a:pt x="1059180" y="0"/>
                  </a:lnTo>
                  <a:lnTo>
                    <a:pt x="0" y="0"/>
                  </a:lnTo>
                  <a:lnTo>
                    <a:pt x="0" y="1270"/>
                  </a:lnTo>
                  <a:cubicBezTo>
                    <a:pt x="0" y="53340"/>
                    <a:pt x="43180" y="96520"/>
                    <a:pt x="96520" y="96520"/>
                  </a:cubicBezTo>
                  <a:close/>
                </a:path>
              </a:pathLst>
            </a:custGeom>
            <a:solidFill>
              <a:srgbClr val="CCCCCC"/>
            </a:solidFill>
          </p:spPr>
        </p:sp>
        <p:sp>
          <p:nvSpPr>
            <p:cNvPr id="11" name="Freeform 6">
              <a:extLst>
                <a:ext uri="{FF2B5EF4-FFF2-40B4-BE49-F238E27FC236}">
                  <a16:creationId xmlns:a16="http://schemas.microsoft.com/office/drawing/2014/main" id="{9F7E1CB3-6A9E-4288-9CE5-0CB35E53EE71}"/>
                </a:ext>
              </a:extLst>
            </p:cNvPr>
            <p:cNvSpPr/>
            <p:nvPr/>
          </p:nvSpPr>
          <p:spPr>
            <a:xfrm>
              <a:off x="163830" y="4542790"/>
              <a:ext cx="7654290" cy="35560"/>
            </a:xfrm>
            <a:custGeom>
              <a:avLst/>
              <a:gdLst/>
              <a:ahLst/>
              <a:cxnLst/>
              <a:rect l="l" t="t" r="r" b="b"/>
              <a:pathLst>
                <a:path w="7654290" h="35560">
                  <a:moveTo>
                    <a:pt x="0" y="0"/>
                  </a:moveTo>
                  <a:cubicBezTo>
                    <a:pt x="0" y="20320"/>
                    <a:pt x="16510" y="35560"/>
                    <a:pt x="35560" y="35560"/>
                  </a:cubicBezTo>
                  <a:lnTo>
                    <a:pt x="7618730" y="35560"/>
                  </a:lnTo>
                  <a:cubicBezTo>
                    <a:pt x="7639050" y="35560"/>
                    <a:pt x="7654290" y="19050"/>
                    <a:pt x="7654290" y="0"/>
                  </a:cubicBezTo>
                  <a:lnTo>
                    <a:pt x="0" y="0"/>
                  </a:lnTo>
                  <a:close/>
                </a:path>
              </a:pathLst>
            </a:custGeom>
            <a:solidFill>
              <a:srgbClr val="CCCCCC"/>
            </a:solidFill>
          </p:spPr>
        </p:sp>
        <p:sp>
          <p:nvSpPr>
            <p:cNvPr id="12" name="Freeform 7">
              <a:extLst>
                <a:ext uri="{FF2B5EF4-FFF2-40B4-BE49-F238E27FC236}">
                  <a16:creationId xmlns:a16="http://schemas.microsoft.com/office/drawing/2014/main" id="{BEEBC085-5407-4CB7-B054-CDEAE96FCB3F}"/>
                </a:ext>
              </a:extLst>
            </p:cNvPr>
            <p:cNvSpPr/>
            <p:nvPr/>
          </p:nvSpPr>
          <p:spPr>
            <a:xfrm>
              <a:off x="962660" y="276860"/>
              <a:ext cx="6055360" cy="3789680"/>
            </a:xfrm>
            <a:custGeom>
              <a:avLst/>
              <a:gdLst/>
              <a:ahLst/>
              <a:cxnLst/>
              <a:rect l="l" t="t" r="r" b="b"/>
              <a:pathLst>
                <a:path w="6055360" h="3789680">
                  <a:moveTo>
                    <a:pt x="0" y="0"/>
                  </a:moveTo>
                  <a:lnTo>
                    <a:pt x="6055360" y="0"/>
                  </a:lnTo>
                  <a:lnTo>
                    <a:pt x="6055360" y="3789680"/>
                  </a:lnTo>
                  <a:lnTo>
                    <a:pt x="0" y="3789680"/>
                  </a:lnTo>
                  <a:close/>
                </a:path>
              </a:pathLst>
            </a:custGeom>
            <a:blipFill>
              <a:blip r:embed="rId2" cstate="email">
                <a:extLst>
                  <a:ext uri="{28A0092B-C50C-407E-A947-70E740481C1C}">
                    <a14:useLocalDpi xmlns:a14="http://schemas.microsoft.com/office/drawing/2010/main"/>
                  </a:ext>
                </a:extLst>
              </a:blip>
              <a:stretch>
                <a:fillRect l="12060" t="233" r="12076" b="5365"/>
              </a:stretch>
            </a:blipFill>
          </p:spPr>
        </p:sp>
      </p:grpSp>
      <p:grpSp>
        <p:nvGrpSpPr>
          <p:cNvPr id="13" name="Group 8">
            <a:extLst>
              <a:ext uri="{FF2B5EF4-FFF2-40B4-BE49-F238E27FC236}">
                <a16:creationId xmlns:a16="http://schemas.microsoft.com/office/drawing/2014/main" id="{13686F69-1C6E-4C24-AA84-E06DF6F678DD}"/>
              </a:ext>
            </a:extLst>
          </p:cNvPr>
          <p:cNvGrpSpPr>
            <a:grpSpLocks noChangeAspect="1"/>
          </p:cNvGrpSpPr>
          <p:nvPr userDrawn="1"/>
        </p:nvGrpSpPr>
        <p:grpSpPr>
          <a:xfrm>
            <a:off x="6926378" y="1203009"/>
            <a:ext cx="1417214" cy="1950124"/>
            <a:chOff x="0" y="0"/>
            <a:chExt cx="1854200" cy="2551430"/>
          </a:xfrm>
        </p:grpSpPr>
        <p:sp>
          <p:nvSpPr>
            <p:cNvPr id="14" name="Freeform 9">
              <a:extLst>
                <a:ext uri="{FF2B5EF4-FFF2-40B4-BE49-F238E27FC236}">
                  <a16:creationId xmlns:a16="http://schemas.microsoft.com/office/drawing/2014/main" id="{19F5180A-12EA-4EB4-A739-A46534DADA07}"/>
                </a:ext>
              </a:extLst>
            </p:cNvPr>
            <p:cNvSpPr/>
            <p:nvPr/>
          </p:nvSpPr>
          <p:spPr>
            <a:xfrm>
              <a:off x="5080" y="41910"/>
              <a:ext cx="1849120" cy="2509520"/>
            </a:xfrm>
            <a:custGeom>
              <a:avLst/>
              <a:gdLst/>
              <a:ahLst/>
              <a:cxnLst/>
              <a:rect l="l" t="t" r="r" b="b"/>
              <a:pathLst>
                <a:path w="1849120" h="2509520">
                  <a:moveTo>
                    <a:pt x="1849120" y="2509520"/>
                  </a:moveTo>
                  <a:lnTo>
                    <a:pt x="27940" y="2509520"/>
                  </a:lnTo>
                  <a:lnTo>
                    <a:pt x="0" y="2467610"/>
                  </a:lnTo>
                  <a:lnTo>
                    <a:pt x="27940" y="0"/>
                  </a:lnTo>
                  <a:lnTo>
                    <a:pt x="1849120" y="0"/>
                  </a:lnTo>
                  <a:close/>
                </a:path>
              </a:pathLst>
            </a:custGeom>
            <a:solidFill>
              <a:srgbClr val="BFBFBF"/>
            </a:solidFill>
          </p:spPr>
        </p:sp>
        <p:sp>
          <p:nvSpPr>
            <p:cNvPr id="15" name="Freeform 10">
              <a:extLst>
                <a:ext uri="{FF2B5EF4-FFF2-40B4-BE49-F238E27FC236}">
                  <a16:creationId xmlns:a16="http://schemas.microsoft.com/office/drawing/2014/main" id="{1610C3A9-4DAE-4280-A11F-33180321FD72}"/>
                </a:ext>
              </a:extLst>
            </p:cNvPr>
            <p:cNvSpPr/>
            <p:nvPr/>
          </p:nvSpPr>
          <p:spPr>
            <a:xfrm>
              <a:off x="19050" y="15240"/>
              <a:ext cx="1823720" cy="2526030"/>
            </a:xfrm>
            <a:custGeom>
              <a:avLst/>
              <a:gdLst/>
              <a:ahLst/>
              <a:cxnLst/>
              <a:rect l="l" t="t" r="r" b="b"/>
              <a:pathLst>
                <a:path w="1823720" h="2526030">
                  <a:moveTo>
                    <a:pt x="1823720" y="2526030"/>
                  </a:moveTo>
                  <a:lnTo>
                    <a:pt x="27940" y="2526030"/>
                  </a:lnTo>
                  <a:lnTo>
                    <a:pt x="0" y="2482850"/>
                  </a:lnTo>
                  <a:lnTo>
                    <a:pt x="27940" y="16510"/>
                  </a:lnTo>
                  <a:lnTo>
                    <a:pt x="1800860" y="0"/>
                  </a:lnTo>
                  <a:lnTo>
                    <a:pt x="1823720" y="41910"/>
                  </a:lnTo>
                  <a:close/>
                </a:path>
              </a:pathLst>
            </a:custGeom>
            <a:solidFill>
              <a:srgbClr val="FAFAFA"/>
            </a:solidFill>
          </p:spPr>
        </p:sp>
        <p:sp>
          <p:nvSpPr>
            <p:cNvPr id="16" name="Freeform 11">
              <a:extLst>
                <a:ext uri="{FF2B5EF4-FFF2-40B4-BE49-F238E27FC236}">
                  <a16:creationId xmlns:a16="http://schemas.microsoft.com/office/drawing/2014/main" id="{2C8C7F6F-F313-43B4-98E9-BFB0905C6B25}"/>
                </a:ext>
              </a:extLst>
            </p:cNvPr>
            <p:cNvSpPr/>
            <p:nvPr/>
          </p:nvSpPr>
          <p:spPr>
            <a:xfrm>
              <a:off x="0" y="0"/>
              <a:ext cx="1821180" cy="2509520"/>
            </a:xfrm>
            <a:custGeom>
              <a:avLst/>
              <a:gdLst/>
              <a:ahLst/>
              <a:cxnLst/>
              <a:rect l="l" t="t" r="r" b="b"/>
              <a:pathLst>
                <a:path w="1821180" h="2509520">
                  <a:moveTo>
                    <a:pt x="0" y="0"/>
                  </a:moveTo>
                  <a:lnTo>
                    <a:pt x="1821180" y="0"/>
                  </a:lnTo>
                  <a:lnTo>
                    <a:pt x="1821180" y="2509520"/>
                  </a:lnTo>
                  <a:lnTo>
                    <a:pt x="0" y="2509520"/>
                  </a:lnTo>
                  <a:close/>
                </a:path>
              </a:pathLst>
            </a:custGeom>
            <a:solidFill>
              <a:srgbClr val="E9E9E9"/>
            </a:solidFill>
          </p:spPr>
        </p:sp>
        <p:sp>
          <p:nvSpPr>
            <p:cNvPr id="17" name="Freeform 12">
              <a:extLst>
                <a:ext uri="{FF2B5EF4-FFF2-40B4-BE49-F238E27FC236}">
                  <a16:creationId xmlns:a16="http://schemas.microsoft.com/office/drawing/2014/main" id="{47F2C5ED-E76D-40C9-9819-BED8C3972B7D}"/>
                </a:ext>
              </a:extLst>
            </p:cNvPr>
            <p:cNvSpPr/>
            <p:nvPr/>
          </p:nvSpPr>
          <p:spPr>
            <a:xfrm>
              <a:off x="123190" y="52070"/>
              <a:ext cx="1642110" cy="2405380"/>
            </a:xfrm>
            <a:custGeom>
              <a:avLst/>
              <a:gdLst/>
              <a:ahLst/>
              <a:cxnLst/>
              <a:rect l="l" t="t" r="r" b="b"/>
              <a:pathLst>
                <a:path w="1642110" h="2405380">
                  <a:moveTo>
                    <a:pt x="0" y="0"/>
                  </a:moveTo>
                  <a:lnTo>
                    <a:pt x="1642110" y="0"/>
                  </a:lnTo>
                  <a:lnTo>
                    <a:pt x="1642110" y="2405380"/>
                  </a:lnTo>
                  <a:lnTo>
                    <a:pt x="0" y="2405380"/>
                  </a:lnTo>
                  <a:close/>
                </a:path>
              </a:pathLst>
            </a:custGeom>
            <a:blipFill>
              <a:blip r:embed="rId3" cstate="email">
                <a:extLst>
                  <a:ext uri="{28A0092B-C50C-407E-A947-70E740481C1C}">
                    <a14:useLocalDpi xmlns:a14="http://schemas.microsoft.com/office/drawing/2010/main"/>
                  </a:ext>
                </a:extLst>
              </a:blip>
              <a:stretch>
                <a:fillRect t="2040" b="3683"/>
              </a:stretch>
            </a:blipFill>
          </p:spPr>
        </p:sp>
        <p:sp>
          <p:nvSpPr>
            <p:cNvPr id="18" name="Freeform 13">
              <a:extLst>
                <a:ext uri="{FF2B5EF4-FFF2-40B4-BE49-F238E27FC236}">
                  <a16:creationId xmlns:a16="http://schemas.microsoft.com/office/drawing/2014/main" id="{7C0CACEF-7312-44EC-90B8-C286637CB1D1}"/>
                </a:ext>
              </a:extLst>
            </p:cNvPr>
            <p:cNvSpPr/>
            <p:nvPr/>
          </p:nvSpPr>
          <p:spPr>
            <a:xfrm>
              <a:off x="38100" y="0"/>
              <a:ext cx="24130" cy="2509520"/>
            </a:xfrm>
            <a:custGeom>
              <a:avLst/>
              <a:gdLst/>
              <a:ahLst/>
              <a:cxnLst/>
              <a:rect l="l" t="t" r="r" b="b"/>
              <a:pathLst>
                <a:path w="24130" h="2509520">
                  <a:moveTo>
                    <a:pt x="0" y="0"/>
                  </a:moveTo>
                  <a:lnTo>
                    <a:pt x="24130" y="0"/>
                  </a:lnTo>
                  <a:lnTo>
                    <a:pt x="24130" y="2509520"/>
                  </a:lnTo>
                  <a:lnTo>
                    <a:pt x="0" y="2509520"/>
                  </a:lnTo>
                  <a:close/>
                </a:path>
              </a:pathLst>
            </a:custGeom>
            <a:solidFill>
              <a:srgbClr val="DBDBDB"/>
            </a:solidFill>
          </p:spPr>
        </p:sp>
      </p:grpSp>
      <p:grpSp>
        <p:nvGrpSpPr>
          <p:cNvPr id="19" name="Group 14">
            <a:extLst>
              <a:ext uri="{FF2B5EF4-FFF2-40B4-BE49-F238E27FC236}">
                <a16:creationId xmlns:a16="http://schemas.microsoft.com/office/drawing/2014/main" id="{C1109CDA-21E5-4134-9CBF-F1E1BC403786}"/>
              </a:ext>
            </a:extLst>
          </p:cNvPr>
          <p:cNvGrpSpPr>
            <a:grpSpLocks noChangeAspect="1"/>
          </p:cNvGrpSpPr>
          <p:nvPr userDrawn="1"/>
        </p:nvGrpSpPr>
        <p:grpSpPr>
          <a:xfrm>
            <a:off x="1585296" y="4263256"/>
            <a:ext cx="1417214" cy="1950124"/>
            <a:chOff x="0" y="0"/>
            <a:chExt cx="1854200" cy="2551430"/>
          </a:xfrm>
        </p:grpSpPr>
        <p:sp>
          <p:nvSpPr>
            <p:cNvPr id="20" name="Freeform 15">
              <a:extLst>
                <a:ext uri="{FF2B5EF4-FFF2-40B4-BE49-F238E27FC236}">
                  <a16:creationId xmlns:a16="http://schemas.microsoft.com/office/drawing/2014/main" id="{991168A2-6D7C-40AD-939E-DB3A77B50C1D}"/>
                </a:ext>
              </a:extLst>
            </p:cNvPr>
            <p:cNvSpPr/>
            <p:nvPr/>
          </p:nvSpPr>
          <p:spPr>
            <a:xfrm>
              <a:off x="5080" y="41910"/>
              <a:ext cx="1849120" cy="2509520"/>
            </a:xfrm>
            <a:custGeom>
              <a:avLst/>
              <a:gdLst/>
              <a:ahLst/>
              <a:cxnLst/>
              <a:rect l="l" t="t" r="r" b="b"/>
              <a:pathLst>
                <a:path w="1849120" h="2509520">
                  <a:moveTo>
                    <a:pt x="1849120" y="2509520"/>
                  </a:moveTo>
                  <a:lnTo>
                    <a:pt x="27940" y="2509520"/>
                  </a:lnTo>
                  <a:lnTo>
                    <a:pt x="0" y="2467610"/>
                  </a:lnTo>
                  <a:lnTo>
                    <a:pt x="27940" y="0"/>
                  </a:lnTo>
                  <a:lnTo>
                    <a:pt x="1849120" y="0"/>
                  </a:lnTo>
                  <a:close/>
                </a:path>
              </a:pathLst>
            </a:custGeom>
            <a:solidFill>
              <a:srgbClr val="BFBFBF"/>
            </a:solidFill>
          </p:spPr>
        </p:sp>
        <p:sp>
          <p:nvSpPr>
            <p:cNvPr id="21" name="Freeform 16">
              <a:extLst>
                <a:ext uri="{FF2B5EF4-FFF2-40B4-BE49-F238E27FC236}">
                  <a16:creationId xmlns:a16="http://schemas.microsoft.com/office/drawing/2014/main" id="{4F85D41A-DDAD-40F3-92F3-3044C86B9E92}"/>
                </a:ext>
              </a:extLst>
            </p:cNvPr>
            <p:cNvSpPr/>
            <p:nvPr/>
          </p:nvSpPr>
          <p:spPr>
            <a:xfrm>
              <a:off x="19050" y="15240"/>
              <a:ext cx="1823720" cy="2526030"/>
            </a:xfrm>
            <a:custGeom>
              <a:avLst/>
              <a:gdLst/>
              <a:ahLst/>
              <a:cxnLst/>
              <a:rect l="l" t="t" r="r" b="b"/>
              <a:pathLst>
                <a:path w="1823720" h="2526030">
                  <a:moveTo>
                    <a:pt x="1823720" y="2526030"/>
                  </a:moveTo>
                  <a:lnTo>
                    <a:pt x="27940" y="2526030"/>
                  </a:lnTo>
                  <a:lnTo>
                    <a:pt x="0" y="2482850"/>
                  </a:lnTo>
                  <a:lnTo>
                    <a:pt x="27940" y="16510"/>
                  </a:lnTo>
                  <a:lnTo>
                    <a:pt x="1800860" y="0"/>
                  </a:lnTo>
                  <a:lnTo>
                    <a:pt x="1823720" y="41910"/>
                  </a:lnTo>
                  <a:close/>
                </a:path>
              </a:pathLst>
            </a:custGeom>
            <a:solidFill>
              <a:srgbClr val="FAFAFA"/>
            </a:solidFill>
          </p:spPr>
        </p:sp>
        <p:sp>
          <p:nvSpPr>
            <p:cNvPr id="22" name="Freeform 17">
              <a:extLst>
                <a:ext uri="{FF2B5EF4-FFF2-40B4-BE49-F238E27FC236}">
                  <a16:creationId xmlns:a16="http://schemas.microsoft.com/office/drawing/2014/main" id="{5BA2BCC0-34DF-4332-A243-A53D06EBF2B2}"/>
                </a:ext>
              </a:extLst>
            </p:cNvPr>
            <p:cNvSpPr/>
            <p:nvPr/>
          </p:nvSpPr>
          <p:spPr>
            <a:xfrm>
              <a:off x="0" y="0"/>
              <a:ext cx="1821180" cy="2509520"/>
            </a:xfrm>
            <a:custGeom>
              <a:avLst/>
              <a:gdLst/>
              <a:ahLst/>
              <a:cxnLst/>
              <a:rect l="l" t="t" r="r" b="b"/>
              <a:pathLst>
                <a:path w="1821180" h="2509520">
                  <a:moveTo>
                    <a:pt x="0" y="0"/>
                  </a:moveTo>
                  <a:lnTo>
                    <a:pt x="1821180" y="0"/>
                  </a:lnTo>
                  <a:lnTo>
                    <a:pt x="1821180" y="2509520"/>
                  </a:lnTo>
                  <a:lnTo>
                    <a:pt x="0" y="2509520"/>
                  </a:lnTo>
                  <a:close/>
                </a:path>
              </a:pathLst>
            </a:custGeom>
            <a:solidFill>
              <a:srgbClr val="E9E9E9"/>
            </a:solidFill>
          </p:spPr>
        </p:sp>
        <p:sp>
          <p:nvSpPr>
            <p:cNvPr id="23" name="Freeform 18">
              <a:extLst>
                <a:ext uri="{FF2B5EF4-FFF2-40B4-BE49-F238E27FC236}">
                  <a16:creationId xmlns:a16="http://schemas.microsoft.com/office/drawing/2014/main" id="{7EB6D5D2-47F0-4291-8C71-70EFBDEFC063}"/>
                </a:ext>
              </a:extLst>
            </p:cNvPr>
            <p:cNvSpPr/>
            <p:nvPr/>
          </p:nvSpPr>
          <p:spPr>
            <a:xfrm>
              <a:off x="123190" y="52070"/>
              <a:ext cx="1642110" cy="2405380"/>
            </a:xfrm>
            <a:custGeom>
              <a:avLst/>
              <a:gdLst/>
              <a:ahLst/>
              <a:cxnLst/>
              <a:rect l="l" t="t" r="r" b="b"/>
              <a:pathLst>
                <a:path w="1642110" h="2405380">
                  <a:moveTo>
                    <a:pt x="0" y="0"/>
                  </a:moveTo>
                  <a:lnTo>
                    <a:pt x="1642110" y="0"/>
                  </a:lnTo>
                  <a:lnTo>
                    <a:pt x="1642110" y="2405380"/>
                  </a:lnTo>
                  <a:lnTo>
                    <a:pt x="0" y="2405380"/>
                  </a:lnTo>
                  <a:close/>
                </a:path>
              </a:pathLst>
            </a:custGeom>
            <a:blipFill>
              <a:blip r:embed="rId4" cstate="email">
                <a:extLst>
                  <a:ext uri="{28A0092B-C50C-407E-A947-70E740481C1C}">
                    <a14:useLocalDpi xmlns:a14="http://schemas.microsoft.com/office/drawing/2010/main"/>
                  </a:ext>
                </a:extLst>
              </a:blip>
              <a:stretch>
                <a:fillRect l="10" t="2040" b="3683"/>
              </a:stretch>
            </a:blipFill>
          </p:spPr>
        </p:sp>
        <p:sp>
          <p:nvSpPr>
            <p:cNvPr id="24" name="Freeform 19">
              <a:extLst>
                <a:ext uri="{FF2B5EF4-FFF2-40B4-BE49-F238E27FC236}">
                  <a16:creationId xmlns:a16="http://schemas.microsoft.com/office/drawing/2014/main" id="{E1C08603-615C-4B74-A195-856F6128044C}"/>
                </a:ext>
              </a:extLst>
            </p:cNvPr>
            <p:cNvSpPr/>
            <p:nvPr/>
          </p:nvSpPr>
          <p:spPr>
            <a:xfrm>
              <a:off x="38100" y="0"/>
              <a:ext cx="24130" cy="2509520"/>
            </a:xfrm>
            <a:custGeom>
              <a:avLst/>
              <a:gdLst/>
              <a:ahLst/>
              <a:cxnLst/>
              <a:rect l="l" t="t" r="r" b="b"/>
              <a:pathLst>
                <a:path w="24130" h="2509520">
                  <a:moveTo>
                    <a:pt x="0" y="0"/>
                  </a:moveTo>
                  <a:lnTo>
                    <a:pt x="24130" y="0"/>
                  </a:lnTo>
                  <a:lnTo>
                    <a:pt x="24130" y="2509520"/>
                  </a:lnTo>
                  <a:lnTo>
                    <a:pt x="0" y="2509520"/>
                  </a:lnTo>
                  <a:close/>
                </a:path>
              </a:pathLst>
            </a:custGeom>
            <a:solidFill>
              <a:srgbClr val="DBDBDB"/>
            </a:solidFill>
          </p:spPr>
        </p:sp>
      </p:grpSp>
      <p:grpSp>
        <p:nvGrpSpPr>
          <p:cNvPr id="25" name="Group 20">
            <a:extLst>
              <a:ext uri="{FF2B5EF4-FFF2-40B4-BE49-F238E27FC236}">
                <a16:creationId xmlns:a16="http://schemas.microsoft.com/office/drawing/2014/main" id="{5D296683-AFCC-4436-9491-0ED2FEA19763}"/>
              </a:ext>
            </a:extLst>
          </p:cNvPr>
          <p:cNvGrpSpPr/>
          <p:nvPr userDrawn="1"/>
        </p:nvGrpSpPr>
        <p:grpSpPr>
          <a:xfrm>
            <a:off x="6381346" y="4219008"/>
            <a:ext cx="5043318" cy="2181794"/>
            <a:chOff x="0" y="0"/>
            <a:chExt cx="7276769" cy="2619073"/>
          </a:xfrm>
        </p:grpSpPr>
        <p:sp>
          <p:nvSpPr>
            <p:cNvPr id="26" name="Freeform 21">
              <a:extLst>
                <a:ext uri="{FF2B5EF4-FFF2-40B4-BE49-F238E27FC236}">
                  <a16:creationId xmlns:a16="http://schemas.microsoft.com/office/drawing/2014/main" id="{474AA63F-E990-4BE8-8621-D8DE6ED13CAC}"/>
                </a:ext>
              </a:extLst>
            </p:cNvPr>
            <p:cNvSpPr/>
            <p:nvPr/>
          </p:nvSpPr>
          <p:spPr>
            <a:xfrm>
              <a:off x="0" y="0"/>
              <a:ext cx="7276769" cy="2619073"/>
            </a:xfrm>
            <a:custGeom>
              <a:avLst/>
              <a:gdLst/>
              <a:ahLst/>
              <a:cxnLst/>
              <a:rect l="l" t="t" r="r" b="b"/>
              <a:pathLst>
                <a:path w="7276769" h="2619073">
                  <a:moveTo>
                    <a:pt x="7152308" y="59690"/>
                  </a:moveTo>
                  <a:cubicBezTo>
                    <a:pt x="7187868" y="59690"/>
                    <a:pt x="7217079" y="88900"/>
                    <a:pt x="7217079" y="124460"/>
                  </a:cubicBezTo>
                  <a:lnTo>
                    <a:pt x="7217079" y="2494613"/>
                  </a:lnTo>
                  <a:cubicBezTo>
                    <a:pt x="7217079" y="2530173"/>
                    <a:pt x="7187868" y="2559383"/>
                    <a:pt x="7152308" y="2559383"/>
                  </a:cubicBezTo>
                  <a:lnTo>
                    <a:pt x="124460" y="2559383"/>
                  </a:lnTo>
                  <a:cubicBezTo>
                    <a:pt x="88900" y="2559383"/>
                    <a:pt x="59690" y="2530173"/>
                    <a:pt x="59690" y="2494613"/>
                  </a:cubicBezTo>
                  <a:lnTo>
                    <a:pt x="59690" y="124460"/>
                  </a:lnTo>
                  <a:cubicBezTo>
                    <a:pt x="59690" y="88900"/>
                    <a:pt x="88900" y="59690"/>
                    <a:pt x="124460" y="59690"/>
                  </a:cubicBezTo>
                  <a:lnTo>
                    <a:pt x="7152308" y="59690"/>
                  </a:lnTo>
                  <a:moveTo>
                    <a:pt x="7152308" y="0"/>
                  </a:moveTo>
                  <a:lnTo>
                    <a:pt x="124460" y="0"/>
                  </a:lnTo>
                  <a:cubicBezTo>
                    <a:pt x="55880" y="0"/>
                    <a:pt x="0" y="55880"/>
                    <a:pt x="0" y="124460"/>
                  </a:cubicBezTo>
                  <a:lnTo>
                    <a:pt x="0" y="2494613"/>
                  </a:lnTo>
                  <a:cubicBezTo>
                    <a:pt x="0" y="2563193"/>
                    <a:pt x="55880" y="2619073"/>
                    <a:pt x="124460" y="2619073"/>
                  </a:cubicBezTo>
                  <a:lnTo>
                    <a:pt x="7152309" y="2619073"/>
                  </a:lnTo>
                  <a:cubicBezTo>
                    <a:pt x="7220889" y="2619073"/>
                    <a:pt x="7276769" y="2563193"/>
                    <a:pt x="7276769" y="2494613"/>
                  </a:cubicBezTo>
                  <a:lnTo>
                    <a:pt x="7276769" y="124460"/>
                  </a:lnTo>
                  <a:cubicBezTo>
                    <a:pt x="7276769" y="55880"/>
                    <a:pt x="7220889" y="0"/>
                    <a:pt x="7152308" y="0"/>
                  </a:cubicBezTo>
                  <a:close/>
                </a:path>
              </a:pathLst>
            </a:custGeom>
            <a:solidFill>
              <a:srgbClr val="719D8D"/>
            </a:solidFill>
          </p:spPr>
        </p:sp>
      </p:grpSp>
      <p:grpSp>
        <p:nvGrpSpPr>
          <p:cNvPr id="27" name="Group 22">
            <a:extLst>
              <a:ext uri="{FF2B5EF4-FFF2-40B4-BE49-F238E27FC236}">
                <a16:creationId xmlns:a16="http://schemas.microsoft.com/office/drawing/2014/main" id="{6B31F5D7-47E5-4F6F-B41D-FCDCE1F2C1ED}"/>
              </a:ext>
            </a:extLst>
          </p:cNvPr>
          <p:cNvGrpSpPr>
            <a:grpSpLocks noChangeAspect="1"/>
          </p:cNvGrpSpPr>
          <p:nvPr userDrawn="1"/>
        </p:nvGrpSpPr>
        <p:grpSpPr>
          <a:xfrm>
            <a:off x="7022630" y="4263256"/>
            <a:ext cx="1417214" cy="1950124"/>
            <a:chOff x="0" y="0"/>
            <a:chExt cx="1854200" cy="2551430"/>
          </a:xfrm>
        </p:grpSpPr>
        <p:sp>
          <p:nvSpPr>
            <p:cNvPr id="28" name="Freeform 23">
              <a:extLst>
                <a:ext uri="{FF2B5EF4-FFF2-40B4-BE49-F238E27FC236}">
                  <a16:creationId xmlns:a16="http://schemas.microsoft.com/office/drawing/2014/main" id="{A11E8171-4B7C-4452-9037-2BE7FA9D134D}"/>
                </a:ext>
              </a:extLst>
            </p:cNvPr>
            <p:cNvSpPr/>
            <p:nvPr/>
          </p:nvSpPr>
          <p:spPr>
            <a:xfrm>
              <a:off x="5080" y="41910"/>
              <a:ext cx="1849120" cy="2509520"/>
            </a:xfrm>
            <a:custGeom>
              <a:avLst/>
              <a:gdLst/>
              <a:ahLst/>
              <a:cxnLst/>
              <a:rect l="l" t="t" r="r" b="b"/>
              <a:pathLst>
                <a:path w="1849120" h="2509520">
                  <a:moveTo>
                    <a:pt x="1849120" y="2509520"/>
                  </a:moveTo>
                  <a:lnTo>
                    <a:pt x="27940" y="2509520"/>
                  </a:lnTo>
                  <a:lnTo>
                    <a:pt x="0" y="2467610"/>
                  </a:lnTo>
                  <a:lnTo>
                    <a:pt x="27940" y="0"/>
                  </a:lnTo>
                  <a:lnTo>
                    <a:pt x="1849120" y="0"/>
                  </a:lnTo>
                  <a:close/>
                </a:path>
              </a:pathLst>
            </a:custGeom>
            <a:solidFill>
              <a:srgbClr val="BFBFBF"/>
            </a:solidFill>
          </p:spPr>
        </p:sp>
        <p:sp>
          <p:nvSpPr>
            <p:cNvPr id="29" name="Freeform 24">
              <a:extLst>
                <a:ext uri="{FF2B5EF4-FFF2-40B4-BE49-F238E27FC236}">
                  <a16:creationId xmlns:a16="http://schemas.microsoft.com/office/drawing/2014/main" id="{B94E03E2-1A9A-4CF3-A22E-60B99B98D83A}"/>
                </a:ext>
              </a:extLst>
            </p:cNvPr>
            <p:cNvSpPr/>
            <p:nvPr/>
          </p:nvSpPr>
          <p:spPr>
            <a:xfrm>
              <a:off x="19050" y="15240"/>
              <a:ext cx="1823720" cy="2526030"/>
            </a:xfrm>
            <a:custGeom>
              <a:avLst/>
              <a:gdLst/>
              <a:ahLst/>
              <a:cxnLst/>
              <a:rect l="l" t="t" r="r" b="b"/>
              <a:pathLst>
                <a:path w="1823720" h="2526030">
                  <a:moveTo>
                    <a:pt x="1823720" y="2526030"/>
                  </a:moveTo>
                  <a:lnTo>
                    <a:pt x="27940" y="2526030"/>
                  </a:lnTo>
                  <a:lnTo>
                    <a:pt x="0" y="2482850"/>
                  </a:lnTo>
                  <a:lnTo>
                    <a:pt x="27940" y="16510"/>
                  </a:lnTo>
                  <a:lnTo>
                    <a:pt x="1800860" y="0"/>
                  </a:lnTo>
                  <a:lnTo>
                    <a:pt x="1823720" y="41910"/>
                  </a:lnTo>
                  <a:close/>
                </a:path>
              </a:pathLst>
            </a:custGeom>
            <a:solidFill>
              <a:srgbClr val="FAFAFA"/>
            </a:solidFill>
          </p:spPr>
        </p:sp>
        <p:sp>
          <p:nvSpPr>
            <p:cNvPr id="30" name="Freeform 25">
              <a:extLst>
                <a:ext uri="{FF2B5EF4-FFF2-40B4-BE49-F238E27FC236}">
                  <a16:creationId xmlns:a16="http://schemas.microsoft.com/office/drawing/2014/main" id="{07C094DA-8D6D-443D-8844-D48E0080EAD5}"/>
                </a:ext>
              </a:extLst>
            </p:cNvPr>
            <p:cNvSpPr/>
            <p:nvPr/>
          </p:nvSpPr>
          <p:spPr>
            <a:xfrm>
              <a:off x="0" y="0"/>
              <a:ext cx="1821180" cy="2509520"/>
            </a:xfrm>
            <a:custGeom>
              <a:avLst/>
              <a:gdLst/>
              <a:ahLst/>
              <a:cxnLst/>
              <a:rect l="l" t="t" r="r" b="b"/>
              <a:pathLst>
                <a:path w="1821180" h="2509520">
                  <a:moveTo>
                    <a:pt x="0" y="0"/>
                  </a:moveTo>
                  <a:lnTo>
                    <a:pt x="1821180" y="0"/>
                  </a:lnTo>
                  <a:lnTo>
                    <a:pt x="1821180" y="2509520"/>
                  </a:lnTo>
                  <a:lnTo>
                    <a:pt x="0" y="2509520"/>
                  </a:lnTo>
                  <a:close/>
                </a:path>
              </a:pathLst>
            </a:custGeom>
            <a:solidFill>
              <a:srgbClr val="E9E9E9"/>
            </a:solidFill>
          </p:spPr>
        </p:sp>
        <p:sp>
          <p:nvSpPr>
            <p:cNvPr id="31" name="Freeform 26">
              <a:extLst>
                <a:ext uri="{FF2B5EF4-FFF2-40B4-BE49-F238E27FC236}">
                  <a16:creationId xmlns:a16="http://schemas.microsoft.com/office/drawing/2014/main" id="{97C63914-8B4B-4705-8DAB-A3609D4AE258}"/>
                </a:ext>
              </a:extLst>
            </p:cNvPr>
            <p:cNvSpPr/>
            <p:nvPr/>
          </p:nvSpPr>
          <p:spPr>
            <a:xfrm>
              <a:off x="123190" y="52070"/>
              <a:ext cx="1642110" cy="2405380"/>
            </a:xfrm>
            <a:custGeom>
              <a:avLst/>
              <a:gdLst/>
              <a:ahLst/>
              <a:cxnLst/>
              <a:rect l="l" t="t" r="r" b="b"/>
              <a:pathLst>
                <a:path w="1642110" h="2405380">
                  <a:moveTo>
                    <a:pt x="0" y="0"/>
                  </a:moveTo>
                  <a:lnTo>
                    <a:pt x="1642110" y="0"/>
                  </a:lnTo>
                  <a:lnTo>
                    <a:pt x="1642110" y="2405380"/>
                  </a:lnTo>
                  <a:lnTo>
                    <a:pt x="0" y="2405380"/>
                  </a:lnTo>
                  <a:close/>
                </a:path>
              </a:pathLst>
            </a:custGeom>
            <a:blipFill>
              <a:blip r:embed="rId5" cstate="email">
                <a:extLst>
                  <a:ext uri="{28A0092B-C50C-407E-A947-70E740481C1C}">
                    <a14:useLocalDpi xmlns:a14="http://schemas.microsoft.com/office/drawing/2010/main"/>
                  </a:ext>
                </a:extLst>
              </a:blip>
              <a:stretch>
                <a:fillRect t="2040" b="3683"/>
              </a:stretch>
            </a:blipFill>
          </p:spPr>
        </p:sp>
        <p:sp>
          <p:nvSpPr>
            <p:cNvPr id="32" name="Freeform 27">
              <a:extLst>
                <a:ext uri="{FF2B5EF4-FFF2-40B4-BE49-F238E27FC236}">
                  <a16:creationId xmlns:a16="http://schemas.microsoft.com/office/drawing/2014/main" id="{6FE48875-EFA4-4FC7-94BD-1B5F3E16A977}"/>
                </a:ext>
              </a:extLst>
            </p:cNvPr>
            <p:cNvSpPr/>
            <p:nvPr/>
          </p:nvSpPr>
          <p:spPr>
            <a:xfrm>
              <a:off x="38100" y="0"/>
              <a:ext cx="24130" cy="2509520"/>
            </a:xfrm>
            <a:custGeom>
              <a:avLst/>
              <a:gdLst/>
              <a:ahLst/>
              <a:cxnLst/>
              <a:rect l="l" t="t" r="r" b="b"/>
              <a:pathLst>
                <a:path w="24130" h="2509520">
                  <a:moveTo>
                    <a:pt x="0" y="0"/>
                  </a:moveTo>
                  <a:lnTo>
                    <a:pt x="24130" y="0"/>
                  </a:lnTo>
                  <a:lnTo>
                    <a:pt x="24130" y="2509520"/>
                  </a:lnTo>
                  <a:lnTo>
                    <a:pt x="0" y="2509520"/>
                  </a:lnTo>
                  <a:close/>
                </a:path>
              </a:pathLst>
            </a:custGeom>
            <a:solidFill>
              <a:srgbClr val="DBDBDB"/>
            </a:solidFill>
          </p:spPr>
        </p:sp>
      </p:grpSp>
      <p:grpSp>
        <p:nvGrpSpPr>
          <p:cNvPr id="33" name="Group 28">
            <a:extLst>
              <a:ext uri="{FF2B5EF4-FFF2-40B4-BE49-F238E27FC236}">
                <a16:creationId xmlns:a16="http://schemas.microsoft.com/office/drawing/2014/main" id="{370F6397-82E5-4E64-84A9-90EADEA34F18}"/>
              </a:ext>
            </a:extLst>
          </p:cNvPr>
          <p:cNvGrpSpPr/>
          <p:nvPr userDrawn="1"/>
        </p:nvGrpSpPr>
        <p:grpSpPr>
          <a:xfrm>
            <a:off x="786058" y="1158760"/>
            <a:ext cx="5043318" cy="2181794"/>
            <a:chOff x="0" y="0"/>
            <a:chExt cx="7276769" cy="2619073"/>
          </a:xfrm>
        </p:grpSpPr>
        <p:sp>
          <p:nvSpPr>
            <p:cNvPr id="34" name="Freeform 29">
              <a:extLst>
                <a:ext uri="{FF2B5EF4-FFF2-40B4-BE49-F238E27FC236}">
                  <a16:creationId xmlns:a16="http://schemas.microsoft.com/office/drawing/2014/main" id="{13AD8A2C-BFD6-4992-92F8-9B582C9507D8}"/>
                </a:ext>
              </a:extLst>
            </p:cNvPr>
            <p:cNvSpPr/>
            <p:nvPr/>
          </p:nvSpPr>
          <p:spPr>
            <a:xfrm>
              <a:off x="0" y="0"/>
              <a:ext cx="7276769" cy="2619073"/>
            </a:xfrm>
            <a:custGeom>
              <a:avLst/>
              <a:gdLst/>
              <a:ahLst/>
              <a:cxnLst/>
              <a:rect l="l" t="t" r="r" b="b"/>
              <a:pathLst>
                <a:path w="7276769" h="2619073">
                  <a:moveTo>
                    <a:pt x="7152308" y="59690"/>
                  </a:moveTo>
                  <a:cubicBezTo>
                    <a:pt x="7187868" y="59690"/>
                    <a:pt x="7217079" y="88900"/>
                    <a:pt x="7217079" y="124460"/>
                  </a:cubicBezTo>
                  <a:lnTo>
                    <a:pt x="7217079" y="2494613"/>
                  </a:lnTo>
                  <a:cubicBezTo>
                    <a:pt x="7217079" y="2530173"/>
                    <a:pt x="7187868" y="2559383"/>
                    <a:pt x="7152308" y="2559383"/>
                  </a:cubicBezTo>
                  <a:lnTo>
                    <a:pt x="124460" y="2559383"/>
                  </a:lnTo>
                  <a:cubicBezTo>
                    <a:pt x="88900" y="2559383"/>
                    <a:pt x="59690" y="2530173"/>
                    <a:pt x="59690" y="2494613"/>
                  </a:cubicBezTo>
                  <a:lnTo>
                    <a:pt x="59690" y="124460"/>
                  </a:lnTo>
                  <a:cubicBezTo>
                    <a:pt x="59690" y="88900"/>
                    <a:pt x="88900" y="59690"/>
                    <a:pt x="124460" y="59690"/>
                  </a:cubicBezTo>
                  <a:lnTo>
                    <a:pt x="7152308" y="59690"/>
                  </a:lnTo>
                  <a:moveTo>
                    <a:pt x="7152308" y="0"/>
                  </a:moveTo>
                  <a:lnTo>
                    <a:pt x="124460" y="0"/>
                  </a:lnTo>
                  <a:cubicBezTo>
                    <a:pt x="55880" y="0"/>
                    <a:pt x="0" y="55880"/>
                    <a:pt x="0" y="124460"/>
                  </a:cubicBezTo>
                  <a:lnTo>
                    <a:pt x="0" y="2494613"/>
                  </a:lnTo>
                  <a:cubicBezTo>
                    <a:pt x="0" y="2563193"/>
                    <a:pt x="55880" y="2619073"/>
                    <a:pt x="124460" y="2619073"/>
                  </a:cubicBezTo>
                  <a:lnTo>
                    <a:pt x="7152309" y="2619073"/>
                  </a:lnTo>
                  <a:cubicBezTo>
                    <a:pt x="7220889" y="2619073"/>
                    <a:pt x="7276769" y="2563193"/>
                    <a:pt x="7276769" y="2494613"/>
                  </a:cubicBezTo>
                  <a:lnTo>
                    <a:pt x="7276769" y="124460"/>
                  </a:lnTo>
                  <a:cubicBezTo>
                    <a:pt x="7276769" y="55880"/>
                    <a:pt x="7220889" y="0"/>
                    <a:pt x="7152308" y="0"/>
                  </a:cubicBezTo>
                  <a:close/>
                </a:path>
              </a:pathLst>
            </a:custGeom>
            <a:solidFill>
              <a:srgbClr val="719D8D"/>
            </a:solidFill>
          </p:spPr>
        </p:sp>
      </p:grpSp>
      <p:sp>
        <p:nvSpPr>
          <p:cNvPr id="35" name="TextBox 30">
            <a:extLst>
              <a:ext uri="{FF2B5EF4-FFF2-40B4-BE49-F238E27FC236}">
                <a16:creationId xmlns:a16="http://schemas.microsoft.com/office/drawing/2014/main" id="{CD6DB9E4-CD3F-42E5-A15C-FC0A307E4BEA}"/>
              </a:ext>
            </a:extLst>
          </p:cNvPr>
          <p:cNvSpPr txBox="1"/>
          <p:nvPr userDrawn="1"/>
        </p:nvSpPr>
        <p:spPr>
          <a:xfrm>
            <a:off x="8413086" y="1436060"/>
            <a:ext cx="2795355" cy="1516056"/>
          </a:xfrm>
          <a:prstGeom prst="rect">
            <a:avLst/>
          </a:prstGeom>
        </p:spPr>
        <p:txBody>
          <a:bodyPr wrap="square" lIns="0" tIns="0" rIns="0" bIns="0" rtlCol="0" anchor="t">
            <a:spAutoFit/>
          </a:bodyPr>
          <a:lstStyle/>
          <a:p>
            <a:pPr algn="ctr">
              <a:lnSpc>
                <a:spcPts val="4080"/>
              </a:lnSpc>
              <a:defRPr/>
            </a:pPr>
            <a:r>
              <a:rPr lang="en-GB" sz="2400" spc="120" dirty="0">
                <a:solidFill>
                  <a:srgbClr val="FFFFFF"/>
                </a:solidFill>
                <a:latin typeface="IBM Plex Sans Condensed"/>
                <a:hlinkClick r:id="rId6"/>
              </a:rPr>
              <a:t>2020 Special Appeal on Sexual Violence</a:t>
            </a:r>
            <a:endParaRPr lang="en-US" sz="2400" spc="120" dirty="0">
              <a:solidFill>
                <a:srgbClr val="FFFFFF"/>
              </a:solidFill>
              <a:latin typeface="IBM Plex Sans Condensed"/>
            </a:endParaRPr>
          </a:p>
        </p:txBody>
      </p:sp>
      <p:sp>
        <p:nvSpPr>
          <p:cNvPr id="36" name="TextBox 31">
            <a:extLst>
              <a:ext uri="{FF2B5EF4-FFF2-40B4-BE49-F238E27FC236}">
                <a16:creationId xmlns:a16="http://schemas.microsoft.com/office/drawing/2014/main" id="{F692ECE9-42E3-4396-9B54-76C74D2D8ABF}"/>
              </a:ext>
            </a:extLst>
          </p:cNvPr>
          <p:cNvSpPr txBox="1"/>
          <p:nvPr userDrawn="1"/>
        </p:nvSpPr>
        <p:spPr>
          <a:xfrm>
            <a:off x="3013187" y="4708971"/>
            <a:ext cx="2795355" cy="990271"/>
          </a:xfrm>
          <a:prstGeom prst="rect">
            <a:avLst/>
          </a:prstGeom>
        </p:spPr>
        <p:txBody>
          <a:bodyPr wrap="square" lIns="0" tIns="0" rIns="0" bIns="0" rtlCol="0" anchor="t">
            <a:spAutoFit/>
          </a:bodyPr>
          <a:lstStyle/>
          <a:p>
            <a:pPr algn="ctr">
              <a:lnSpc>
                <a:spcPts val="4080"/>
              </a:lnSpc>
              <a:defRPr/>
            </a:pPr>
            <a:r>
              <a:rPr lang="en-US" sz="2400" spc="120" dirty="0">
                <a:solidFill>
                  <a:srgbClr val="FFFFFF"/>
                </a:solidFill>
                <a:latin typeface="IBM Plex Sans Condensed"/>
                <a:hlinkClick r:id="rId7"/>
              </a:rPr>
              <a:t>ICRC Strategy on Sexual Violence </a:t>
            </a:r>
            <a:endParaRPr lang="en-US" sz="2400" spc="120" dirty="0">
              <a:solidFill>
                <a:srgbClr val="FFFFFF"/>
              </a:solidFill>
              <a:latin typeface="IBM Plex Sans Condensed"/>
            </a:endParaRPr>
          </a:p>
        </p:txBody>
      </p:sp>
      <p:sp>
        <p:nvSpPr>
          <p:cNvPr id="37" name="TextBox 32">
            <a:extLst>
              <a:ext uri="{FF2B5EF4-FFF2-40B4-BE49-F238E27FC236}">
                <a16:creationId xmlns:a16="http://schemas.microsoft.com/office/drawing/2014/main" id="{82071691-DAEF-447C-946B-C81B6955AB58}"/>
              </a:ext>
            </a:extLst>
          </p:cNvPr>
          <p:cNvSpPr txBox="1"/>
          <p:nvPr userDrawn="1"/>
        </p:nvSpPr>
        <p:spPr>
          <a:xfrm>
            <a:off x="8407000" y="4446078"/>
            <a:ext cx="2795355" cy="1516056"/>
          </a:xfrm>
          <a:prstGeom prst="rect">
            <a:avLst/>
          </a:prstGeom>
        </p:spPr>
        <p:txBody>
          <a:bodyPr wrap="square" lIns="0" tIns="0" rIns="0" bIns="0" rtlCol="0" anchor="t">
            <a:spAutoFit/>
          </a:bodyPr>
          <a:lstStyle/>
          <a:p>
            <a:pPr algn="ctr">
              <a:lnSpc>
                <a:spcPts val="4080"/>
              </a:lnSpc>
              <a:defRPr/>
            </a:pPr>
            <a:r>
              <a:rPr lang="en-US" sz="2400" spc="120" dirty="0">
                <a:solidFill>
                  <a:srgbClr val="FFFFFF"/>
                </a:solidFill>
                <a:latin typeface="IBM Plex Sans Condensed"/>
                <a:hlinkClick r:id="rId8"/>
              </a:rPr>
              <a:t>Minimum Accountability Requirements</a:t>
            </a:r>
            <a:endParaRPr lang="en-US" sz="2400" spc="120" dirty="0">
              <a:solidFill>
                <a:srgbClr val="FFFFFF"/>
              </a:solidFill>
              <a:latin typeface="IBM Plex Sans Condensed"/>
            </a:endParaRPr>
          </a:p>
        </p:txBody>
      </p:sp>
      <p:grpSp>
        <p:nvGrpSpPr>
          <p:cNvPr id="38" name="Group 33">
            <a:extLst>
              <a:ext uri="{FF2B5EF4-FFF2-40B4-BE49-F238E27FC236}">
                <a16:creationId xmlns:a16="http://schemas.microsoft.com/office/drawing/2014/main" id="{1E8E5A6B-EB4F-48AB-BBD5-C00654D5CCC3}"/>
              </a:ext>
            </a:extLst>
          </p:cNvPr>
          <p:cNvGrpSpPr/>
          <p:nvPr userDrawn="1"/>
        </p:nvGrpSpPr>
        <p:grpSpPr>
          <a:xfrm>
            <a:off x="824470" y="4149362"/>
            <a:ext cx="5043318" cy="2181794"/>
            <a:chOff x="0" y="0"/>
            <a:chExt cx="7276769" cy="2619073"/>
          </a:xfrm>
        </p:grpSpPr>
        <p:sp>
          <p:nvSpPr>
            <p:cNvPr id="39" name="Freeform 34">
              <a:extLst>
                <a:ext uri="{FF2B5EF4-FFF2-40B4-BE49-F238E27FC236}">
                  <a16:creationId xmlns:a16="http://schemas.microsoft.com/office/drawing/2014/main" id="{1F6911AD-F7B6-4336-B85F-7396D2A84B8D}"/>
                </a:ext>
              </a:extLst>
            </p:cNvPr>
            <p:cNvSpPr/>
            <p:nvPr/>
          </p:nvSpPr>
          <p:spPr>
            <a:xfrm>
              <a:off x="0" y="0"/>
              <a:ext cx="7276769" cy="2619073"/>
            </a:xfrm>
            <a:custGeom>
              <a:avLst/>
              <a:gdLst/>
              <a:ahLst/>
              <a:cxnLst/>
              <a:rect l="l" t="t" r="r" b="b"/>
              <a:pathLst>
                <a:path w="7276769" h="2619073">
                  <a:moveTo>
                    <a:pt x="7152308" y="59690"/>
                  </a:moveTo>
                  <a:cubicBezTo>
                    <a:pt x="7187868" y="59690"/>
                    <a:pt x="7217079" y="88900"/>
                    <a:pt x="7217079" y="124460"/>
                  </a:cubicBezTo>
                  <a:lnTo>
                    <a:pt x="7217079" y="2494613"/>
                  </a:lnTo>
                  <a:cubicBezTo>
                    <a:pt x="7217079" y="2530173"/>
                    <a:pt x="7187868" y="2559383"/>
                    <a:pt x="7152308" y="2559383"/>
                  </a:cubicBezTo>
                  <a:lnTo>
                    <a:pt x="124460" y="2559383"/>
                  </a:lnTo>
                  <a:cubicBezTo>
                    <a:pt x="88900" y="2559383"/>
                    <a:pt x="59690" y="2530173"/>
                    <a:pt x="59690" y="2494613"/>
                  </a:cubicBezTo>
                  <a:lnTo>
                    <a:pt x="59690" y="124460"/>
                  </a:lnTo>
                  <a:cubicBezTo>
                    <a:pt x="59690" y="88900"/>
                    <a:pt x="88900" y="59690"/>
                    <a:pt x="124460" y="59690"/>
                  </a:cubicBezTo>
                  <a:lnTo>
                    <a:pt x="7152308" y="59690"/>
                  </a:lnTo>
                  <a:moveTo>
                    <a:pt x="7152308" y="0"/>
                  </a:moveTo>
                  <a:lnTo>
                    <a:pt x="124460" y="0"/>
                  </a:lnTo>
                  <a:cubicBezTo>
                    <a:pt x="55880" y="0"/>
                    <a:pt x="0" y="55880"/>
                    <a:pt x="0" y="124460"/>
                  </a:cubicBezTo>
                  <a:lnTo>
                    <a:pt x="0" y="2494613"/>
                  </a:lnTo>
                  <a:cubicBezTo>
                    <a:pt x="0" y="2563193"/>
                    <a:pt x="55880" y="2619073"/>
                    <a:pt x="124460" y="2619073"/>
                  </a:cubicBezTo>
                  <a:lnTo>
                    <a:pt x="7152309" y="2619073"/>
                  </a:lnTo>
                  <a:cubicBezTo>
                    <a:pt x="7220889" y="2619073"/>
                    <a:pt x="7276769" y="2563193"/>
                    <a:pt x="7276769" y="2494613"/>
                  </a:cubicBezTo>
                  <a:lnTo>
                    <a:pt x="7276769" y="124460"/>
                  </a:lnTo>
                  <a:cubicBezTo>
                    <a:pt x="7276769" y="55880"/>
                    <a:pt x="7220889" y="0"/>
                    <a:pt x="7152308" y="0"/>
                  </a:cubicBezTo>
                  <a:close/>
                </a:path>
              </a:pathLst>
            </a:custGeom>
            <a:solidFill>
              <a:srgbClr val="719D8D"/>
            </a:solidFill>
          </p:spPr>
        </p:sp>
      </p:grpSp>
      <p:grpSp>
        <p:nvGrpSpPr>
          <p:cNvPr id="40" name="Group 35">
            <a:extLst>
              <a:ext uri="{FF2B5EF4-FFF2-40B4-BE49-F238E27FC236}">
                <a16:creationId xmlns:a16="http://schemas.microsoft.com/office/drawing/2014/main" id="{54179A85-7AF7-4D37-860D-C3DC33D245E2}"/>
              </a:ext>
            </a:extLst>
          </p:cNvPr>
          <p:cNvGrpSpPr/>
          <p:nvPr userDrawn="1"/>
        </p:nvGrpSpPr>
        <p:grpSpPr>
          <a:xfrm>
            <a:off x="6285094" y="1158760"/>
            <a:ext cx="5043318" cy="2181794"/>
            <a:chOff x="0" y="0"/>
            <a:chExt cx="7276769" cy="2619073"/>
          </a:xfrm>
        </p:grpSpPr>
        <p:sp>
          <p:nvSpPr>
            <p:cNvPr id="41" name="Freeform 36">
              <a:extLst>
                <a:ext uri="{FF2B5EF4-FFF2-40B4-BE49-F238E27FC236}">
                  <a16:creationId xmlns:a16="http://schemas.microsoft.com/office/drawing/2014/main" id="{C305D342-BC4C-4125-8306-D26275AD8662}"/>
                </a:ext>
              </a:extLst>
            </p:cNvPr>
            <p:cNvSpPr/>
            <p:nvPr/>
          </p:nvSpPr>
          <p:spPr>
            <a:xfrm>
              <a:off x="0" y="0"/>
              <a:ext cx="7276769" cy="2619073"/>
            </a:xfrm>
            <a:custGeom>
              <a:avLst/>
              <a:gdLst/>
              <a:ahLst/>
              <a:cxnLst/>
              <a:rect l="l" t="t" r="r" b="b"/>
              <a:pathLst>
                <a:path w="7276769" h="2619073">
                  <a:moveTo>
                    <a:pt x="7152308" y="59690"/>
                  </a:moveTo>
                  <a:cubicBezTo>
                    <a:pt x="7187868" y="59690"/>
                    <a:pt x="7217079" y="88900"/>
                    <a:pt x="7217079" y="124460"/>
                  </a:cubicBezTo>
                  <a:lnTo>
                    <a:pt x="7217079" y="2494613"/>
                  </a:lnTo>
                  <a:cubicBezTo>
                    <a:pt x="7217079" y="2530173"/>
                    <a:pt x="7187868" y="2559383"/>
                    <a:pt x="7152308" y="2559383"/>
                  </a:cubicBezTo>
                  <a:lnTo>
                    <a:pt x="124460" y="2559383"/>
                  </a:lnTo>
                  <a:cubicBezTo>
                    <a:pt x="88900" y="2559383"/>
                    <a:pt x="59690" y="2530173"/>
                    <a:pt x="59690" y="2494613"/>
                  </a:cubicBezTo>
                  <a:lnTo>
                    <a:pt x="59690" y="124460"/>
                  </a:lnTo>
                  <a:cubicBezTo>
                    <a:pt x="59690" y="88900"/>
                    <a:pt x="88900" y="59690"/>
                    <a:pt x="124460" y="59690"/>
                  </a:cubicBezTo>
                  <a:lnTo>
                    <a:pt x="7152308" y="59690"/>
                  </a:lnTo>
                  <a:moveTo>
                    <a:pt x="7152308" y="0"/>
                  </a:moveTo>
                  <a:lnTo>
                    <a:pt x="124460" y="0"/>
                  </a:lnTo>
                  <a:cubicBezTo>
                    <a:pt x="55880" y="0"/>
                    <a:pt x="0" y="55880"/>
                    <a:pt x="0" y="124460"/>
                  </a:cubicBezTo>
                  <a:lnTo>
                    <a:pt x="0" y="2494613"/>
                  </a:lnTo>
                  <a:cubicBezTo>
                    <a:pt x="0" y="2563193"/>
                    <a:pt x="55880" y="2619073"/>
                    <a:pt x="124460" y="2619073"/>
                  </a:cubicBezTo>
                  <a:lnTo>
                    <a:pt x="7152309" y="2619073"/>
                  </a:lnTo>
                  <a:cubicBezTo>
                    <a:pt x="7220889" y="2619073"/>
                    <a:pt x="7276769" y="2563193"/>
                    <a:pt x="7276769" y="2494613"/>
                  </a:cubicBezTo>
                  <a:lnTo>
                    <a:pt x="7276769" y="124460"/>
                  </a:lnTo>
                  <a:cubicBezTo>
                    <a:pt x="7276769" y="55880"/>
                    <a:pt x="7220889" y="0"/>
                    <a:pt x="7152308" y="0"/>
                  </a:cubicBezTo>
                  <a:close/>
                </a:path>
              </a:pathLst>
            </a:custGeom>
            <a:solidFill>
              <a:srgbClr val="719D8D"/>
            </a:solidFill>
          </p:spPr>
        </p:sp>
      </p:grpSp>
      <p:sp>
        <p:nvSpPr>
          <p:cNvPr id="42" name="TextBox 37">
            <a:extLst>
              <a:ext uri="{FF2B5EF4-FFF2-40B4-BE49-F238E27FC236}">
                <a16:creationId xmlns:a16="http://schemas.microsoft.com/office/drawing/2014/main" id="{DAB10FEF-EDEF-4127-92AF-6120F6869A22}"/>
              </a:ext>
            </a:extLst>
          </p:cNvPr>
          <p:cNvSpPr txBox="1"/>
          <p:nvPr userDrawn="1"/>
        </p:nvSpPr>
        <p:spPr>
          <a:xfrm>
            <a:off x="-422650" y="16448"/>
            <a:ext cx="12277847" cy="928844"/>
          </a:xfrm>
          <a:prstGeom prst="rect">
            <a:avLst/>
          </a:prstGeom>
        </p:spPr>
        <p:txBody>
          <a:bodyPr wrap="square" lIns="0" tIns="0" rIns="0" bIns="0" rtlCol="0" anchor="t">
            <a:spAutoFit/>
          </a:bodyPr>
          <a:lstStyle/>
          <a:p>
            <a:pPr algn="ctr">
              <a:lnSpc>
                <a:spcPts val="8160"/>
              </a:lnSpc>
              <a:defRPr/>
            </a:pPr>
            <a:r>
              <a:rPr lang="en-US" sz="4800" spc="240" dirty="0">
                <a:solidFill>
                  <a:srgbClr val="FFFFFF"/>
                </a:solidFill>
                <a:latin typeface="IBM Plex Sans Bold"/>
              </a:rPr>
              <a:t>Institutional Resources</a:t>
            </a:r>
          </a:p>
        </p:txBody>
      </p:sp>
      <p:sp>
        <p:nvSpPr>
          <p:cNvPr id="43" name="TextBox 38">
            <a:extLst>
              <a:ext uri="{FF2B5EF4-FFF2-40B4-BE49-F238E27FC236}">
                <a16:creationId xmlns:a16="http://schemas.microsoft.com/office/drawing/2014/main" id="{0BE6A92F-D2CD-4F21-B9B6-63C0D96FC95A}"/>
              </a:ext>
            </a:extLst>
          </p:cNvPr>
          <p:cNvSpPr txBox="1"/>
          <p:nvPr userDrawn="1"/>
        </p:nvSpPr>
        <p:spPr>
          <a:xfrm>
            <a:off x="3013186" y="1188772"/>
            <a:ext cx="2795355" cy="2041841"/>
          </a:xfrm>
          <a:prstGeom prst="rect">
            <a:avLst/>
          </a:prstGeom>
        </p:spPr>
        <p:txBody>
          <a:bodyPr wrap="square" lIns="0" tIns="0" rIns="0" bIns="0" rtlCol="0" anchor="t">
            <a:spAutoFit/>
          </a:bodyPr>
          <a:lstStyle/>
          <a:p>
            <a:pPr algn="ctr">
              <a:lnSpc>
                <a:spcPts val="4080"/>
              </a:lnSpc>
              <a:defRPr/>
            </a:pPr>
            <a:r>
              <a:rPr lang="en-US" sz="2400" spc="120" dirty="0">
                <a:solidFill>
                  <a:srgbClr val="FFFFFF"/>
                </a:solidFill>
                <a:latin typeface="IBM Plex Sans Condensed"/>
                <a:hlinkClick r:id="rId9"/>
              </a:rPr>
              <a:t>ICRC Addressing Sexual Violence Community of Practice</a:t>
            </a:r>
            <a:endParaRPr lang="en-US" sz="2400" spc="120" dirty="0">
              <a:solidFill>
                <a:srgbClr val="FFFFFF"/>
              </a:solidFill>
              <a:latin typeface="IBM Plex Sans Condensed"/>
            </a:endParaRPr>
          </a:p>
        </p:txBody>
      </p:sp>
    </p:spTree>
    <p:extLst>
      <p:ext uri="{BB962C8B-B14F-4D97-AF65-F5344CB8AC3E}">
        <p14:creationId xmlns:p14="http://schemas.microsoft.com/office/powerpoint/2010/main" val="310709046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2846D2-3AA7-41A4-9693-A9E84B9B4E02}"/>
              </a:ext>
            </a:extLst>
          </p:cNvPr>
          <p:cNvSpPr>
            <a:spLocks noGrp="1"/>
          </p:cNvSpPr>
          <p:nvPr>
            <p:ph type="title"/>
          </p:nvPr>
        </p:nvSpPr>
        <p:spPr/>
        <p:txBody>
          <a:bodyPr/>
          <a:lstStyle/>
          <a:p>
            <a:r>
              <a:rPr lang="en-US"/>
              <a:t>Click to edit Master title style</a:t>
            </a:r>
            <a:endParaRPr lang="fr-CH"/>
          </a:p>
        </p:txBody>
      </p:sp>
      <p:sp>
        <p:nvSpPr>
          <p:cNvPr id="3" name="Content Placeholder 2">
            <a:extLst>
              <a:ext uri="{FF2B5EF4-FFF2-40B4-BE49-F238E27FC236}">
                <a16:creationId xmlns:a16="http://schemas.microsoft.com/office/drawing/2014/main" id="{C773D124-DD35-4311-A826-F759ECCC195D}"/>
              </a:ext>
            </a:extLst>
          </p:cNvPr>
          <p:cNvSpPr>
            <a:spLocks noGrp="1"/>
          </p:cNvSpPr>
          <p:nvPr>
            <p:ph idx="1"/>
          </p:nvPr>
        </p:nvSpPr>
        <p:spPr>
          <a:xfrm>
            <a:off x="838200" y="1825626"/>
            <a:ext cx="10515600" cy="435133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CH" dirty="0"/>
          </a:p>
        </p:txBody>
      </p:sp>
    </p:spTree>
    <p:extLst>
      <p:ext uri="{BB962C8B-B14F-4D97-AF65-F5344CB8AC3E}">
        <p14:creationId xmlns:p14="http://schemas.microsoft.com/office/powerpoint/2010/main" val="346633211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slideLayout" Target="../slideLayouts/slideLayout33.xml"/><Relationship Id="rId26" Type="http://schemas.openxmlformats.org/officeDocument/2006/relationships/slideLayout" Target="../slideLayouts/slideLayout41.xml"/><Relationship Id="rId3" Type="http://schemas.openxmlformats.org/officeDocument/2006/relationships/slideLayout" Target="../slideLayouts/slideLayout18.xml"/><Relationship Id="rId21" Type="http://schemas.openxmlformats.org/officeDocument/2006/relationships/slideLayout" Target="../slideLayouts/slideLayout36.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slideLayout" Target="../slideLayouts/slideLayout40.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slideLayout" Target="../slideLayouts/slideLayout35.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slideLayout" Target="../slideLayouts/slideLayout39.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slideLayout" Target="../slideLayouts/slideLayout38.xml"/><Relationship Id="rId28" Type="http://schemas.openxmlformats.org/officeDocument/2006/relationships/theme" Target="../theme/theme2.xml"/><Relationship Id="rId10" Type="http://schemas.openxmlformats.org/officeDocument/2006/relationships/slideLayout" Target="../slideLayouts/slideLayout25.xml"/><Relationship Id="rId19" Type="http://schemas.openxmlformats.org/officeDocument/2006/relationships/slideLayout" Target="../slideLayouts/slideLayout34.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slideLayout" Target="../slideLayouts/slideLayout37.xml"/><Relationship Id="rId27" Type="http://schemas.openxmlformats.org/officeDocument/2006/relationships/slideLayout" Target="../slideLayouts/slideLayout4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slideLayout" Target="../slideLayouts/slideLayout60.xml"/><Relationship Id="rId3" Type="http://schemas.openxmlformats.org/officeDocument/2006/relationships/slideLayout" Target="../slideLayouts/slideLayout45.xml"/><Relationship Id="rId21" Type="http://schemas.openxmlformats.org/officeDocument/2006/relationships/slideLayout" Target="../slideLayouts/slideLayout63.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slideLayout" Target="../slideLayouts/slideLayout62.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24" Type="http://schemas.openxmlformats.org/officeDocument/2006/relationships/theme" Target="../theme/theme3.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23" Type="http://schemas.openxmlformats.org/officeDocument/2006/relationships/slideLayout" Target="../slideLayouts/slideLayout65.xml"/><Relationship Id="rId10" Type="http://schemas.openxmlformats.org/officeDocument/2006/relationships/slideLayout" Target="../slideLayouts/slideLayout52.xml"/><Relationship Id="rId19" Type="http://schemas.openxmlformats.org/officeDocument/2006/relationships/slideLayout" Target="../slideLayouts/slideLayout61.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 Id="rId22" Type="http://schemas.openxmlformats.org/officeDocument/2006/relationships/slideLayout" Target="../slideLayouts/slideLayout6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3.xml"/><Relationship Id="rId3" Type="http://schemas.openxmlformats.org/officeDocument/2006/relationships/slideLayout" Target="../slideLayouts/slideLayout68.xml"/><Relationship Id="rId7" Type="http://schemas.openxmlformats.org/officeDocument/2006/relationships/slideLayout" Target="../slideLayouts/slideLayout72.xml"/><Relationship Id="rId12" Type="http://schemas.openxmlformats.org/officeDocument/2006/relationships/theme" Target="../theme/theme4.xml"/><Relationship Id="rId2" Type="http://schemas.openxmlformats.org/officeDocument/2006/relationships/slideLayout" Target="../slideLayouts/slideLayout67.xml"/><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slideLayout" Target="../slideLayouts/slideLayout76.xml"/><Relationship Id="rId5" Type="http://schemas.openxmlformats.org/officeDocument/2006/relationships/slideLayout" Target="../slideLayouts/slideLayout70.xml"/><Relationship Id="rId10" Type="http://schemas.openxmlformats.org/officeDocument/2006/relationships/slideLayout" Target="../slideLayouts/slideLayout75.xml"/><Relationship Id="rId4" Type="http://schemas.openxmlformats.org/officeDocument/2006/relationships/slideLayout" Target="../slideLayouts/slideLayout69.xml"/><Relationship Id="rId9" Type="http://schemas.openxmlformats.org/officeDocument/2006/relationships/slideLayout" Target="../slideLayouts/slideLayout7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78A392"/>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CBED546-AB3A-4BDE-BC66-6F697A0EFBCC}"/>
              </a:ext>
            </a:extLst>
          </p:cNvPr>
          <p:cNvSpPr>
            <a:spLocks noGrp="1"/>
          </p:cNvSpPr>
          <p:nvPr>
            <p:ph type="title"/>
          </p:nvPr>
        </p:nvSpPr>
        <p:spPr>
          <a:xfrm>
            <a:off x="0" y="365126"/>
            <a:ext cx="12192000" cy="1325563"/>
          </a:xfrm>
          <a:prstGeom prst="rect">
            <a:avLst/>
          </a:prstGeom>
          <a:solidFill>
            <a:srgbClr val="4D7568"/>
          </a:solidFill>
        </p:spPr>
        <p:txBody>
          <a:bodyPr vert="horz" lIns="91440" tIns="45720" rIns="91440" bIns="45720" rtlCol="0" anchor="ctr">
            <a:normAutofit/>
          </a:bodyPr>
          <a:lstStyle/>
          <a:p>
            <a:r>
              <a:rPr lang="en-US" dirty="0"/>
              <a:t>Title</a:t>
            </a:r>
            <a:endParaRPr lang="fr-CH" dirty="0"/>
          </a:p>
        </p:txBody>
      </p:sp>
    </p:spTree>
    <p:extLst>
      <p:ext uri="{BB962C8B-B14F-4D97-AF65-F5344CB8AC3E}">
        <p14:creationId xmlns:p14="http://schemas.microsoft.com/office/powerpoint/2010/main" val="2598889125"/>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 id="2147483687" r:id="rId13"/>
    <p:sldLayoutId id="2147483688" r:id="rId14"/>
    <p:sldLayoutId id="2147483689" r:id="rId15"/>
  </p:sldLayoutIdLst>
  <p:txStyles>
    <p:titleStyle>
      <a:lvl1pPr marL="893808" indent="0" algn="l" defTabSz="914446" rtl="0" eaLnBrk="1" latinLnBrk="0" hangingPunct="1">
        <a:lnSpc>
          <a:spcPct val="90000"/>
        </a:lnSpc>
        <a:spcBef>
          <a:spcPct val="0"/>
        </a:spcBef>
        <a:buNone/>
        <a:defRPr sz="4000" b="0" kern="1200">
          <a:solidFill>
            <a:schemeClr val="bg1"/>
          </a:solidFill>
          <a:latin typeface="IBM Plex Sans Bold" panose="020B0604020202020204" charset="0"/>
          <a:ea typeface="+mj-ea"/>
          <a:cs typeface="+mj-cs"/>
        </a:defRPr>
      </a:lvl1pPr>
    </p:titleStyle>
    <p:bodyStyle>
      <a:lvl1pPr marL="0" indent="0" algn="r" defTabSz="914446" rtl="0" eaLnBrk="1" latinLnBrk="0" hangingPunct="1">
        <a:lnSpc>
          <a:spcPct val="90000"/>
        </a:lnSpc>
        <a:spcBef>
          <a:spcPts val="1000"/>
        </a:spcBef>
        <a:buFont typeface="Arial" panose="020B0604020202020204" pitchFamily="34" charset="0"/>
        <a:buNone/>
        <a:defRPr sz="2800" b="1" kern="1200">
          <a:solidFill>
            <a:srgbClr val="4D7568"/>
          </a:solidFill>
          <a:latin typeface="IBM Plex Sans Condensed Thin Bold" panose="020B0604020202020204" charset="0"/>
          <a:ea typeface="+mn-ea"/>
          <a:cs typeface="+mn-cs"/>
        </a:defRPr>
      </a:lvl1pPr>
      <a:lvl2pPr marL="685834" indent="-228611" algn="l" defTabSz="914446"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57" indent="-228611" algn="l" defTabSz="914446"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80"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503"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46" rtl="0" eaLnBrk="1" latinLnBrk="0" hangingPunct="1">
        <a:defRPr sz="1800" kern="1200">
          <a:solidFill>
            <a:schemeClr val="tx1"/>
          </a:solidFill>
          <a:latin typeface="+mn-lt"/>
          <a:ea typeface="+mn-ea"/>
          <a:cs typeface="+mn-cs"/>
        </a:defRPr>
      </a:lvl1pPr>
      <a:lvl2pPr marL="457223" algn="l" defTabSz="914446" rtl="0" eaLnBrk="1" latinLnBrk="0" hangingPunct="1">
        <a:defRPr sz="1800" kern="1200">
          <a:solidFill>
            <a:schemeClr val="tx1"/>
          </a:solidFill>
          <a:latin typeface="+mn-lt"/>
          <a:ea typeface="+mn-ea"/>
          <a:cs typeface="+mn-cs"/>
        </a:defRPr>
      </a:lvl2pPr>
      <a:lvl3pPr marL="914446" algn="l" defTabSz="914446" rtl="0" eaLnBrk="1" latinLnBrk="0" hangingPunct="1">
        <a:defRPr sz="1800" kern="1200">
          <a:solidFill>
            <a:schemeClr val="tx1"/>
          </a:solidFill>
          <a:latin typeface="+mn-lt"/>
          <a:ea typeface="+mn-ea"/>
          <a:cs typeface="+mn-cs"/>
        </a:defRPr>
      </a:lvl3pPr>
      <a:lvl4pPr marL="1371669" algn="l" defTabSz="914446" rtl="0" eaLnBrk="1" latinLnBrk="0" hangingPunct="1">
        <a:defRPr sz="1800" kern="1200">
          <a:solidFill>
            <a:schemeClr val="tx1"/>
          </a:solidFill>
          <a:latin typeface="+mn-lt"/>
          <a:ea typeface="+mn-ea"/>
          <a:cs typeface="+mn-cs"/>
        </a:defRPr>
      </a:lvl4pPr>
      <a:lvl5pPr marL="1828891" algn="l" defTabSz="914446" rtl="0" eaLnBrk="1" latinLnBrk="0" hangingPunct="1">
        <a:defRPr sz="1800" kern="1200">
          <a:solidFill>
            <a:schemeClr val="tx1"/>
          </a:solidFill>
          <a:latin typeface="+mn-lt"/>
          <a:ea typeface="+mn-ea"/>
          <a:cs typeface="+mn-cs"/>
        </a:defRPr>
      </a:lvl5pPr>
      <a:lvl6pPr marL="2286114" algn="l" defTabSz="914446" rtl="0" eaLnBrk="1" latinLnBrk="0" hangingPunct="1">
        <a:defRPr sz="1800" kern="1200">
          <a:solidFill>
            <a:schemeClr val="tx1"/>
          </a:solidFill>
          <a:latin typeface="+mn-lt"/>
          <a:ea typeface="+mn-ea"/>
          <a:cs typeface="+mn-cs"/>
        </a:defRPr>
      </a:lvl6pPr>
      <a:lvl7pPr marL="2743337" algn="l" defTabSz="914446" rtl="0" eaLnBrk="1" latinLnBrk="0" hangingPunct="1">
        <a:defRPr sz="1800" kern="1200">
          <a:solidFill>
            <a:schemeClr val="tx1"/>
          </a:solidFill>
          <a:latin typeface="+mn-lt"/>
          <a:ea typeface="+mn-ea"/>
          <a:cs typeface="+mn-cs"/>
        </a:defRPr>
      </a:lvl7pPr>
      <a:lvl8pPr marL="3200560" algn="l" defTabSz="914446" rtl="0" eaLnBrk="1" latinLnBrk="0" hangingPunct="1">
        <a:defRPr sz="1800" kern="1200">
          <a:solidFill>
            <a:schemeClr val="tx1"/>
          </a:solidFill>
          <a:latin typeface="+mn-lt"/>
          <a:ea typeface="+mn-ea"/>
          <a:cs typeface="+mn-cs"/>
        </a:defRPr>
      </a:lvl8pPr>
      <a:lvl9pPr marL="3657783" algn="l" defTabSz="914446"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78A392"/>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CBED546-AB3A-4BDE-BC66-6F697A0EFBCC}"/>
              </a:ext>
            </a:extLst>
          </p:cNvPr>
          <p:cNvSpPr>
            <a:spLocks noGrp="1"/>
          </p:cNvSpPr>
          <p:nvPr>
            <p:ph type="title"/>
          </p:nvPr>
        </p:nvSpPr>
        <p:spPr>
          <a:xfrm>
            <a:off x="0" y="365125"/>
            <a:ext cx="12192000" cy="1325563"/>
          </a:xfrm>
          <a:prstGeom prst="rect">
            <a:avLst/>
          </a:prstGeom>
          <a:solidFill>
            <a:srgbClr val="4D7568"/>
          </a:solidFill>
        </p:spPr>
        <p:txBody>
          <a:bodyPr vert="horz" lIns="91440" tIns="45720" rIns="91440" bIns="45720" rtlCol="0" anchor="ctr">
            <a:normAutofit/>
          </a:bodyPr>
          <a:lstStyle/>
          <a:p>
            <a:r>
              <a:rPr lang="en-US" dirty="0"/>
              <a:t>Title</a:t>
            </a:r>
            <a:endParaRPr lang="fr-CH" dirty="0"/>
          </a:p>
        </p:txBody>
      </p:sp>
    </p:spTree>
    <p:extLst>
      <p:ext uri="{BB962C8B-B14F-4D97-AF65-F5344CB8AC3E}">
        <p14:creationId xmlns:p14="http://schemas.microsoft.com/office/powerpoint/2010/main" val="829439157"/>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04" r:id="rId14"/>
    <p:sldLayoutId id="2147483705" r:id="rId15"/>
    <p:sldLayoutId id="2147483706" r:id="rId16"/>
    <p:sldLayoutId id="2147483707" r:id="rId17"/>
    <p:sldLayoutId id="2147483708" r:id="rId18"/>
    <p:sldLayoutId id="2147483709" r:id="rId19"/>
    <p:sldLayoutId id="2147483850" r:id="rId20"/>
    <p:sldLayoutId id="2147483851" r:id="rId21"/>
    <p:sldLayoutId id="2147483673" r:id="rId22"/>
    <p:sldLayoutId id="2147483722" r:id="rId23"/>
    <p:sldLayoutId id="2147483723" r:id="rId24"/>
    <p:sldLayoutId id="2147483724" r:id="rId25"/>
    <p:sldLayoutId id="2147483725" r:id="rId26"/>
    <p:sldLayoutId id="2147483726" r:id="rId27"/>
  </p:sldLayoutIdLst>
  <p:txStyles>
    <p:titleStyle>
      <a:lvl1pPr marL="893763" indent="0" algn="l" defTabSz="914400" rtl="0" eaLnBrk="1" latinLnBrk="0" hangingPunct="1">
        <a:lnSpc>
          <a:spcPct val="90000"/>
        </a:lnSpc>
        <a:spcBef>
          <a:spcPct val="0"/>
        </a:spcBef>
        <a:buNone/>
        <a:defRPr sz="4000" b="0" kern="1200">
          <a:solidFill>
            <a:schemeClr val="bg1"/>
          </a:solidFill>
          <a:latin typeface="IBM Plex Sans Bold" panose="020B0604020202020204" charset="0"/>
          <a:ea typeface="+mj-ea"/>
          <a:cs typeface="+mj-cs"/>
        </a:defRPr>
      </a:lvl1pPr>
    </p:titleStyle>
    <p:bodyStyle>
      <a:lvl1pPr marL="0" indent="0" algn="r" defTabSz="914400" rtl="0" eaLnBrk="1" latinLnBrk="0" hangingPunct="1">
        <a:lnSpc>
          <a:spcPct val="90000"/>
        </a:lnSpc>
        <a:spcBef>
          <a:spcPts val="1000"/>
        </a:spcBef>
        <a:buFont typeface="Arial" panose="020B0604020202020204" pitchFamily="34" charset="0"/>
        <a:buNone/>
        <a:defRPr sz="2800" b="1" kern="1200">
          <a:solidFill>
            <a:srgbClr val="4D7568"/>
          </a:solidFill>
          <a:latin typeface="IBM Plex Sans Condensed Thin Bold" panose="020B060402020202020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78A392"/>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CBED546-AB3A-4BDE-BC66-6F697A0EFBCC}"/>
              </a:ext>
            </a:extLst>
          </p:cNvPr>
          <p:cNvSpPr>
            <a:spLocks noGrp="1"/>
          </p:cNvSpPr>
          <p:nvPr>
            <p:ph type="title"/>
          </p:nvPr>
        </p:nvSpPr>
        <p:spPr>
          <a:xfrm>
            <a:off x="0" y="365125"/>
            <a:ext cx="12192000" cy="1325563"/>
          </a:xfrm>
          <a:prstGeom prst="rect">
            <a:avLst/>
          </a:prstGeom>
          <a:solidFill>
            <a:srgbClr val="4D7568"/>
          </a:solidFill>
        </p:spPr>
        <p:txBody>
          <a:bodyPr vert="horz" lIns="91440" tIns="45720" rIns="91440" bIns="45720" rtlCol="0" anchor="ctr">
            <a:normAutofit/>
          </a:bodyPr>
          <a:lstStyle/>
          <a:p>
            <a:r>
              <a:rPr lang="en-US" dirty="0"/>
              <a:t>Title</a:t>
            </a:r>
            <a:endParaRPr lang="fr-CH" dirty="0"/>
          </a:p>
        </p:txBody>
      </p:sp>
    </p:spTree>
    <p:extLst>
      <p:ext uri="{BB962C8B-B14F-4D97-AF65-F5344CB8AC3E}">
        <p14:creationId xmlns:p14="http://schemas.microsoft.com/office/powerpoint/2010/main" val="1150585757"/>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 id="2147483739" r:id="rId12"/>
    <p:sldLayoutId id="2147483740" r:id="rId13"/>
    <p:sldLayoutId id="2147483741" r:id="rId14"/>
    <p:sldLayoutId id="2147483742" r:id="rId15"/>
    <p:sldLayoutId id="2147483743" r:id="rId16"/>
    <p:sldLayoutId id="2147483744" r:id="rId17"/>
    <p:sldLayoutId id="2147483745" r:id="rId18"/>
    <p:sldLayoutId id="2147483746" r:id="rId19"/>
    <p:sldLayoutId id="2147483758" r:id="rId20"/>
    <p:sldLayoutId id="2147483771" r:id="rId21"/>
    <p:sldLayoutId id="2147483782" r:id="rId22"/>
    <p:sldLayoutId id="2147483796" r:id="rId23"/>
  </p:sldLayoutIdLst>
  <p:txStyles>
    <p:titleStyle>
      <a:lvl1pPr marL="893763" indent="0" algn="l" defTabSz="914400" rtl="0" eaLnBrk="1" latinLnBrk="0" hangingPunct="1">
        <a:lnSpc>
          <a:spcPct val="90000"/>
        </a:lnSpc>
        <a:spcBef>
          <a:spcPct val="0"/>
        </a:spcBef>
        <a:buNone/>
        <a:defRPr sz="4000" b="0" kern="1200">
          <a:solidFill>
            <a:schemeClr val="bg1"/>
          </a:solidFill>
          <a:latin typeface="IBM Plex Sans Bold" panose="020B0604020202020204" charset="0"/>
          <a:ea typeface="+mj-ea"/>
          <a:cs typeface="+mj-cs"/>
        </a:defRPr>
      </a:lvl1pPr>
    </p:titleStyle>
    <p:bodyStyle>
      <a:lvl1pPr marL="0" indent="0" algn="r" defTabSz="914400" rtl="0" eaLnBrk="1" latinLnBrk="0" hangingPunct="1">
        <a:lnSpc>
          <a:spcPct val="90000"/>
        </a:lnSpc>
        <a:spcBef>
          <a:spcPts val="1000"/>
        </a:spcBef>
        <a:buFont typeface="Arial" panose="020B0604020202020204" pitchFamily="34" charset="0"/>
        <a:buNone/>
        <a:defRPr sz="2800" b="1" kern="1200">
          <a:solidFill>
            <a:srgbClr val="4D7568"/>
          </a:solidFill>
          <a:latin typeface="IBM Plex Sans Condensed Thin Bold" panose="020B060402020202020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5EDD1E1-7A0E-48FB-82D6-19F1617B8C17}"/>
              </a:ext>
            </a:extLst>
          </p:cNvPr>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endParaRPr lang="fr-CH"/>
          </a:p>
        </p:txBody>
      </p:sp>
      <p:sp>
        <p:nvSpPr>
          <p:cNvPr id="3" name="Text Placeholder 2">
            <a:extLst>
              <a:ext uri="{FF2B5EF4-FFF2-40B4-BE49-F238E27FC236}">
                <a16:creationId xmlns:a16="http://schemas.microsoft.com/office/drawing/2014/main" id="{78B2B14E-B5A7-474F-88B0-7F920D35B6DC}"/>
              </a:ext>
            </a:extLst>
          </p:cNvPr>
          <p:cNvSpPr>
            <a:spLocks noGrp="1"/>
          </p:cNvSpPr>
          <p:nvPr>
            <p:ph type="body" idx="1"/>
          </p:nvPr>
        </p:nvSpPr>
        <p:spPr>
          <a:xfrm>
            <a:off x="838200" y="1825626"/>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CH"/>
          </a:p>
        </p:txBody>
      </p:sp>
      <p:sp>
        <p:nvSpPr>
          <p:cNvPr id="4" name="Date Placeholder 3">
            <a:extLst>
              <a:ext uri="{FF2B5EF4-FFF2-40B4-BE49-F238E27FC236}">
                <a16:creationId xmlns:a16="http://schemas.microsoft.com/office/drawing/2014/main" id="{EE707618-EA17-4B43-823B-23FB78A06441}"/>
              </a:ext>
            </a:extLst>
          </p:cNvPr>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D8BD707-D9CF-40AE-B4C6-C98DA3205C09}" type="datetimeFigureOut">
              <a:rPr lang="en-US" smtClean="0"/>
              <a:pPr/>
              <a:t>6/5/2023</a:t>
            </a:fld>
            <a:endParaRPr lang="en-US" dirty="0"/>
          </a:p>
        </p:txBody>
      </p:sp>
      <p:sp>
        <p:nvSpPr>
          <p:cNvPr id="5" name="Footer Placeholder 4">
            <a:extLst>
              <a:ext uri="{FF2B5EF4-FFF2-40B4-BE49-F238E27FC236}">
                <a16:creationId xmlns:a16="http://schemas.microsoft.com/office/drawing/2014/main" id="{B9BCD2C1-9D91-4440-924D-542AA4567F69}"/>
              </a:ext>
            </a:extLst>
          </p:cNvPr>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A42C048B-19A9-40F7-9FE8-2A5602F4A4E8}"/>
              </a:ext>
            </a:extLst>
          </p:cNvPr>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6F15528-21DE-4FAA-801E-634DDDAF4B2B}" type="slidenum">
              <a:rPr lang="en-US" smtClean="0"/>
              <a:pPr/>
              <a:t>‹#›</a:t>
            </a:fld>
            <a:endParaRPr lang="en-US" dirty="0"/>
          </a:p>
        </p:txBody>
      </p:sp>
    </p:spTree>
    <p:extLst>
      <p:ext uri="{BB962C8B-B14F-4D97-AF65-F5344CB8AC3E}">
        <p14:creationId xmlns:p14="http://schemas.microsoft.com/office/powerpoint/2010/main" val="3925508186"/>
      </p:ext>
    </p:extLst>
  </p:cSld>
  <p:clrMap bg1="lt1" tx1="dk1" bg2="lt2" tx2="dk2" accent1="accent1" accent2="accent2" accent3="accent3" accent4="accent4" accent5="accent5" accent6="accent6" hlink="hlink" folHlink="folHlink"/>
  <p:sldLayoutIdLst>
    <p:sldLayoutId id="2147483853" r:id="rId1"/>
    <p:sldLayoutId id="2147483854" r:id="rId2"/>
    <p:sldLayoutId id="2147483855" r:id="rId3"/>
    <p:sldLayoutId id="2147483856" r:id="rId4"/>
    <p:sldLayoutId id="2147483857" r:id="rId5"/>
    <p:sldLayoutId id="2147483858" r:id="rId6"/>
    <p:sldLayoutId id="2147483859" r:id="rId7"/>
    <p:sldLayoutId id="2147483860" r:id="rId8"/>
    <p:sldLayoutId id="2147483861" r:id="rId9"/>
    <p:sldLayoutId id="2147483862" r:id="rId10"/>
    <p:sldLayoutId id="2147483863" r:id="rId11"/>
  </p:sldLayoutIdLst>
  <p:txStyles>
    <p:titleStyle>
      <a:lvl1pPr algn="l" defTabSz="914446"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11" indent="-228611" algn="l" defTabSz="914446"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34" indent="-228611" algn="l" defTabSz="914446"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57" indent="-228611" algn="l" defTabSz="914446"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80"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503"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46" rtl="0" eaLnBrk="1" latinLnBrk="0" hangingPunct="1">
        <a:defRPr sz="1800" kern="1200">
          <a:solidFill>
            <a:schemeClr val="tx1"/>
          </a:solidFill>
          <a:latin typeface="+mn-lt"/>
          <a:ea typeface="+mn-ea"/>
          <a:cs typeface="+mn-cs"/>
        </a:defRPr>
      </a:lvl1pPr>
      <a:lvl2pPr marL="457223" algn="l" defTabSz="914446" rtl="0" eaLnBrk="1" latinLnBrk="0" hangingPunct="1">
        <a:defRPr sz="1800" kern="1200">
          <a:solidFill>
            <a:schemeClr val="tx1"/>
          </a:solidFill>
          <a:latin typeface="+mn-lt"/>
          <a:ea typeface="+mn-ea"/>
          <a:cs typeface="+mn-cs"/>
        </a:defRPr>
      </a:lvl2pPr>
      <a:lvl3pPr marL="914446" algn="l" defTabSz="914446" rtl="0" eaLnBrk="1" latinLnBrk="0" hangingPunct="1">
        <a:defRPr sz="1800" kern="1200">
          <a:solidFill>
            <a:schemeClr val="tx1"/>
          </a:solidFill>
          <a:latin typeface="+mn-lt"/>
          <a:ea typeface="+mn-ea"/>
          <a:cs typeface="+mn-cs"/>
        </a:defRPr>
      </a:lvl3pPr>
      <a:lvl4pPr marL="1371669" algn="l" defTabSz="914446" rtl="0" eaLnBrk="1" latinLnBrk="0" hangingPunct="1">
        <a:defRPr sz="1800" kern="1200">
          <a:solidFill>
            <a:schemeClr val="tx1"/>
          </a:solidFill>
          <a:latin typeface="+mn-lt"/>
          <a:ea typeface="+mn-ea"/>
          <a:cs typeface="+mn-cs"/>
        </a:defRPr>
      </a:lvl4pPr>
      <a:lvl5pPr marL="1828891" algn="l" defTabSz="914446" rtl="0" eaLnBrk="1" latinLnBrk="0" hangingPunct="1">
        <a:defRPr sz="1800" kern="1200">
          <a:solidFill>
            <a:schemeClr val="tx1"/>
          </a:solidFill>
          <a:latin typeface="+mn-lt"/>
          <a:ea typeface="+mn-ea"/>
          <a:cs typeface="+mn-cs"/>
        </a:defRPr>
      </a:lvl5pPr>
      <a:lvl6pPr marL="2286114" algn="l" defTabSz="914446" rtl="0" eaLnBrk="1" latinLnBrk="0" hangingPunct="1">
        <a:defRPr sz="1800" kern="1200">
          <a:solidFill>
            <a:schemeClr val="tx1"/>
          </a:solidFill>
          <a:latin typeface="+mn-lt"/>
          <a:ea typeface="+mn-ea"/>
          <a:cs typeface="+mn-cs"/>
        </a:defRPr>
      </a:lvl6pPr>
      <a:lvl7pPr marL="2743337" algn="l" defTabSz="914446" rtl="0" eaLnBrk="1" latinLnBrk="0" hangingPunct="1">
        <a:defRPr sz="1800" kern="1200">
          <a:solidFill>
            <a:schemeClr val="tx1"/>
          </a:solidFill>
          <a:latin typeface="+mn-lt"/>
          <a:ea typeface="+mn-ea"/>
          <a:cs typeface="+mn-cs"/>
        </a:defRPr>
      </a:lvl7pPr>
      <a:lvl8pPr marL="3200560" algn="l" defTabSz="914446" rtl="0" eaLnBrk="1" latinLnBrk="0" hangingPunct="1">
        <a:defRPr sz="1800" kern="1200">
          <a:solidFill>
            <a:schemeClr val="tx1"/>
          </a:solidFill>
          <a:latin typeface="+mn-lt"/>
          <a:ea typeface="+mn-ea"/>
          <a:cs typeface="+mn-cs"/>
        </a:defRPr>
      </a:lvl8pPr>
      <a:lvl9pPr marL="3657783" algn="l" defTabSz="914446"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24.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9.xml"/><Relationship Id="rId1" Type="http://schemas.openxmlformats.org/officeDocument/2006/relationships/slideLayout" Target="../slideLayouts/slideLayout17.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notesSlide" Target="../notesSlides/notesSlide10.xml"/><Relationship Id="rId1" Type="http://schemas.openxmlformats.org/officeDocument/2006/relationships/slideLayout" Target="../slideLayouts/slideLayout24.xml"/><Relationship Id="rId6" Type="http://schemas.openxmlformats.org/officeDocument/2006/relationships/image" Target="../media/image17.png"/><Relationship Id="rId5" Type="http://schemas.openxmlformats.org/officeDocument/2006/relationships/image" Target="../media/image16.jpeg"/><Relationship Id="rId4" Type="http://schemas.openxmlformats.org/officeDocument/2006/relationships/image" Target="../media/image15.jpe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video" Target="../media/media2.mp4"/><Relationship Id="rId1" Type="http://schemas.microsoft.com/office/2007/relationships/media" Target="../media/media2.mp4"/><Relationship Id="rId5" Type="http://schemas.openxmlformats.org/officeDocument/2006/relationships/image" Target="../media/image19.png"/><Relationship Id="rId4" Type="http://schemas.openxmlformats.org/officeDocument/2006/relationships/notesSlide" Target="../notesSlides/notesSlide1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4.xml"/></Relationships>
</file>

<file path=ppt/slides/_rels/slide17.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3.xml"/><Relationship Id="rId1" Type="http://schemas.openxmlformats.org/officeDocument/2006/relationships/slideLayout" Target="../slideLayouts/slideLayout35.xml"/></Relationships>
</file>

<file path=ppt/slides/_rels/slide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4.xml"/><Relationship Id="rId1" Type="http://schemas.openxmlformats.org/officeDocument/2006/relationships/slideLayout" Target="../slideLayouts/slideLayout53.xml"/><Relationship Id="rId4" Type="http://schemas.openxmlformats.org/officeDocument/2006/relationships/image" Target="../media/image22.png"/></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2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7.xml"/></Relationships>
</file>

<file path=ppt/slides/_rels/slide20.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15.xml"/><Relationship Id="rId1" Type="http://schemas.openxmlformats.org/officeDocument/2006/relationships/slideLayout" Target="../slideLayouts/slideLayout24.xml"/><Relationship Id="rId6" Type="http://schemas.openxmlformats.org/officeDocument/2006/relationships/image" Target="../media/image28.png"/><Relationship Id="rId5" Type="http://schemas.openxmlformats.org/officeDocument/2006/relationships/image" Target="../media/image27.jpeg"/><Relationship Id="rId4" Type="http://schemas.openxmlformats.org/officeDocument/2006/relationships/image" Target="../media/image26.png"/></Relationships>
</file>

<file path=ppt/slides/_rels/slide2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6.xml"/><Relationship Id="rId1" Type="http://schemas.openxmlformats.org/officeDocument/2006/relationships/slideLayout" Target="../slideLayouts/slideLayout24.xml"/><Relationship Id="rId6" Type="http://schemas.openxmlformats.org/officeDocument/2006/relationships/image" Target="../media/image32.jpeg"/><Relationship Id="rId5" Type="http://schemas.openxmlformats.org/officeDocument/2006/relationships/image" Target="../media/image31.jpeg"/><Relationship Id="rId4" Type="http://schemas.openxmlformats.org/officeDocument/2006/relationships/image" Target="../media/image30.jpeg"/></Relationships>
</file>

<file path=ppt/slides/_rels/slide2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7.xml"/><Relationship Id="rId1" Type="http://schemas.openxmlformats.org/officeDocument/2006/relationships/slideLayout" Target="../slideLayouts/slideLayout36.xml"/><Relationship Id="rId4" Type="http://schemas.openxmlformats.org/officeDocument/2006/relationships/image" Target="../media/image34.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8.xml"/><Relationship Id="rId1" Type="http://schemas.openxmlformats.org/officeDocument/2006/relationships/slideLayout" Target="../slideLayouts/slideLayout24.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9.xml"/><Relationship Id="rId1" Type="http://schemas.openxmlformats.org/officeDocument/2006/relationships/slideLayout" Target="../slideLayouts/slideLayout72.xml"/></Relationships>
</file>

<file path=ppt/slides/_rels/slide2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0.xml"/><Relationship Id="rId1" Type="http://schemas.openxmlformats.org/officeDocument/2006/relationships/slideLayout" Target="../slideLayouts/slideLayout53.xml"/><Relationship Id="rId4" Type="http://schemas.openxmlformats.org/officeDocument/2006/relationships/image" Target="../media/image22.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17.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3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24.xml"/></Relationships>
</file>

<file path=ppt/slides/_rels/slide34.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5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6.xml.rels><?xml version="1.0" encoding="UTF-8" standalone="yes"?>
<Relationships xmlns="http://schemas.openxmlformats.org/package/2006/relationships"><Relationship Id="rId8" Type="http://schemas.openxmlformats.org/officeDocument/2006/relationships/comments" Target="../comments/comment1.xml"/><Relationship Id="rId3" Type="http://schemas.openxmlformats.org/officeDocument/2006/relationships/image" Target="../media/image39.PNG"/><Relationship Id="rId7" Type="http://schemas.openxmlformats.org/officeDocument/2006/relationships/image" Target="../media/image43.PNG"/><Relationship Id="rId2" Type="http://schemas.openxmlformats.org/officeDocument/2006/relationships/notesSlide" Target="../notesSlides/notesSlide21.xml"/><Relationship Id="rId1" Type="http://schemas.openxmlformats.org/officeDocument/2006/relationships/slideLayout" Target="../slideLayouts/slideLayout24.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s>
</file>

<file path=ppt/slides/_rels/slide37.xml.rels><?xml version="1.0" encoding="UTF-8" standalone="yes"?>
<Relationships xmlns="http://schemas.openxmlformats.org/package/2006/relationships"><Relationship Id="rId8" Type="http://schemas.openxmlformats.org/officeDocument/2006/relationships/comments" Target="../comments/comment2.xml"/><Relationship Id="rId3" Type="http://schemas.openxmlformats.org/officeDocument/2006/relationships/image" Target="../media/image44.png"/><Relationship Id="rId7" Type="http://schemas.openxmlformats.org/officeDocument/2006/relationships/image" Target="../media/image48.png"/><Relationship Id="rId2" Type="http://schemas.openxmlformats.org/officeDocument/2006/relationships/notesSlide" Target="../notesSlides/notesSlide22.xml"/><Relationship Id="rId1" Type="http://schemas.openxmlformats.org/officeDocument/2006/relationships/slideLayout" Target="../slideLayouts/slideLayout24.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45.png"/></Relationships>
</file>

<file path=ppt/slides/_rels/slide38.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23.xml"/><Relationship Id="rId1" Type="http://schemas.openxmlformats.org/officeDocument/2006/relationships/slideLayout" Target="../slideLayouts/slideLayout24.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2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19.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12.png"/><Relationship Id="rId4" Type="http://schemas.openxmlformats.org/officeDocument/2006/relationships/notesSlide" Target="../notesSlides/notesSlide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3"/>
          <p:cNvGrpSpPr/>
          <p:nvPr/>
        </p:nvGrpSpPr>
        <p:grpSpPr>
          <a:xfrm>
            <a:off x="355600" y="685800"/>
            <a:ext cx="11125200" cy="4811385"/>
            <a:chOff x="0" y="0"/>
            <a:chExt cx="6186311" cy="2441332"/>
          </a:xfrm>
        </p:grpSpPr>
        <p:sp>
          <p:nvSpPr>
            <p:cNvPr id="4" name="Freeform 4"/>
            <p:cNvSpPr/>
            <p:nvPr/>
          </p:nvSpPr>
          <p:spPr>
            <a:xfrm>
              <a:off x="0" y="0"/>
              <a:ext cx="6186311" cy="2441332"/>
            </a:xfrm>
            <a:custGeom>
              <a:avLst/>
              <a:gdLst/>
              <a:ahLst/>
              <a:cxnLst/>
              <a:rect l="l" t="t" r="r" b="b"/>
              <a:pathLst>
                <a:path w="6186311" h="2441332">
                  <a:moveTo>
                    <a:pt x="0" y="0"/>
                  </a:moveTo>
                  <a:lnTo>
                    <a:pt x="6186311" y="0"/>
                  </a:lnTo>
                  <a:lnTo>
                    <a:pt x="6186311" y="2441332"/>
                  </a:lnTo>
                  <a:lnTo>
                    <a:pt x="0" y="2441332"/>
                  </a:lnTo>
                  <a:close/>
                </a:path>
              </a:pathLst>
            </a:custGeom>
            <a:solidFill>
              <a:srgbClr val="4D7568"/>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H"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6" name="TextBox 6"/>
          <p:cNvSpPr txBox="1"/>
          <p:nvPr/>
        </p:nvSpPr>
        <p:spPr>
          <a:xfrm>
            <a:off x="823207" y="1613613"/>
            <a:ext cx="11013193" cy="1410643"/>
          </a:xfrm>
          <a:prstGeom prst="rect">
            <a:avLst/>
          </a:prstGeom>
        </p:spPr>
        <p:txBody>
          <a:bodyPr wrap="square" lIns="0" tIns="0" rIns="0" bIns="0" rtlCol="0" anchor="t">
            <a:spAutoFit/>
          </a:bodyPr>
          <a:lstStyle/>
          <a:p>
            <a:pPr lvl="0" defTabSz="609630">
              <a:lnSpc>
                <a:spcPts val="5450"/>
              </a:lnSpc>
            </a:pPr>
            <a:r>
              <a:rPr lang="fr-FR" sz="5000" dirty="0">
                <a:solidFill>
                  <a:srgbClr val="FFFFFF"/>
                </a:solidFill>
                <a:latin typeface="IBM Plex Sans Thin Bold" panose="020B0604020202020204" charset="0"/>
              </a:rPr>
              <a:t>Réponse pluridisciplinaire à la violence : la violence sexuelle</a:t>
            </a:r>
          </a:p>
        </p:txBody>
      </p:sp>
      <p:sp>
        <p:nvSpPr>
          <p:cNvPr id="7" name="TextBox 7"/>
          <p:cNvSpPr txBox="1"/>
          <p:nvPr/>
        </p:nvSpPr>
        <p:spPr>
          <a:xfrm>
            <a:off x="2869963" y="4361019"/>
            <a:ext cx="8788637" cy="322909"/>
          </a:xfrm>
          <a:prstGeom prst="rect">
            <a:avLst/>
          </a:prstGeom>
        </p:spPr>
        <p:txBody>
          <a:bodyPr lIns="0" tIns="0" rIns="0" bIns="0" rtlCol="0" anchor="t">
            <a:spAutoFit/>
          </a:bodyPr>
          <a:lstStyle/>
          <a:p>
            <a:pPr marL="0" marR="0" lvl="0" indent="0" algn="r" defTabSz="609630" rtl="0" eaLnBrk="1" fontAlgn="auto" latinLnBrk="0" hangingPunct="1">
              <a:lnSpc>
                <a:spcPts val="2744"/>
              </a:lnSpc>
              <a:spcBef>
                <a:spcPts val="0"/>
              </a:spcBef>
              <a:spcAft>
                <a:spcPts val="0"/>
              </a:spcAft>
              <a:buClrTx/>
              <a:buSzTx/>
              <a:buFontTx/>
              <a:buNone/>
              <a:tabLst/>
              <a:defRPr/>
            </a:pPr>
            <a:r>
              <a:rPr kumimoji="0" lang="fr-FR" sz="1867" b="0" i="0" u="none" strike="noStrike" cap="none" normalizeH="0" baseline="0" noProof="0" dirty="0">
                <a:ln>
                  <a:noFill/>
                </a:ln>
                <a:solidFill>
                  <a:srgbClr val="FFFFFF"/>
                </a:solidFill>
                <a:effectLst/>
                <a:uLnTx/>
                <a:uFillTx/>
                <a:latin typeface="IBM Plex Sans Thin Bold" panose="020B0604020202020204" charset="0"/>
                <a:ea typeface="+mn-ea"/>
                <a:cs typeface="+mn-cs"/>
              </a:rPr>
              <a:t>May Maloney et Christine Seisun</a:t>
            </a:r>
          </a:p>
        </p:txBody>
      </p:sp>
      <p:sp>
        <p:nvSpPr>
          <p:cNvPr id="8" name="TextBox 8"/>
          <p:cNvSpPr txBox="1"/>
          <p:nvPr/>
        </p:nvSpPr>
        <p:spPr>
          <a:xfrm>
            <a:off x="823207" y="2950376"/>
            <a:ext cx="9367996" cy="555024"/>
          </a:xfrm>
          <a:prstGeom prst="rect">
            <a:avLst/>
          </a:prstGeom>
        </p:spPr>
        <p:txBody>
          <a:bodyPr lIns="0" tIns="0" rIns="0" bIns="0" rtlCol="0" anchor="t">
            <a:spAutoFit/>
          </a:bodyPr>
          <a:lstStyle/>
          <a:p>
            <a:pPr lvl="0" defTabSz="609630">
              <a:lnSpc>
                <a:spcPts val="4874"/>
              </a:lnSpc>
              <a:defRPr/>
            </a:pPr>
            <a:r>
              <a:rPr lang="fr-FR" sz="2867" dirty="0">
                <a:solidFill>
                  <a:srgbClr val="FFFFFF"/>
                </a:solidFill>
                <a:latin typeface="IBM Plex Sans Thin" panose="020B0604020202020204" charset="0"/>
              </a:rPr>
              <a:t>Cours Health Emergencies in Large Populations (H.E.L.P.)</a:t>
            </a:r>
          </a:p>
        </p:txBody>
      </p:sp>
      <p:pic>
        <p:nvPicPr>
          <p:cNvPr id="9" name="Picture 8">
            <a:extLst>
              <a:ext uri="{FF2B5EF4-FFF2-40B4-BE49-F238E27FC236}">
                <a16:creationId xmlns:a16="http://schemas.microsoft.com/office/drawing/2014/main" id="{F2E93EAA-1A01-4ABC-B623-31C7624DE119}"/>
              </a:ext>
            </a:extLst>
          </p:cNvPr>
          <p:cNvPicPr>
            <a:picLocks noChangeAspect="1"/>
          </p:cNvPicPr>
          <p:nvPr/>
        </p:nvPicPr>
        <p:blipFill>
          <a:blip r:embed="rId3" cstate="email">
            <a:alphaModFix/>
            <a:extLst>
              <a:ext uri="{28A0092B-C50C-407E-A947-70E740481C1C}">
                <a14:useLocalDpi xmlns:a14="http://schemas.microsoft.com/office/drawing/2010/main"/>
              </a:ext>
            </a:extLst>
          </a:blip>
          <a:stretch>
            <a:fillRect/>
          </a:stretch>
        </p:blipFill>
        <p:spPr>
          <a:xfrm>
            <a:off x="11606423" y="6251441"/>
            <a:ext cx="585577" cy="585577"/>
          </a:xfrm>
          <a:prstGeom prst="rect">
            <a:avLst/>
          </a:prstGeom>
          <a:effectLst>
            <a:outerShdw blurRad="50800" dist="50800" dir="5400000" algn="ctr" rotWithShape="0">
              <a:srgbClr val="000000">
                <a:alpha val="12000"/>
              </a:srgbClr>
            </a:outerShdw>
          </a:effectLst>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ounded Rectangle 6">
            <a:extLst>
              <a:ext uri="{FF2B5EF4-FFF2-40B4-BE49-F238E27FC236}">
                <a16:creationId xmlns:a16="http://schemas.microsoft.com/office/drawing/2014/main" id="{5E1113DA-CBD4-4BD2-9845-D542AA6F2955}"/>
              </a:ext>
            </a:extLst>
          </p:cNvPr>
          <p:cNvSpPr/>
          <p:nvPr/>
        </p:nvSpPr>
        <p:spPr>
          <a:xfrm>
            <a:off x="1924638" y="1838171"/>
            <a:ext cx="8342724" cy="1796662"/>
          </a:xfrm>
          <a:prstGeom prst="roundRect">
            <a:avLst/>
          </a:prstGeom>
          <a:solidFill>
            <a:schemeClr val="bg2">
              <a:lumMod val="10000"/>
              <a:lumOff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Rectangle 7">
            <a:extLst>
              <a:ext uri="{FF2B5EF4-FFF2-40B4-BE49-F238E27FC236}">
                <a16:creationId xmlns:a16="http://schemas.microsoft.com/office/drawing/2014/main" id="{6459B3BC-034B-4226-AF8E-58D00FCD8A7D}"/>
              </a:ext>
            </a:extLst>
          </p:cNvPr>
          <p:cNvSpPr/>
          <p:nvPr/>
        </p:nvSpPr>
        <p:spPr>
          <a:xfrm>
            <a:off x="1971934" y="2044004"/>
            <a:ext cx="8342724" cy="1384995"/>
          </a:xfrm>
          <a:prstGeom prst="rect">
            <a:avLst/>
          </a:prstGeom>
        </p:spPr>
        <p:txBody>
          <a:bodyPr wrap="square">
            <a:spAutoFit/>
          </a:bodyPr>
          <a:lstStyle/>
          <a:p>
            <a:r>
              <a:rPr lang="fr-FR" sz="2800" dirty="0">
                <a:latin typeface="Calibri" panose="020F0502020204030204" pitchFamily="34" charset="0"/>
                <a:ea typeface="Times New Roman" panose="02020603050405020304" pitchFamily="18" charset="0"/>
                <a:cs typeface="Times New Roman" panose="02020603050405020304" pitchFamily="18" charset="0"/>
              </a:rPr>
              <a:t>Liée à, et résultat de pratiques sociales néfastes basées sur certaines perceptions des normes et des rôles rattachés au genre, et sur les </a:t>
            </a:r>
            <a:r>
              <a:rPr lang="fr-FR" sz="2800" b="1" dirty="0">
                <a:latin typeface="Calibri" panose="020F0502020204030204" pitchFamily="34" charset="0"/>
                <a:ea typeface="Times New Roman" panose="02020603050405020304" pitchFamily="18" charset="0"/>
                <a:cs typeface="Times New Roman" panose="02020603050405020304" pitchFamily="18" charset="0"/>
              </a:rPr>
              <a:t>rapports de force</a:t>
            </a:r>
            <a:r>
              <a:rPr lang="fr-FR" sz="2800" dirty="0">
                <a:latin typeface="Calibri" panose="020F0502020204030204" pitchFamily="34" charset="0"/>
                <a:ea typeface="Times New Roman" panose="02020603050405020304" pitchFamily="18" charset="0"/>
                <a:cs typeface="Times New Roman" panose="02020603050405020304" pitchFamily="18" charset="0"/>
              </a:rPr>
              <a:t> associés. </a:t>
            </a:r>
          </a:p>
        </p:txBody>
      </p:sp>
      <p:pic>
        <p:nvPicPr>
          <p:cNvPr id="9" name="Picture 8">
            <a:extLst>
              <a:ext uri="{FF2B5EF4-FFF2-40B4-BE49-F238E27FC236}">
                <a16:creationId xmlns:a16="http://schemas.microsoft.com/office/drawing/2014/main" id="{7530C45E-3D92-4755-9656-D938D50A1F5F}"/>
              </a:ext>
            </a:extLst>
          </p:cNvPr>
          <p:cNvPicPr>
            <a:picLocks noChangeAspect="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5059500" y="3840666"/>
            <a:ext cx="2072999" cy="2072999"/>
          </a:xfrm>
          <a:prstGeom prst="rect">
            <a:avLst/>
          </a:prstGeom>
          <a:solidFill>
            <a:schemeClr val="bg1"/>
          </a:solidFill>
        </p:spPr>
      </p:pic>
      <p:sp>
        <p:nvSpPr>
          <p:cNvPr id="2" name="TextBox 1">
            <a:extLst>
              <a:ext uri="{FF2B5EF4-FFF2-40B4-BE49-F238E27FC236}">
                <a16:creationId xmlns:a16="http://schemas.microsoft.com/office/drawing/2014/main" id="{E0C1803E-D08A-43BD-B7B7-8DD0CED85EB3}"/>
              </a:ext>
            </a:extLst>
          </p:cNvPr>
          <p:cNvSpPr txBox="1"/>
          <p:nvPr/>
        </p:nvSpPr>
        <p:spPr>
          <a:xfrm>
            <a:off x="976905" y="419834"/>
            <a:ext cx="10238187" cy="769441"/>
          </a:xfrm>
          <a:prstGeom prst="rect">
            <a:avLst/>
          </a:prstGeom>
          <a:noFill/>
        </p:spPr>
        <p:txBody>
          <a:bodyPr wrap="none" rtlCol="0">
            <a:spAutoFit/>
          </a:bodyPr>
          <a:lstStyle/>
          <a:p>
            <a:r>
              <a:rPr lang="fr-FR" sz="4400" u="sng" dirty="0"/>
              <a:t>La violence sexuelle comme phénomène genré</a:t>
            </a:r>
          </a:p>
        </p:txBody>
      </p:sp>
    </p:spTree>
    <p:extLst>
      <p:ext uri="{BB962C8B-B14F-4D97-AF65-F5344CB8AC3E}">
        <p14:creationId xmlns:p14="http://schemas.microsoft.com/office/powerpoint/2010/main" val="76939964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D04C6E-7001-49AD-A46F-1848D64D85AB}"/>
              </a:ext>
            </a:extLst>
          </p:cNvPr>
          <p:cNvSpPr>
            <a:spLocks noGrp="1"/>
          </p:cNvSpPr>
          <p:nvPr>
            <p:ph type="title"/>
          </p:nvPr>
        </p:nvSpPr>
        <p:spPr/>
        <p:txBody>
          <a:bodyPr>
            <a:normAutofit/>
          </a:bodyPr>
          <a:lstStyle/>
          <a:p>
            <a:pPr marL="0" algn="ctr"/>
            <a:r>
              <a:rPr lang="fr-FR" dirty="0"/>
              <a:t>Très courante; les risques ne sont pas nouveaux en cas de conflit et de crise</a:t>
            </a:r>
          </a:p>
        </p:txBody>
      </p:sp>
      <p:graphicFrame>
        <p:nvGraphicFramePr>
          <p:cNvPr id="4" name="Content Placeholder 3">
            <a:extLst>
              <a:ext uri="{FF2B5EF4-FFF2-40B4-BE49-F238E27FC236}">
                <a16:creationId xmlns:a16="http://schemas.microsoft.com/office/drawing/2014/main" id="{E4945F01-A986-431A-A8EB-D1318023CF3A}"/>
              </a:ext>
            </a:extLst>
          </p:cNvPr>
          <p:cNvGraphicFramePr>
            <a:graphicFrameLocks noGrp="1"/>
          </p:cNvGraphicFramePr>
          <p:nvPr>
            <p:ph idx="13"/>
            <p:extLst>
              <p:ext uri="{D42A27DB-BD31-4B8C-83A1-F6EECF244321}">
                <p14:modId xmlns:p14="http://schemas.microsoft.com/office/powerpoint/2010/main" val="2127046910"/>
              </p:ext>
            </p:extLst>
          </p:nvPr>
        </p:nvGraphicFramePr>
        <p:xfrm>
          <a:off x="565150" y="1995488"/>
          <a:ext cx="10721975" cy="44973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Arrow: Down 4">
            <a:extLst>
              <a:ext uri="{FF2B5EF4-FFF2-40B4-BE49-F238E27FC236}">
                <a16:creationId xmlns:a16="http://schemas.microsoft.com/office/drawing/2014/main" id="{B504B779-F0C4-4ECA-B9C5-1C9B83EDD773}"/>
              </a:ext>
            </a:extLst>
          </p:cNvPr>
          <p:cNvSpPr/>
          <p:nvPr/>
        </p:nvSpPr>
        <p:spPr>
          <a:xfrm>
            <a:off x="314068" y="2219689"/>
            <a:ext cx="502571" cy="3880964"/>
          </a:xfrm>
          <a:prstGeom prst="downArrow">
            <a:avLst/>
          </a:prstGeom>
          <a:solidFill>
            <a:srgbClr val="CAD4C1"/>
          </a:solidFill>
          <a:ln>
            <a:solidFill>
              <a:srgbClr val="4D756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H" sz="1800" b="0" i="0" u="none" strike="noStrike" kern="1200" cap="none" spc="0" normalizeH="0" baseline="0" noProof="0" dirty="0">
              <a:ln>
                <a:noFill/>
              </a:ln>
              <a:solidFill>
                <a:prstClr val="white"/>
              </a:solidFill>
              <a:effectLst/>
              <a:uLnTx/>
              <a:uFillTx/>
              <a:latin typeface="IBM Plex Sans Condensed"/>
              <a:ea typeface="+mn-ea"/>
              <a:cs typeface="+mn-cs"/>
            </a:endParaRPr>
          </a:p>
        </p:txBody>
      </p:sp>
      <p:sp>
        <p:nvSpPr>
          <p:cNvPr id="6" name="Arrow: Down 5">
            <a:extLst>
              <a:ext uri="{FF2B5EF4-FFF2-40B4-BE49-F238E27FC236}">
                <a16:creationId xmlns:a16="http://schemas.microsoft.com/office/drawing/2014/main" id="{651BD2A7-2942-4660-912B-8CDDD3FBEF56}"/>
              </a:ext>
            </a:extLst>
          </p:cNvPr>
          <p:cNvSpPr/>
          <p:nvPr/>
        </p:nvSpPr>
        <p:spPr>
          <a:xfrm>
            <a:off x="4731341" y="2303615"/>
            <a:ext cx="502571" cy="3880964"/>
          </a:xfrm>
          <a:prstGeom prst="downArrow">
            <a:avLst/>
          </a:prstGeom>
          <a:solidFill>
            <a:srgbClr val="CAD4C1"/>
          </a:solidFill>
          <a:ln>
            <a:solidFill>
              <a:srgbClr val="4D756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H" sz="1800" b="0" i="0" u="none" strike="noStrike" kern="1200" cap="none" spc="0" normalizeH="0" baseline="0" noProof="0" dirty="0">
              <a:ln>
                <a:noFill/>
              </a:ln>
              <a:solidFill>
                <a:prstClr val="white"/>
              </a:solidFill>
              <a:effectLst/>
              <a:uLnTx/>
              <a:uFillTx/>
              <a:latin typeface="IBM Plex Sans Condensed"/>
              <a:ea typeface="+mn-ea"/>
              <a:cs typeface="+mn-cs"/>
            </a:endParaRPr>
          </a:p>
        </p:txBody>
      </p:sp>
      <p:sp>
        <p:nvSpPr>
          <p:cNvPr id="7" name="Arrow: Down 6">
            <a:extLst>
              <a:ext uri="{FF2B5EF4-FFF2-40B4-BE49-F238E27FC236}">
                <a16:creationId xmlns:a16="http://schemas.microsoft.com/office/drawing/2014/main" id="{9DFD5D1B-FB17-449F-A1B9-293072E901BB}"/>
              </a:ext>
            </a:extLst>
          </p:cNvPr>
          <p:cNvSpPr/>
          <p:nvPr/>
        </p:nvSpPr>
        <p:spPr>
          <a:xfrm rot="10800000">
            <a:off x="2522704" y="2219689"/>
            <a:ext cx="502571" cy="3880964"/>
          </a:xfrm>
          <a:prstGeom prst="downArrow">
            <a:avLst/>
          </a:prstGeom>
          <a:solidFill>
            <a:srgbClr val="CAD4C1"/>
          </a:solidFill>
          <a:ln>
            <a:solidFill>
              <a:srgbClr val="4D756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H" sz="1800" b="0" i="0" u="none" strike="noStrike" kern="1200" cap="none" spc="0" normalizeH="0" baseline="0" noProof="0" dirty="0">
              <a:ln>
                <a:noFill/>
              </a:ln>
              <a:solidFill>
                <a:prstClr val="white"/>
              </a:solidFill>
              <a:effectLst/>
              <a:uLnTx/>
              <a:uFillTx/>
              <a:latin typeface="IBM Plex Sans Condensed"/>
              <a:ea typeface="+mn-ea"/>
              <a:cs typeface="+mn-cs"/>
            </a:endParaRPr>
          </a:p>
        </p:txBody>
      </p:sp>
      <p:sp>
        <p:nvSpPr>
          <p:cNvPr id="8" name="Arrow: Down 7">
            <a:extLst>
              <a:ext uri="{FF2B5EF4-FFF2-40B4-BE49-F238E27FC236}">
                <a16:creationId xmlns:a16="http://schemas.microsoft.com/office/drawing/2014/main" id="{CF88DE7C-A239-4525-BDEE-943FDE6B9623}"/>
              </a:ext>
            </a:extLst>
          </p:cNvPr>
          <p:cNvSpPr/>
          <p:nvPr/>
        </p:nvSpPr>
        <p:spPr>
          <a:xfrm rot="10800000">
            <a:off x="6958090" y="2219689"/>
            <a:ext cx="502571" cy="3880964"/>
          </a:xfrm>
          <a:prstGeom prst="downArrow">
            <a:avLst/>
          </a:prstGeom>
          <a:solidFill>
            <a:srgbClr val="CAD4C1"/>
          </a:solidFill>
          <a:ln>
            <a:solidFill>
              <a:srgbClr val="4D756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H" sz="1800" b="0" i="0" u="none" strike="noStrike" kern="1200" cap="none" spc="0" normalizeH="0" baseline="0" noProof="0" dirty="0">
              <a:ln>
                <a:noFill/>
              </a:ln>
              <a:solidFill>
                <a:prstClr val="white"/>
              </a:solidFill>
              <a:effectLst/>
              <a:uLnTx/>
              <a:uFillTx/>
              <a:latin typeface="IBM Plex Sans Condensed"/>
              <a:ea typeface="+mn-ea"/>
              <a:cs typeface="+mn-cs"/>
            </a:endParaRPr>
          </a:p>
        </p:txBody>
      </p:sp>
      <p:sp>
        <p:nvSpPr>
          <p:cNvPr id="9" name="Arrow: Down 8">
            <a:extLst>
              <a:ext uri="{FF2B5EF4-FFF2-40B4-BE49-F238E27FC236}">
                <a16:creationId xmlns:a16="http://schemas.microsoft.com/office/drawing/2014/main" id="{038C9D01-1A15-48B5-90AF-EEE98FD17154}"/>
              </a:ext>
            </a:extLst>
          </p:cNvPr>
          <p:cNvSpPr/>
          <p:nvPr/>
        </p:nvSpPr>
        <p:spPr>
          <a:xfrm rot="10800000">
            <a:off x="9092071" y="2303615"/>
            <a:ext cx="502571" cy="3880964"/>
          </a:xfrm>
          <a:prstGeom prst="downArrow">
            <a:avLst/>
          </a:prstGeom>
          <a:solidFill>
            <a:srgbClr val="CAD4C1"/>
          </a:solidFill>
          <a:ln>
            <a:solidFill>
              <a:srgbClr val="4D756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H" sz="1800" b="0" i="0" u="none" strike="noStrike" kern="1200" cap="none" spc="0" normalizeH="0" baseline="0" noProof="0" dirty="0">
              <a:ln>
                <a:noFill/>
              </a:ln>
              <a:solidFill>
                <a:prstClr val="white"/>
              </a:solidFill>
              <a:effectLst/>
              <a:uLnTx/>
              <a:uFillTx/>
              <a:latin typeface="IBM Plex Sans Condensed"/>
              <a:ea typeface="+mn-ea"/>
              <a:cs typeface="+mn-cs"/>
            </a:endParaRPr>
          </a:p>
        </p:txBody>
      </p:sp>
    </p:spTree>
    <p:extLst>
      <p:ext uri="{BB962C8B-B14F-4D97-AF65-F5344CB8AC3E}">
        <p14:creationId xmlns:p14="http://schemas.microsoft.com/office/powerpoint/2010/main" val="293873375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F0E5CCCD-AEAB-4095-9612-BEA4CBCB0B55}"/>
              </a:ext>
            </a:extLst>
          </p:cNvPr>
          <p:cNvGrpSpPr/>
          <p:nvPr/>
        </p:nvGrpSpPr>
        <p:grpSpPr>
          <a:xfrm>
            <a:off x="666016" y="18793"/>
            <a:ext cx="11450610" cy="9044482"/>
            <a:chOff x="19515" y="-1166002"/>
            <a:chExt cx="13163920" cy="9796347"/>
          </a:xfrm>
        </p:grpSpPr>
        <p:sp>
          <p:nvSpPr>
            <p:cNvPr id="5" name="Oval 4">
              <a:extLst>
                <a:ext uri="{FF2B5EF4-FFF2-40B4-BE49-F238E27FC236}">
                  <a16:creationId xmlns:a16="http://schemas.microsoft.com/office/drawing/2014/main" id="{C2595C06-D794-44FE-AD7F-27838574C126}"/>
                </a:ext>
              </a:extLst>
            </p:cNvPr>
            <p:cNvSpPr/>
            <p:nvPr/>
          </p:nvSpPr>
          <p:spPr>
            <a:xfrm>
              <a:off x="486810" y="173580"/>
              <a:ext cx="11550315" cy="8456765"/>
            </a:xfrm>
            <a:prstGeom prst="ellipse">
              <a:avLst/>
            </a:prstGeom>
            <a:solidFill>
              <a:srgbClr val="E7E6E6">
                <a:lumMod val="90000"/>
              </a:srgbClr>
            </a:solidFill>
            <a:ln w="12700" cap="flat" cmpd="sng" algn="ctr">
              <a:solidFill>
                <a:sysClr val="windowText" lastClr="000000"/>
              </a:solidFill>
              <a:prstDash val="solid"/>
              <a:miter lim="800000"/>
            </a:ln>
            <a:effectLst/>
            <a:scene3d>
              <a:camera prst="isometricOffAxis1Top"/>
              <a:lightRig rig="threePt" dir="t"/>
            </a:scene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6" name="Oval 5">
              <a:extLst>
                <a:ext uri="{FF2B5EF4-FFF2-40B4-BE49-F238E27FC236}">
                  <a16:creationId xmlns:a16="http://schemas.microsoft.com/office/drawing/2014/main" id="{B99DE855-3BD2-46EB-8491-F13EBBCB7D29}"/>
                </a:ext>
              </a:extLst>
            </p:cNvPr>
            <p:cNvSpPr/>
            <p:nvPr/>
          </p:nvSpPr>
          <p:spPr>
            <a:xfrm>
              <a:off x="1295140" y="1828793"/>
              <a:ext cx="6971129" cy="5123916"/>
            </a:xfrm>
            <a:prstGeom prst="ellipse">
              <a:avLst/>
            </a:prstGeom>
            <a:solidFill>
              <a:srgbClr val="5B9BD5">
                <a:lumMod val="20000"/>
                <a:lumOff val="80000"/>
              </a:srgbClr>
            </a:solidFill>
            <a:ln w="12700" cap="flat" cmpd="sng" algn="ctr">
              <a:solidFill>
                <a:sysClr val="windowText" lastClr="000000"/>
              </a:solidFill>
              <a:prstDash val="solid"/>
              <a:miter lim="800000"/>
            </a:ln>
            <a:effectLst/>
            <a:scene3d>
              <a:camera prst="isometricOffAxis1Top"/>
              <a:lightRig rig="threePt" dir="t"/>
            </a:scene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7" name="Oval 6">
              <a:extLst>
                <a:ext uri="{FF2B5EF4-FFF2-40B4-BE49-F238E27FC236}">
                  <a16:creationId xmlns:a16="http://schemas.microsoft.com/office/drawing/2014/main" id="{10B15101-B6B6-4FBE-9013-DC073F4DCFE7}"/>
                </a:ext>
              </a:extLst>
            </p:cNvPr>
            <p:cNvSpPr/>
            <p:nvPr/>
          </p:nvSpPr>
          <p:spPr>
            <a:xfrm>
              <a:off x="1478458" y="2266310"/>
              <a:ext cx="5489766" cy="4497022"/>
            </a:xfrm>
            <a:prstGeom prst="ellipse">
              <a:avLst/>
            </a:prstGeom>
            <a:solidFill>
              <a:srgbClr val="70AD47">
                <a:lumMod val="20000"/>
                <a:lumOff val="80000"/>
              </a:srgbClr>
            </a:solidFill>
            <a:ln w="12700" cap="flat" cmpd="sng" algn="ctr">
              <a:solidFill>
                <a:sysClr val="windowText" lastClr="000000"/>
              </a:solidFill>
              <a:prstDash val="solid"/>
              <a:miter lim="800000"/>
            </a:ln>
            <a:effectLst/>
            <a:scene3d>
              <a:camera prst="isometricOffAxis1Top"/>
              <a:lightRig rig="threePt" dir="t"/>
            </a:scene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grpSp>
          <p:nvGrpSpPr>
            <p:cNvPr id="8" name="Group 7">
              <a:extLst>
                <a:ext uri="{FF2B5EF4-FFF2-40B4-BE49-F238E27FC236}">
                  <a16:creationId xmlns:a16="http://schemas.microsoft.com/office/drawing/2014/main" id="{53E01D32-6D22-4728-9070-2AD3838158FD}"/>
                </a:ext>
              </a:extLst>
            </p:cNvPr>
            <p:cNvGrpSpPr/>
            <p:nvPr/>
          </p:nvGrpSpPr>
          <p:grpSpPr>
            <a:xfrm>
              <a:off x="19515" y="-1166002"/>
              <a:ext cx="13163920" cy="6937669"/>
              <a:chOff x="19515" y="-1166002"/>
              <a:chExt cx="13163920" cy="6937669"/>
            </a:xfrm>
          </p:grpSpPr>
          <p:cxnSp>
            <p:nvCxnSpPr>
              <p:cNvPr id="9" name="Straight Connector 8">
                <a:extLst>
                  <a:ext uri="{FF2B5EF4-FFF2-40B4-BE49-F238E27FC236}">
                    <a16:creationId xmlns:a16="http://schemas.microsoft.com/office/drawing/2014/main" id="{8956B47A-23E7-4D66-9D69-C278AC4B8CC3}"/>
                  </a:ext>
                </a:extLst>
              </p:cNvPr>
              <p:cNvCxnSpPr/>
              <p:nvPr/>
            </p:nvCxnSpPr>
            <p:spPr>
              <a:xfrm flipV="1">
                <a:off x="10307403" y="2187130"/>
                <a:ext cx="0" cy="1450044"/>
              </a:xfrm>
              <a:prstGeom prst="line">
                <a:avLst/>
              </a:prstGeom>
              <a:noFill/>
              <a:ln w="6350" cap="flat" cmpd="sng" algn="ctr">
                <a:solidFill>
                  <a:sysClr val="windowText" lastClr="000000"/>
                </a:solidFill>
                <a:prstDash val="solid"/>
                <a:miter lim="800000"/>
              </a:ln>
              <a:effectLst/>
            </p:spPr>
          </p:cxnSp>
          <p:cxnSp>
            <p:nvCxnSpPr>
              <p:cNvPr id="10" name="Straight Connector 9">
                <a:extLst>
                  <a:ext uri="{FF2B5EF4-FFF2-40B4-BE49-F238E27FC236}">
                    <a16:creationId xmlns:a16="http://schemas.microsoft.com/office/drawing/2014/main" id="{E6C69466-CF16-4996-88BE-65823CB51F9A}"/>
                  </a:ext>
                </a:extLst>
              </p:cNvPr>
              <p:cNvCxnSpPr/>
              <p:nvPr/>
            </p:nvCxnSpPr>
            <p:spPr>
              <a:xfrm flipV="1">
                <a:off x="7484117" y="2451841"/>
                <a:ext cx="0" cy="1450044"/>
              </a:xfrm>
              <a:prstGeom prst="line">
                <a:avLst/>
              </a:prstGeom>
              <a:noFill/>
              <a:ln w="6350" cap="flat" cmpd="sng" algn="ctr">
                <a:solidFill>
                  <a:sysClr val="windowText" lastClr="000000"/>
                </a:solidFill>
                <a:prstDash val="solid"/>
                <a:miter lim="800000"/>
              </a:ln>
              <a:effectLst/>
            </p:spPr>
          </p:cxnSp>
          <p:pic>
            <p:nvPicPr>
              <p:cNvPr id="11" name="Picture 10">
                <a:extLst>
                  <a:ext uri="{FF2B5EF4-FFF2-40B4-BE49-F238E27FC236}">
                    <a16:creationId xmlns:a16="http://schemas.microsoft.com/office/drawing/2014/main" id="{502A45A2-5881-4A80-BD22-E5D8643C20D1}"/>
                  </a:ext>
                </a:extLst>
              </p:cNvPr>
              <p:cNvPicPr>
                <a:picLocks noChangeAspect="1"/>
              </p:cNvPicPr>
              <p:nvPr/>
            </p:nvPicPr>
            <p:blipFill>
              <a:blip r:embed="rId3" cstate="print">
                <a:biLevel thresh="75000"/>
                <a:extLst>
                  <a:ext uri="{28A0092B-C50C-407E-A947-70E740481C1C}">
                    <a14:useLocalDpi xmlns:a14="http://schemas.microsoft.com/office/drawing/2010/main" val="0"/>
                  </a:ext>
                </a:extLst>
              </a:blip>
              <a:stretch>
                <a:fillRect/>
              </a:stretch>
            </p:blipFill>
            <p:spPr>
              <a:xfrm>
                <a:off x="3494999" y="2974588"/>
                <a:ext cx="1598039" cy="1198529"/>
              </a:xfrm>
              <a:prstGeom prst="rect">
                <a:avLst/>
              </a:prstGeom>
            </p:spPr>
          </p:pic>
          <p:pic>
            <p:nvPicPr>
              <p:cNvPr id="12" name="Picture 11">
                <a:extLst>
                  <a:ext uri="{FF2B5EF4-FFF2-40B4-BE49-F238E27FC236}">
                    <a16:creationId xmlns:a16="http://schemas.microsoft.com/office/drawing/2014/main" id="{379A79B3-C5E8-4187-84FE-9AB50909838D}"/>
                  </a:ext>
                </a:extLst>
              </p:cNvPr>
              <p:cNvPicPr>
                <a:picLocks noChangeAspect="1"/>
              </p:cNvPicPr>
              <p:nvPr/>
            </p:nvPicPr>
            <p:blipFill>
              <a:blip r:embed="rId4" cstate="print">
                <a:clrChange>
                  <a:clrFrom>
                    <a:srgbClr val="EEEEEE"/>
                  </a:clrFrom>
                  <a:clrTo>
                    <a:srgbClr val="EEEEEE">
                      <a:alpha val="0"/>
                    </a:srgbClr>
                  </a:clrTo>
                </a:clrChange>
                <a:biLevel thresh="25000"/>
                <a:extLst>
                  <a:ext uri="{28A0092B-C50C-407E-A947-70E740481C1C}">
                    <a14:useLocalDpi xmlns:a14="http://schemas.microsoft.com/office/drawing/2010/main" val="0"/>
                  </a:ext>
                </a:extLst>
              </a:blip>
              <a:stretch>
                <a:fillRect/>
              </a:stretch>
            </p:blipFill>
            <p:spPr>
              <a:xfrm>
                <a:off x="3233640" y="3372527"/>
                <a:ext cx="923397" cy="923397"/>
              </a:xfrm>
              <a:prstGeom prst="rect">
                <a:avLst/>
              </a:prstGeom>
            </p:spPr>
          </p:pic>
          <p:pic>
            <p:nvPicPr>
              <p:cNvPr id="13" name="Picture 12">
                <a:extLst>
                  <a:ext uri="{FF2B5EF4-FFF2-40B4-BE49-F238E27FC236}">
                    <a16:creationId xmlns:a16="http://schemas.microsoft.com/office/drawing/2014/main" id="{2C52F1EB-CD27-426A-A3F8-A26DFAC05CE3}"/>
                  </a:ext>
                </a:extLst>
              </p:cNvPr>
              <p:cNvPicPr>
                <a:picLocks noChangeAspect="1"/>
              </p:cNvPicPr>
              <p:nvPr/>
            </p:nvPicPr>
            <p:blipFill>
              <a:blip r:embed="rId5" cstate="print">
                <a:clrChange>
                  <a:clrFrom>
                    <a:srgbClr val="FFFFFF"/>
                  </a:clrFrom>
                  <a:clrTo>
                    <a:srgbClr val="FFFFFF">
                      <a:alpha val="0"/>
                    </a:srgbClr>
                  </a:clrTo>
                </a:clrChange>
                <a:biLevel thresh="25000"/>
                <a:extLst>
                  <a:ext uri="{28A0092B-C50C-407E-A947-70E740481C1C}">
                    <a14:useLocalDpi xmlns:a14="http://schemas.microsoft.com/office/drawing/2010/main" val="0"/>
                  </a:ext>
                </a:extLst>
              </a:blip>
              <a:stretch>
                <a:fillRect/>
              </a:stretch>
            </p:blipFill>
            <p:spPr>
              <a:xfrm>
                <a:off x="9336089" y="3197072"/>
                <a:ext cx="404183" cy="440799"/>
              </a:xfrm>
              <a:prstGeom prst="rect">
                <a:avLst/>
              </a:prstGeom>
            </p:spPr>
          </p:pic>
          <p:pic>
            <p:nvPicPr>
              <p:cNvPr id="14" name="Picture 13">
                <a:extLst>
                  <a:ext uri="{FF2B5EF4-FFF2-40B4-BE49-F238E27FC236}">
                    <a16:creationId xmlns:a16="http://schemas.microsoft.com/office/drawing/2014/main" id="{C796FBFF-F8A0-403F-BB89-9E9E76C73B85}"/>
                  </a:ext>
                </a:extLst>
              </p:cNvPr>
              <p:cNvPicPr>
                <a:picLocks noChangeAspect="1"/>
              </p:cNvPicPr>
              <p:nvPr/>
            </p:nvPicPr>
            <p:blipFill>
              <a:blip r:embed="rId5" cstate="print">
                <a:clrChange>
                  <a:clrFrom>
                    <a:srgbClr val="FFFFFF"/>
                  </a:clrFrom>
                  <a:clrTo>
                    <a:srgbClr val="FFFFFF">
                      <a:alpha val="0"/>
                    </a:srgbClr>
                  </a:clrTo>
                </a:clrChange>
                <a:biLevel thresh="25000"/>
                <a:extLst>
                  <a:ext uri="{28A0092B-C50C-407E-A947-70E740481C1C}">
                    <a14:useLocalDpi xmlns:a14="http://schemas.microsoft.com/office/drawing/2010/main" val="0"/>
                  </a:ext>
                </a:extLst>
              </a:blip>
              <a:stretch>
                <a:fillRect/>
              </a:stretch>
            </p:blipFill>
            <p:spPr>
              <a:xfrm flipH="1">
                <a:off x="8917979" y="4315755"/>
                <a:ext cx="404183" cy="440799"/>
              </a:xfrm>
              <a:prstGeom prst="rect">
                <a:avLst/>
              </a:prstGeom>
            </p:spPr>
          </p:pic>
          <p:pic>
            <p:nvPicPr>
              <p:cNvPr id="15" name="Picture 14">
                <a:extLst>
                  <a:ext uri="{FF2B5EF4-FFF2-40B4-BE49-F238E27FC236}">
                    <a16:creationId xmlns:a16="http://schemas.microsoft.com/office/drawing/2014/main" id="{4A94E9BE-01F6-4467-80AD-8369F623B902}"/>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130674" y="3186138"/>
                <a:ext cx="784239" cy="479986"/>
              </a:xfrm>
              <a:prstGeom prst="rect">
                <a:avLst/>
              </a:prstGeom>
            </p:spPr>
          </p:pic>
          <p:pic>
            <p:nvPicPr>
              <p:cNvPr id="16" name="Picture 15">
                <a:extLst>
                  <a:ext uri="{FF2B5EF4-FFF2-40B4-BE49-F238E27FC236}">
                    <a16:creationId xmlns:a16="http://schemas.microsoft.com/office/drawing/2014/main" id="{136D10EE-7422-43FB-9FC5-E5E1A9C93102}"/>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252276" y="5075860"/>
                <a:ext cx="784239" cy="479986"/>
              </a:xfrm>
              <a:prstGeom prst="rect">
                <a:avLst/>
              </a:prstGeom>
            </p:spPr>
          </p:pic>
          <p:pic>
            <p:nvPicPr>
              <p:cNvPr id="17" name="Picture 16">
                <a:extLst>
                  <a:ext uri="{FF2B5EF4-FFF2-40B4-BE49-F238E27FC236}">
                    <a16:creationId xmlns:a16="http://schemas.microsoft.com/office/drawing/2014/main" id="{8EFAA332-EC47-4A5F-9B2A-A7D4C9AA39A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681590" y="4753839"/>
                <a:ext cx="784239" cy="479986"/>
              </a:xfrm>
              <a:prstGeom prst="rect">
                <a:avLst/>
              </a:prstGeom>
            </p:spPr>
          </p:pic>
          <p:pic>
            <p:nvPicPr>
              <p:cNvPr id="18" name="Picture 17">
                <a:extLst>
                  <a:ext uri="{FF2B5EF4-FFF2-40B4-BE49-F238E27FC236}">
                    <a16:creationId xmlns:a16="http://schemas.microsoft.com/office/drawing/2014/main" id="{7B7C00EE-8A66-43AB-9260-2C11B13610EA}"/>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flipH="1">
                <a:off x="2730510" y="5050163"/>
                <a:ext cx="784239" cy="479986"/>
              </a:xfrm>
              <a:prstGeom prst="rect">
                <a:avLst/>
              </a:prstGeom>
            </p:spPr>
          </p:pic>
          <p:pic>
            <p:nvPicPr>
              <p:cNvPr id="19" name="Picture 18">
                <a:extLst>
                  <a:ext uri="{FF2B5EF4-FFF2-40B4-BE49-F238E27FC236}">
                    <a16:creationId xmlns:a16="http://schemas.microsoft.com/office/drawing/2014/main" id="{FF178C32-B0BB-4A0F-9ACC-33B6852B2E02}"/>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357391" y="4544544"/>
                <a:ext cx="784239" cy="479986"/>
              </a:xfrm>
              <a:prstGeom prst="rect">
                <a:avLst/>
              </a:prstGeom>
            </p:spPr>
          </p:pic>
          <p:sp>
            <p:nvSpPr>
              <p:cNvPr id="20" name="Text Box 2">
                <a:extLst>
                  <a:ext uri="{FF2B5EF4-FFF2-40B4-BE49-F238E27FC236}">
                    <a16:creationId xmlns:a16="http://schemas.microsoft.com/office/drawing/2014/main" id="{ACDF5076-9C12-4E59-ADAB-516E46D95261}"/>
                  </a:ext>
                </a:extLst>
              </p:cNvPr>
              <p:cNvSpPr txBox="1">
                <a:spLocks noChangeArrowheads="1"/>
              </p:cNvSpPr>
              <p:nvPr/>
            </p:nvSpPr>
            <p:spPr bwMode="auto">
              <a:xfrm>
                <a:off x="3123405" y="-217897"/>
                <a:ext cx="3223941" cy="3023037"/>
              </a:xfrm>
              <a:prstGeom prst="rect">
                <a:avLst/>
              </a:prstGeom>
              <a:solidFill>
                <a:srgbClr val="FFFFFF"/>
              </a:solidFill>
              <a:ln w="9525">
                <a:solidFill>
                  <a:srgbClr val="000000"/>
                </a:solidFill>
                <a:miter lim="800000"/>
                <a:headEnd/>
                <a:tailEnd/>
              </a:ln>
            </p:spPr>
            <p:txBody>
              <a:bodyPr rot="0" vert="horz" wrap="square" lIns="91440" tIns="45720" rIns="91440" bIns="45720" anchor="t" anchorCtr="0">
                <a:spAutoFit/>
              </a:bodyPr>
              <a:lstStyle/>
              <a:p>
                <a:pPr marL="0" marR="0" lvl="0" indent="0" algn="ctr" defTabSz="914400" eaLnBrk="1" fontAlgn="auto" latinLnBrk="0" hangingPunct="1">
                  <a:lnSpc>
                    <a:spcPct val="106000"/>
                  </a:lnSpc>
                  <a:spcBef>
                    <a:spcPts val="0"/>
                  </a:spcBef>
                  <a:spcAft>
                    <a:spcPts val="800"/>
                  </a:spcAft>
                  <a:buClrTx/>
                  <a:buSzTx/>
                  <a:buFontTx/>
                  <a:buNone/>
                  <a:tabLst/>
                  <a:defRPr/>
                </a:pPr>
                <a:r>
                  <a:rPr kumimoji="0" lang="fr-FR" sz="2000" b="0" i="0" u="none" strike="noStrike" cap="none"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Actes de violence </a:t>
                </a:r>
                <a:r>
                  <a:rPr kumimoji="0" lang="fr-FR" sz="2000" b="1" i="0" u="none" strike="noStrike" cap="none"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signalés </a:t>
                </a:r>
              </a:p>
              <a:p>
                <a:pPr marL="0" marR="0" lvl="0" indent="0" algn="ctr" defTabSz="914400" eaLnBrk="1" fontAlgn="auto" latinLnBrk="0" hangingPunct="1">
                  <a:lnSpc>
                    <a:spcPct val="106000"/>
                  </a:lnSpc>
                  <a:spcBef>
                    <a:spcPts val="0"/>
                  </a:spcBef>
                  <a:spcAft>
                    <a:spcPts val="800"/>
                  </a:spcAft>
                  <a:buClrTx/>
                  <a:buSzTx/>
                  <a:buFontTx/>
                  <a:buNone/>
                  <a:tabLst/>
                  <a:defRPr/>
                </a:pPr>
                <a:r>
                  <a:rPr kumimoji="0" lang="fr-FR" sz="2000" b="0" i="0" u="none" strike="noStrike" cap="none"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Données administratives ou </a:t>
                </a:r>
                <a:r>
                  <a:rPr kumimoji="0" lang="fr-FR" sz="2000" b="0" i="1" u="none" strike="noStrike" cap="none"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collectées au sein d’un service</a:t>
                </a:r>
                <a:r>
                  <a:rPr kumimoji="0" lang="fr-FR" sz="2000" b="0" i="0" u="none" strike="noStrike" cap="none"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 – recueillies par la police, la justice, les services sociaux ou de santé, ou la société civile</a:t>
                </a:r>
              </a:p>
            </p:txBody>
          </p:sp>
          <p:sp>
            <p:nvSpPr>
              <p:cNvPr id="21" name="Text Box 2">
                <a:extLst>
                  <a:ext uri="{FF2B5EF4-FFF2-40B4-BE49-F238E27FC236}">
                    <a16:creationId xmlns:a16="http://schemas.microsoft.com/office/drawing/2014/main" id="{CF1AABC5-DC3B-4880-8581-B82BCF9DD139}"/>
                  </a:ext>
                </a:extLst>
              </p:cNvPr>
              <p:cNvSpPr txBox="1">
                <a:spLocks noChangeArrowheads="1"/>
              </p:cNvSpPr>
              <p:nvPr/>
            </p:nvSpPr>
            <p:spPr bwMode="auto">
              <a:xfrm>
                <a:off x="6662636" y="757343"/>
                <a:ext cx="2207926" cy="1962946"/>
              </a:xfrm>
              <a:prstGeom prst="rect">
                <a:avLst/>
              </a:prstGeom>
              <a:solidFill>
                <a:srgbClr val="FFFFFF"/>
              </a:solidFill>
              <a:ln w="9525">
                <a:solidFill>
                  <a:srgbClr val="000000"/>
                </a:solidFill>
                <a:miter lim="800000"/>
                <a:headEnd/>
                <a:tailEnd/>
              </a:ln>
            </p:spPr>
            <p:txBody>
              <a:bodyPr rot="0" vert="horz" wrap="square" lIns="91440" tIns="45720" rIns="91440" bIns="45720" anchor="t" anchorCtr="0">
                <a:spAutoFit/>
              </a:bodyPr>
              <a:lstStyle/>
              <a:p>
                <a:pPr marL="0" marR="0" lvl="0" indent="0" algn="ctr" defTabSz="914400" eaLnBrk="1" fontAlgn="auto" latinLnBrk="0" hangingPunct="1">
                  <a:lnSpc>
                    <a:spcPct val="106000"/>
                  </a:lnSpc>
                  <a:spcBef>
                    <a:spcPts val="0"/>
                  </a:spcBef>
                  <a:spcAft>
                    <a:spcPts val="800"/>
                  </a:spcAft>
                  <a:buClrTx/>
                  <a:buSzTx/>
                  <a:buFontTx/>
                  <a:buNone/>
                  <a:tabLst/>
                  <a:defRPr/>
                </a:pPr>
                <a:r>
                  <a:rPr kumimoji="0" lang="fr-FR" sz="2000" b="0" i="0" u="none" strike="noStrike" cap="none"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Actes de violence </a:t>
                </a:r>
                <a:r>
                  <a:rPr kumimoji="0" lang="fr-FR" sz="2000" b="1" i="0" u="none" strike="noStrike" cap="none"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divulgués </a:t>
                </a:r>
              </a:p>
              <a:p>
                <a:pPr marL="0" marR="0" lvl="0" indent="0" algn="ctr" defTabSz="914400" eaLnBrk="1" fontAlgn="auto" latinLnBrk="0" hangingPunct="1">
                  <a:lnSpc>
                    <a:spcPct val="106000"/>
                  </a:lnSpc>
                  <a:spcBef>
                    <a:spcPts val="0"/>
                  </a:spcBef>
                  <a:spcAft>
                    <a:spcPts val="800"/>
                  </a:spcAft>
                  <a:buClrTx/>
                  <a:buSzTx/>
                  <a:buFontTx/>
                  <a:buNone/>
                  <a:tabLst/>
                  <a:defRPr/>
                </a:pPr>
                <a:r>
                  <a:rPr kumimoji="0" lang="fr-FR" sz="2000" b="0" i="0" u="none" strike="noStrike" cap="none"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Données issues d’enquêtes</a:t>
                </a:r>
                <a:endParaRPr kumimoji="0" lang="en-GB" sz="2000" b="0" i="0" u="none" strike="noStrike" kern="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endParaRPr>
              </a:p>
            </p:txBody>
          </p:sp>
          <p:sp>
            <p:nvSpPr>
              <p:cNvPr id="22" name="Text Box 2">
                <a:extLst>
                  <a:ext uri="{FF2B5EF4-FFF2-40B4-BE49-F238E27FC236}">
                    <a16:creationId xmlns:a16="http://schemas.microsoft.com/office/drawing/2014/main" id="{C6B27E36-FEF3-4356-8E0B-51080F382237}"/>
                  </a:ext>
                </a:extLst>
              </p:cNvPr>
              <p:cNvSpPr txBox="1">
                <a:spLocks noChangeArrowheads="1"/>
              </p:cNvSpPr>
              <p:nvPr/>
            </p:nvSpPr>
            <p:spPr bwMode="auto">
              <a:xfrm>
                <a:off x="9195340" y="396908"/>
                <a:ext cx="2111986" cy="2316310"/>
              </a:xfrm>
              <a:prstGeom prst="rect">
                <a:avLst/>
              </a:prstGeom>
              <a:solidFill>
                <a:srgbClr val="FFFFFF"/>
              </a:solidFill>
              <a:ln w="9525">
                <a:solidFill>
                  <a:srgbClr val="000000"/>
                </a:solidFill>
                <a:miter lim="800000"/>
                <a:headEnd/>
                <a:tailEnd/>
              </a:ln>
            </p:spPr>
            <p:txBody>
              <a:bodyPr rot="0" vert="horz" wrap="square" lIns="91440" tIns="45720" rIns="91440" bIns="45720" anchor="t" anchorCtr="0">
                <a:spAutoFit/>
              </a:bodyPr>
              <a:lstStyle/>
              <a:p>
                <a:pPr marL="0" marR="0" lvl="0" indent="0" algn="ctr" defTabSz="914400" eaLnBrk="1" fontAlgn="auto" latinLnBrk="0" hangingPunct="1">
                  <a:lnSpc>
                    <a:spcPct val="106000"/>
                  </a:lnSpc>
                  <a:spcBef>
                    <a:spcPts val="0"/>
                  </a:spcBef>
                  <a:spcAft>
                    <a:spcPts val="800"/>
                  </a:spcAft>
                  <a:buClrTx/>
                  <a:buSzTx/>
                  <a:buFontTx/>
                  <a:buNone/>
                  <a:tabLst/>
                  <a:defRPr/>
                </a:pPr>
                <a:r>
                  <a:rPr kumimoji="0" lang="fr-FR" sz="2000" b="1" i="0" u="none" strike="noStrike" cap="none"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Prévalence ou incidence réelle</a:t>
                </a:r>
                <a:endParaRPr kumimoji="0" lang="fr-FR" sz="2000" b="0" i="0" u="none" strike="noStrike" cap="none"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endParaRPr>
              </a:p>
              <a:p>
                <a:pPr marL="0" marR="0" lvl="0" indent="0" algn="ctr" defTabSz="914400" eaLnBrk="1" fontAlgn="auto" latinLnBrk="0" hangingPunct="1">
                  <a:lnSpc>
                    <a:spcPct val="106000"/>
                  </a:lnSpc>
                  <a:spcBef>
                    <a:spcPts val="0"/>
                  </a:spcBef>
                  <a:spcAft>
                    <a:spcPts val="800"/>
                  </a:spcAft>
                  <a:buClrTx/>
                  <a:buSzTx/>
                  <a:buFontTx/>
                  <a:buNone/>
                  <a:tabLst/>
                  <a:defRPr/>
                </a:pPr>
                <a:r>
                  <a:rPr kumimoji="0" lang="fr-FR" sz="2000" b="0" i="0" u="none" strike="noStrike" cap="none"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Probablement impossibles à établir </a:t>
                </a:r>
              </a:p>
            </p:txBody>
          </p:sp>
          <p:sp>
            <p:nvSpPr>
              <p:cNvPr id="23" name="Oval 22">
                <a:extLst>
                  <a:ext uri="{FF2B5EF4-FFF2-40B4-BE49-F238E27FC236}">
                    <a16:creationId xmlns:a16="http://schemas.microsoft.com/office/drawing/2014/main" id="{870698AF-AE02-40F3-9576-66BC30D413E2}"/>
                  </a:ext>
                </a:extLst>
              </p:cNvPr>
              <p:cNvSpPr/>
              <p:nvPr/>
            </p:nvSpPr>
            <p:spPr>
              <a:xfrm>
                <a:off x="1659172" y="3539741"/>
                <a:ext cx="2707763" cy="2231926"/>
              </a:xfrm>
              <a:prstGeom prst="ellipse">
                <a:avLst/>
              </a:prstGeom>
              <a:solidFill>
                <a:srgbClr val="FFC000">
                  <a:lumMod val="40000"/>
                  <a:lumOff val="60000"/>
                </a:srgbClr>
              </a:solidFill>
              <a:ln w="12700" cap="flat" cmpd="sng" algn="ctr">
                <a:solidFill>
                  <a:sysClr val="windowText" lastClr="000000"/>
                </a:solidFill>
                <a:prstDash val="solid"/>
                <a:miter lim="800000"/>
              </a:ln>
              <a:effectLst/>
              <a:scene3d>
                <a:camera prst="isometricOffAxis1Top"/>
                <a:lightRig rig="threePt" dir="t"/>
              </a:scene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24" name="Freeform 73">
                <a:extLst>
                  <a:ext uri="{FF2B5EF4-FFF2-40B4-BE49-F238E27FC236}">
                    <a16:creationId xmlns:a16="http://schemas.microsoft.com/office/drawing/2014/main" id="{FFFA4E9E-6158-48E4-9934-C07FF5952995}"/>
                  </a:ext>
                </a:extLst>
              </p:cNvPr>
              <p:cNvSpPr/>
              <p:nvPr/>
            </p:nvSpPr>
            <p:spPr>
              <a:xfrm flipH="1">
                <a:off x="7086214" y="3849310"/>
                <a:ext cx="163458" cy="308151"/>
              </a:xfrm>
              <a:custGeom>
                <a:avLst/>
                <a:gdLst>
                  <a:gd name="connsiteX0" fmla="*/ 347134 w 2257170"/>
                  <a:gd name="connsiteY0" fmla="*/ 51544 h 2882584"/>
                  <a:gd name="connsiteX1" fmla="*/ 347134 w 2257170"/>
                  <a:gd name="connsiteY1" fmla="*/ 51544 h 2882584"/>
                  <a:gd name="connsiteX2" fmla="*/ 287867 w 2257170"/>
                  <a:gd name="connsiteY2" fmla="*/ 102344 h 2882584"/>
                  <a:gd name="connsiteX3" fmla="*/ 254000 w 2257170"/>
                  <a:gd name="connsiteY3" fmla="*/ 161611 h 2882584"/>
                  <a:gd name="connsiteX4" fmla="*/ 228600 w 2257170"/>
                  <a:gd name="connsiteY4" fmla="*/ 195478 h 2882584"/>
                  <a:gd name="connsiteX5" fmla="*/ 194734 w 2257170"/>
                  <a:gd name="connsiteY5" fmla="*/ 237811 h 2882584"/>
                  <a:gd name="connsiteX6" fmla="*/ 169334 w 2257170"/>
                  <a:gd name="connsiteY6" fmla="*/ 280144 h 2882584"/>
                  <a:gd name="connsiteX7" fmla="*/ 152400 w 2257170"/>
                  <a:gd name="connsiteY7" fmla="*/ 339411 h 2882584"/>
                  <a:gd name="connsiteX8" fmla="*/ 143934 w 2257170"/>
                  <a:gd name="connsiteY8" fmla="*/ 364811 h 2882584"/>
                  <a:gd name="connsiteX9" fmla="*/ 127000 w 2257170"/>
                  <a:gd name="connsiteY9" fmla="*/ 398678 h 2882584"/>
                  <a:gd name="connsiteX10" fmla="*/ 93134 w 2257170"/>
                  <a:gd name="connsiteY10" fmla="*/ 500278 h 2882584"/>
                  <a:gd name="connsiteX11" fmla="*/ 84667 w 2257170"/>
                  <a:gd name="connsiteY11" fmla="*/ 618811 h 2882584"/>
                  <a:gd name="connsiteX12" fmla="*/ 67734 w 2257170"/>
                  <a:gd name="connsiteY12" fmla="*/ 703478 h 2882584"/>
                  <a:gd name="connsiteX13" fmla="*/ 50800 w 2257170"/>
                  <a:gd name="connsiteY13" fmla="*/ 788144 h 2882584"/>
                  <a:gd name="connsiteX14" fmla="*/ 42334 w 2257170"/>
                  <a:gd name="connsiteY14" fmla="*/ 906678 h 2882584"/>
                  <a:gd name="connsiteX15" fmla="*/ 33867 w 2257170"/>
                  <a:gd name="connsiteY15" fmla="*/ 932078 h 2882584"/>
                  <a:gd name="connsiteX16" fmla="*/ 16934 w 2257170"/>
                  <a:gd name="connsiteY16" fmla="*/ 1084478 h 2882584"/>
                  <a:gd name="connsiteX17" fmla="*/ 8467 w 2257170"/>
                  <a:gd name="connsiteY17" fmla="*/ 1219944 h 2882584"/>
                  <a:gd name="connsiteX18" fmla="*/ 0 w 2257170"/>
                  <a:gd name="connsiteY18" fmla="*/ 1313078 h 2882584"/>
                  <a:gd name="connsiteX19" fmla="*/ 8467 w 2257170"/>
                  <a:gd name="connsiteY19" fmla="*/ 2066611 h 2882584"/>
                  <a:gd name="connsiteX20" fmla="*/ 16934 w 2257170"/>
                  <a:gd name="connsiteY20" fmla="*/ 2379878 h 2882584"/>
                  <a:gd name="connsiteX21" fmla="*/ 33867 w 2257170"/>
                  <a:gd name="connsiteY21" fmla="*/ 2583078 h 2882584"/>
                  <a:gd name="connsiteX22" fmla="*/ 42334 w 2257170"/>
                  <a:gd name="connsiteY22" fmla="*/ 2820144 h 2882584"/>
                  <a:gd name="connsiteX23" fmla="*/ 50800 w 2257170"/>
                  <a:gd name="connsiteY23" fmla="*/ 2879411 h 2882584"/>
                  <a:gd name="connsiteX24" fmla="*/ 93134 w 2257170"/>
                  <a:gd name="connsiteY24" fmla="*/ 2870944 h 2882584"/>
                  <a:gd name="connsiteX25" fmla="*/ 254000 w 2257170"/>
                  <a:gd name="connsiteY25" fmla="*/ 2862478 h 2882584"/>
                  <a:gd name="connsiteX26" fmla="*/ 524934 w 2257170"/>
                  <a:gd name="connsiteY26" fmla="*/ 2854011 h 2882584"/>
                  <a:gd name="connsiteX27" fmla="*/ 2159000 w 2257170"/>
                  <a:gd name="connsiteY27" fmla="*/ 2862478 h 2882584"/>
                  <a:gd name="connsiteX28" fmla="*/ 2235200 w 2257170"/>
                  <a:gd name="connsiteY28" fmla="*/ 2862478 h 2882584"/>
                  <a:gd name="connsiteX29" fmla="*/ 2235200 w 2257170"/>
                  <a:gd name="connsiteY29" fmla="*/ 2447611 h 2882584"/>
                  <a:gd name="connsiteX30" fmla="*/ 2218267 w 2257170"/>
                  <a:gd name="connsiteY30" fmla="*/ 2346011 h 2882584"/>
                  <a:gd name="connsiteX31" fmla="*/ 2209800 w 2257170"/>
                  <a:gd name="connsiteY31" fmla="*/ 2125878 h 2882584"/>
                  <a:gd name="connsiteX32" fmla="*/ 2201334 w 2257170"/>
                  <a:gd name="connsiteY32" fmla="*/ 2083544 h 2882584"/>
                  <a:gd name="connsiteX33" fmla="*/ 2192867 w 2257170"/>
                  <a:gd name="connsiteY33" fmla="*/ 2007344 h 2882584"/>
                  <a:gd name="connsiteX34" fmla="*/ 2167467 w 2257170"/>
                  <a:gd name="connsiteY34" fmla="*/ 1854944 h 2882584"/>
                  <a:gd name="connsiteX35" fmla="*/ 2159000 w 2257170"/>
                  <a:gd name="connsiteY35" fmla="*/ 1727944 h 2882584"/>
                  <a:gd name="connsiteX36" fmla="*/ 2150534 w 2257170"/>
                  <a:gd name="connsiteY36" fmla="*/ 1694078 h 2882584"/>
                  <a:gd name="connsiteX37" fmla="*/ 2142067 w 2257170"/>
                  <a:gd name="connsiteY37" fmla="*/ 1617878 h 2882584"/>
                  <a:gd name="connsiteX38" fmla="*/ 2125134 w 2257170"/>
                  <a:gd name="connsiteY38" fmla="*/ 1423144 h 2882584"/>
                  <a:gd name="connsiteX39" fmla="*/ 2099734 w 2257170"/>
                  <a:gd name="connsiteY39" fmla="*/ 1338478 h 2882584"/>
                  <a:gd name="connsiteX40" fmla="*/ 2065867 w 2257170"/>
                  <a:gd name="connsiteY40" fmla="*/ 1245344 h 2882584"/>
                  <a:gd name="connsiteX41" fmla="*/ 2057400 w 2257170"/>
                  <a:gd name="connsiteY41" fmla="*/ 1177611 h 2882584"/>
                  <a:gd name="connsiteX42" fmla="*/ 2048934 w 2257170"/>
                  <a:gd name="connsiteY42" fmla="*/ 1118344 h 2882584"/>
                  <a:gd name="connsiteX43" fmla="*/ 2032000 w 2257170"/>
                  <a:gd name="connsiteY43" fmla="*/ 974411 h 2882584"/>
                  <a:gd name="connsiteX44" fmla="*/ 2006600 w 2257170"/>
                  <a:gd name="connsiteY44" fmla="*/ 796611 h 2882584"/>
                  <a:gd name="connsiteX45" fmla="*/ 1964267 w 2257170"/>
                  <a:gd name="connsiteY45" fmla="*/ 686544 h 2882584"/>
                  <a:gd name="connsiteX46" fmla="*/ 1947334 w 2257170"/>
                  <a:gd name="connsiteY46" fmla="*/ 661144 h 2882584"/>
                  <a:gd name="connsiteX47" fmla="*/ 1905000 w 2257170"/>
                  <a:gd name="connsiteY47" fmla="*/ 568011 h 2882584"/>
                  <a:gd name="connsiteX48" fmla="*/ 1896534 w 2257170"/>
                  <a:gd name="connsiteY48" fmla="*/ 517211 h 2882584"/>
                  <a:gd name="connsiteX49" fmla="*/ 1879600 w 2257170"/>
                  <a:gd name="connsiteY49" fmla="*/ 474878 h 2882584"/>
                  <a:gd name="connsiteX50" fmla="*/ 1854200 w 2257170"/>
                  <a:gd name="connsiteY50" fmla="*/ 424078 h 2882584"/>
                  <a:gd name="connsiteX51" fmla="*/ 1828800 w 2257170"/>
                  <a:gd name="connsiteY51" fmla="*/ 381744 h 2882584"/>
                  <a:gd name="connsiteX52" fmla="*/ 1803400 w 2257170"/>
                  <a:gd name="connsiteY52" fmla="*/ 330944 h 2882584"/>
                  <a:gd name="connsiteX53" fmla="*/ 1778000 w 2257170"/>
                  <a:gd name="connsiteY53" fmla="*/ 297078 h 2882584"/>
                  <a:gd name="connsiteX54" fmla="*/ 1761067 w 2257170"/>
                  <a:gd name="connsiteY54" fmla="*/ 263211 h 2882584"/>
                  <a:gd name="connsiteX55" fmla="*/ 1718734 w 2257170"/>
                  <a:gd name="connsiteY55" fmla="*/ 203944 h 2882584"/>
                  <a:gd name="connsiteX56" fmla="*/ 1684867 w 2257170"/>
                  <a:gd name="connsiteY56" fmla="*/ 144678 h 2882584"/>
                  <a:gd name="connsiteX57" fmla="*/ 1667934 w 2257170"/>
                  <a:gd name="connsiteY57" fmla="*/ 93878 h 2882584"/>
                  <a:gd name="connsiteX58" fmla="*/ 1651000 w 2257170"/>
                  <a:gd name="connsiteY58" fmla="*/ 68478 h 2882584"/>
                  <a:gd name="connsiteX59" fmla="*/ 1600200 w 2257170"/>
                  <a:gd name="connsiteY59" fmla="*/ 26144 h 2882584"/>
                  <a:gd name="connsiteX60" fmla="*/ 1574800 w 2257170"/>
                  <a:gd name="connsiteY60" fmla="*/ 9211 h 2882584"/>
                  <a:gd name="connsiteX61" fmla="*/ 1507067 w 2257170"/>
                  <a:gd name="connsiteY61" fmla="*/ 744 h 2882584"/>
                  <a:gd name="connsiteX62" fmla="*/ 1507067 w 2257170"/>
                  <a:gd name="connsiteY62" fmla="*/ 744 h 2882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257170" h="2882584">
                    <a:moveTo>
                      <a:pt x="347134" y="51544"/>
                    </a:moveTo>
                    <a:lnTo>
                      <a:pt x="347134" y="51544"/>
                    </a:lnTo>
                    <a:cubicBezTo>
                      <a:pt x="327378" y="68477"/>
                      <a:pt x="306266" y="83945"/>
                      <a:pt x="287867" y="102344"/>
                    </a:cubicBezTo>
                    <a:cubicBezTo>
                      <a:pt x="272333" y="117878"/>
                      <a:pt x="265065" y="143907"/>
                      <a:pt x="254000" y="161611"/>
                    </a:cubicBezTo>
                    <a:cubicBezTo>
                      <a:pt x="246521" y="173577"/>
                      <a:pt x="237067" y="184189"/>
                      <a:pt x="228600" y="195478"/>
                    </a:cubicBezTo>
                    <a:cubicBezTo>
                      <a:pt x="209066" y="254086"/>
                      <a:pt x="236511" y="189072"/>
                      <a:pt x="194734" y="237811"/>
                    </a:cubicBezTo>
                    <a:cubicBezTo>
                      <a:pt x="184024" y="250305"/>
                      <a:pt x="177801" y="266033"/>
                      <a:pt x="169334" y="280144"/>
                    </a:cubicBezTo>
                    <a:cubicBezTo>
                      <a:pt x="163689" y="299900"/>
                      <a:pt x="158304" y="319731"/>
                      <a:pt x="152400" y="339411"/>
                    </a:cubicBezTo>
                    <a:cubicBezTo>
                      <a:pt x="149836" y="347959"/>
                      <a:pt x="147450" y="356608"/>
                      <a:pt x="143934" y="364811"/>
                    </a:cubicBezTo>
                    <a:cubicBezTo>
                      <a:pt x="138962" y="376412"/>
                      <a:pt x="131432" y="386860"/>
                      <a:pt x="127000" y="398678"/>
                    </a:cubicBezTo>
                    <a:cubicBezTo>
                      <a:pt x="114465" y="432104"/>
                      <a:pt x="93134" y="500278"/>
                      <a:pt x="93134" y="500278"/>
                    </a:cubicBezTo>
                    <a:cubicBezTo>
                      <a:pt x="90312" y="539789"/>
                      <a:pt x="88609" y="579396"/>
                      <a:pt x="84667" y="618811"/>
                    </a:cubicBezTo>
                    <a:cubicBezTo>
                      <a:pt x="79744" y="668035"/>
                      <a:pt x="76664" y="661805"/>
                      <a:pt x="67734" y="703478"/>
                    </a:cubicBezTo>
                    <a:cubicBezTo>
                      <a:pt x="61704" y="731620"/>
                      <a:pt x="50800" y="788144"/>
                      <a:pt x="50800" y="788144"/>
                    </a:cubicBezTo>
                    <a:cubicBezTo>
                      <a:pt x="47978" y="827655"/>
                      <a:pt x="46962" y="867337"/>
                      <a:pt x="42334" y="906678"/>
                    </a:cubicBezTo>
                    <a:cubicBezTo>
                      <a:pt x="41291" y="915542"/>
                      <a:pt x="34910" y="923214"/>
                      <a:pt x="33867" y="932078"/>
                    </a:cubicBezTo>
                    <a:cubicBezTo>
                      <a:pt x="13208" y="1107675"/>
                      <a:pt x="38345" y="998828"/>
                      <a:pt x="16934" y="1084478"/>
                    </a:cubicBezTo>
                    <a:cubicBezTo>
                      <a:pt x="14112" y="1129633"/>
                      <a:pt x="11809" y="1174824"/>
                      <a:pt x="8467" y="1219944"/>
                    </a:cubicBezTo>
                    <a:cubicBezTo>
                      <a:pt x="6164" y="1251032"/>
                      <a:pt x="0" y="1281905"/>
                      <a:pt x="0" y="1313078"/>
                    </a:cubicBezTo>
                    <a:cubicBezTo>
                      <a:pt x="0" y="1564272"/>
                      <a:pt x="4480" y="1815449"/>
                      <a:pt x="8467" y="2066611"/>
                    </a:cubicBezTo>
                    <a:cubicBezTo>
                      <a:pt x="10125" y="2171058"/>
                      <a:pt x="12759" y="2275501"/>
                      <a:pt x="16934" y="2379878"/>
                    </a:cubicBezTo>
                    <a:cubicBezTo>
                      <a:pt x="18486" y="2418675"/>
                      <a:pt x="29951" y="2540004"/>
                      <a:pt x="33867" y="2583078"/>
                    </a:cubicBezTo>
                    <a:cubicBezTo>
                      <a:pt x="36689" y="2662100"/>
                      <a:pt x="37823" y="2741200"/>
                      <a:pt x="42334" y="2820144"/>
                    </a:cubicBezTo>
                    <a:cubicBezTo>
                      <a:pt x="43472" y="2840068"/>
                      <a:pt x="36689" y="2865300"/>
                      <a:pt x="50800" y="2879411"/>
                    </a:cubicBezTo>
                    <a:cubicBezTo>
                      <a:pt x="60976" y="2889587"/>
                      <a:pt x="78793" y="2872139"/>
                      <a:pt x="93134" y="2870944"/>
                    </a:cubicBezTo>
                    <a:cubicBezTo>
                      <a:pt x="146645" y="2866485"/>
                      <a:pt x="200345" y="2864582"/>
                      <a:pt x="254000" y="2862478"/>
                    </a:cubicBezTo>
                    <a:lnTo>
                      <a:pt x="524934" y="2854011"/>
                    </a:lnTo>
                    <a:lnTo>
                      <a:pt x="2159000" y="2862478"/>
                    </a:lnTo>
                    <a:cubicBezTo>
                      <a:pt x="2276843" y="2863680"/>
                      <a:pt x="2029105" y="2896824"/>
                      <a:pt x="2235200" y="2862478"/>
                    </a:cubicBezTo>
                    <a:cubicBezTo>
                      <a:pt x="2273574" y="2708987"/>
                      <a:pt x="2253789" y="2800794"/>
                      <a:pt x="2235200" y="2447611"/>
                    </a:cubicBezTo>
                    <a:cubicBezTo>
                      <a:pt x="2233395" y="2413325"/>
                      <a:pt x="2218267" y="2346011"/>
                      <a:pt x="2218267" y="2346011"/>
                    </a:cubicBezTo>
                    <a:cubicBezTo>
                      <a:pt x="2215445" y="2272633"/>
                      <a:pt x="2214528" y="2199158"/>
                      <a:pt x="2209800" y="2125878"/>
                    </a:cubicBezTo>
                    <a:cubicBezTo>
                      <a:pt x="2208874" y="2111517"/>
                      <a:pt x="2203369" y="2097790"/>
                      <a:pt x="2201334" y="2083544"/>
                    </a:cubicBezTo>
                    <a:cubicBezTo>
                      <a:pt x="2197720" y="2058245"/>
                      <a:pt x="2196612" y="2032624"/>
                      <a:pt x="2192867" y="2007344"/>
                    </a:cubicBezTo>
                    <a:cubicBezTo>
                      <a:pt x="2185320" y="1956399"/>
                      <a:pt x="2167467" y="1854944"/>
                      <a:pt x="2167467" y="1854944"/>
                    </a:cubicBezTo>
                    <a:cubicBezTo>
                      <a:pt x="2164645" y="1812611"/>
                      <a:pt x="2163441" y="1770138"/>
                      <a:pt x="2159000" y="1727944"/>
                    </a:cubicBezTo>
                    <a:cubicBezTo>
                      <a:pt x="2157782" y="1716372"/>
                      <a:pt x="2152303" y="1705579"/>
                      <a:pt x="2150534" y="1694078"/>
                    </a:cubicBezTo>
                    <a:cubicBezTo>
                      <a:pt x="2146648" y="1668819"/>
                      <a:pt x="2144452" y="1643323"/>
                      <a:pt x="2142067" y="1617878"/>
                    </a:cubicBezTo>
                    <a:cubicBezTo>
                      <a:pt x="2135985" y="1553006"/>
                      <a:pt x="2132075" y="1487929"/>
                      <a:pt x="2125134" y="1423144"/>
                    </a:cubicBezTo>
                    <a:cubicBezTo>
                      <a:pt x="2119854" y="1373866"/>
                      <a:pt x="2115497" y="1385768"/>
                      <a:pt x="2099734" y="1338478"/>
                    </a:cubicBezTo>
                    <a:cubicBezTo>
                      <a:pt x="2069133" y="1246675"/>
                      <a:pt x="2098254" y="1310120"/>
                      <a:pt x="2065867" y="1245344"/>
                    </a:cubicBezTo>
                    <a:cubicBezTo>
                      <a:pt x="2063045" y="1222766"/>
                      <a:pt x="2060407" y="1200165"/>
                      <a:pt x="2057400" y="1177611"/>
                    </a:cubicBezTo>
                    <a:cubicBezTo>
                      <a:pt x="2054763" y="1157830"/>
                      <a:pt x="2051409" y="1138146"/>
                      <a:pt x="2048934" y="1118344"/>
                    </a:cubicBezTo>
                    <a:cubicBezTo>
                      <a:pt x="2036389" y="1017979"/>
                      <a:pt x="2045031" y="1068884"/>
                      <a:pt x="2032000" y="974411"/>
                    </a:cubicBezTo>
                    <a:cubicBezTo>
                      <a:pt x="2023820" y="915104"/>
                      <a:pt x="2033374" y="850159"/>
                      <a:pt x="2006600" y="796611"/>
                    </a:cubicBezTo>
                    <a:cubicBezTo>
                      <a:pt x="1931225" y="645861"/>
                      <a:pt x="2030665" y="852542"/>
                      <a:pt x="1964267" y="686544"/>
                    </a:cubicBezTo>
                    <a:cubicBezTo>
                      <a:pt x="1960488" y="677096"/>
                      <a:pt x="1951467" y="670443"/>
                      <a:pt x="1947334" y="661144"/>
                    </a:cubicBezTo>
                    <a:cubicBezTo>
                      <a:pt x="1896736" y="547299"/>
                      <a:pt x="1965822" y="669380"/>
                      <a:pt x="1905000" y="568011"/>
                    </a:cubicBezTo>
                    <a:cubicBezTo>
                      <a:pt x="1902178" y="551078"/>
                      <a:pt x="1901051" y="533773"/>
                      <a:pt x="1896534" y="517211"/>
                    </a:cubicBezTo>
                    <a:cubicBezTo>
                      <a:pt x="1892535" y="502548"/>
                      <a:pt x="1884936" y="489108"/>
                      <a:pt x="1879600" y="474878"/>
                    </a:cubicBezTo>
                    <a:cubicBezTo>
                      <a:pt x="1864576" y="434814"/>
                      <a:pt x="1879893" y="462617"/>
                      <a:pt x="1854200" y="424078"/>
                    </a:cubicBezTo>
                    <a:cubicBezTo>
                      <a:pt x="1832075" y="357697"/>
                      <a:pt x="1862005" y="434871"/>
                      <a:pt x="1828800" y="381744"/>
                    </a:cubicBezTo>
                    <a:cubicBezTo>
                      <a:pt x="1818766" y="365690"/>
                      <a:pt x="1813141" y="347178"/>
                      <a:pt x="1803400" y="330944"/>
                    </a:cubicBezTo>
                    <a:cubicBezTo>
                      <a:pt x="1796140" y="318844"/>
                      <a:pt x="1785479" y="309044"/>
                      <a:pt x="1778000" y="297078"/>
                    </a:cubicBezTo>
                    <a:cubicBezTo>
                      <a:pt x="1771311" y="286375"/>
                      <a:pt x="1767329" y="274170"/>
                      <a:pt x="1761067" y="263211"/>
                    </a:cubicBezTo>
                    <a:cubicBezTo>
                      <a:pt x="1749666" y="243258"/>
                      <a:pt x="1731713" y="222115"/>
                      <a:pt x="1718734" y="203944"/>
                    </a:cubicBezTo>
                    <a:cubicBezTo>
                      <a:pt x="1704847" y="184503"/>
                      <a:pt x="1693888" y="167230"/>
                      <a:pt x="1684867" y="144678"/>
                    </a:cubicBezTo>
                    <a:cubicBezTo>
                      <a:pt x="1678238" y="128105"/>
                      <a:pt x="1677835" y="108729"/>
                      <a:pt x="1667934" y="93878"/>
                    </a:cubicBezTo>
                    <a:cubicBezTo>
                      <a:pt x="1662289" y="85411"/>
                      <a:pt x="1657357" y="76424"/>
                      <a:pt x="1651000" y="68478"/>
                    </a:cubicBezTo>
                    <a:cubicBezTo>
                      <a:pt x="1638163" y="52431"/>
                      <a:pt x="1615574" y="37126"/>
                      <a:pt x="1600200" y="26144"/>
                    </a:cubicBezTo>
                    <a:cubicBezTo>
                      <a:pt x="1591920" y="20230"/>
                      <a:pt x="1583901" y="13762"/>
                      <a:pt x="1574800" y="9211"/>
                    </a:cubicBezTo>
                    <a:cubicBezTo>
                      <a:pt x="1548941" y="-3718"/>
                      <a:pt x="1537884" y="744"/>
                      <a:pt x="1507067" y="744"/>
                    </a:cubicBezTo>
                    <a:lnTo>
                      <a:pt x="1507067" y="744"/>
                    </a:lnTo>
                  </a:path>
                </a:pathLst>
              </a:custGeom>
              <a:solidFill>
                <a:sysClr val="window" lastClr="FFFFFF"/>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25" name="Oval 24">
                <a:extLst>
                  <a:ext uri="{FF2B5EF4-FFF2-40B4-BE49-F238E27FC236}">
                    <a16:creationId xmlns:a16="http://schemas.microsoft.com/office/drawing/2014/main" id="{026B3AD7-4FA4-479E-AB0F-FC6B52BAB02B}"/>
                  </a:ext>
                </a:extLst>
              </p:cNvPr>
              <p:cNvSpPr/>
              <p:nvPr/>
            </p:nvSpPr>
            <p:spPr>
              <a:xfrm flipH="1">
                <a:off x="7129498" y="3727202"/>
                <a:ext cx="109751" cy="143910"/>
              </a:xfrm>
              <a:prstGeom prst="ellipse">
                <a:avLst/>
              </a:prstGeom>
              <a:solidFill>
                <a:srgbClr val="E7E6E6">
                  <a:lumMod val="75000"/>
                </a:srgbClr>
              </a:solidFill>
              <a:ln w="12700" cap="flat" cmpd="sng" algn="ctr">
                <a:solidFill>
                  <a:sysClr val="windowText" lastClr="000000">
                    <a:lumMod val="95000"/>
                    <a:lumOff val="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26" name="Freeform 75">
                <a:extLst>
                  <a:ext uri="{FF2B5EF4-FFF2-40B4-BE49-F238E27FC236}">
                    <a16:creationId xmlns:a16="http://schemas.microsoft.com/office/drawing/2014/main" id="{B0BD940C-43F7-41EC-82B3-C2E6729FA6FE}"/>
                  </a:ext>
                </a:extLst>
              </p:cNvPr>
              <p:cNvSpPr/>
              <p:nvPr/>
            </p:nvSpPr>
            <p:spPr>
              <a:xfrm>
                <a:off x="7070637" y="3901885"/>
                <a:ext cx="44727" cy="124129"/>
              </a:xfrm>
              <a:custGeom>
                <a:avLst/>
                <a:gdLst>
                  <a:gd name="connsiteX0" fmla="*/ 617631 w 617631"/>
                  <a:gd name="connsiteY0" fmla="*/ 0 h 1161158"/>
                  <a:gd name="connsiteX1" fmla="*/ 16498 w 617631"/>
                  <a:gd name="connsiteY1" fmla="*/ 1092200 h 1161158"/>
                  <a:gd name="connsiteX2" fmla="*/ 228165 w 617631"/>
                  <a:gd name="connsiteY2" fmla="*/ 956733 h 1161158"/>
                </a:gdLst>
                <a:ahLst/>
                <a:cxnLst>
                  <a:cxn ang="0">
                    <a:pos x="connsiteX0" y="connsiteY0"/>
                  </a:cxn>
                  <a:cxn ang="0">
                    <a:pos x="connsiteX1" y="connsiteY1"/>
                  </a:cxn>
                  <a:cxn ang="0">
                    <a:pos x="connsiteX2" y="connsiteY2"/>
                  </a:cxn>
                </a:cxnLst>
                <a:rect l="l" t="t" r="r" b="b"/>
                <a:pathLst>
                  <a:path w="617631" h="1161158">
                    <a:moveTo>
                      <a:pt x="617631" y="0"/>
                    </a:moveTo>
                    <a:cubicBezTo>
                      <a:pt x="349520" y="466372"/>
                      <a:pt x="81409" y="932745"/>
                      <a:pt x="16498" y="1092200"/>
                    </a:cubicBezTo>
                    <a:cubicBezTo>
                      <a:pt x="-48413" y="1251655"/>
                      <a:pt x="89876" y="1104194"/>
                      <a:pt x="228165" y="956733"/>
                    </a:cubicBezTo>
                  </a:path>
                </a:pathLst>
              </a:custGeom>
              <a:noFill/>
              <a:ln w="5715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cxnSp>
            <p:nvCxnSpPr>
              <p:cNvPr id="27" name="Straight Connector 26">
                <a:extLst>
                  <a:ext uri="{FF2B5EF4-FFF2-40B4-BE49-F238E27FC236}">
                    <a16:creationId xmlns:a16="http://schemas.microsoft.com/office/drawing/2014/main" id="{D0849083-2F2A-4DAC-BB60-E0BBB89FA266}"/>
                  </a:ext>
                </a:extLst>
              </p:cNvPr>
              <p:cNvCxnSpPr/>
              <p:nvPr/>
            </p:nvCxnSpPr>
            <p:spPr>
              <a:xfrm flipH="1">
                <a:off x="7131950" y="4155418"/>
                <a:ext cx="1226" cy="131239"/>
              </a:xfrm>
              <a:prstGeom prst="line">
                <a:avLst/>
              </a:prstGeom>
              <a:noFill/>
              <a:ln w="76200" cap="flat" cmpd="sng" algn="ctr">
                <a:solidFill>
                  <a:srgbClr val="E7E6E6">
                    <a:lumMod val="10000"/>
                  </a:srgbClr>
                </a:solidFill>
                <a:prstDash val="solid"/>
                <a:miter lim="800000"/>
              </a:ln>
              <a:effectLst/>
            </p:spPr>
          </p:cxnSp>
          <p:pic>
            <p:nvPicPr>
              <p:cNvPr id="28" name="Picture 27">
                <a:extLst>
                  <a:ext uri="{FF2B5EF4-FFF2-40B4-BE49-F238E27FC236}">
                    <a16:creationId xmlns:a16="http://schemas.microsoft.com/office/drawing/2014/main" id="{BE2C659C-6D4E-4A85-9904-E4EFDC82E54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flipH="1">
                <a:off x="7236142" y="3921939"/>
                <a:ext cx="242273" cy="242273"/>
              </a:xfrm>
              <a:prstGeom prst="rect">
                <a:avLst/>
              </a:prstGeom>
            </p:spPr>
          </p:pic>
          <p:cxnSp>
            <p:nvCxnSpPr>
              <p:cNvPr id="29" name="Straight Connector 28">
                <a:extLst>
                  <a:ext uri="{FF2B5EF4-FFF2-40B4-BE49-F238E27FC236}">
                    <a16:creationId xmlns:a16="http://schemas.microsoft.com/office/drawing/2014/main" id="{83836A24-1552-4393-AAA5-D9FE38A80503}"/>
                  </a:ext>
                </a:extLst>
              </p:cNvPr>
              <p:cNvCxnSpPr/>
              <p:nvPr/>
            </p:nvCxnSpPr>
            <p:spPr>
              <a:xfrm flipH="1">
                <a:off x="7195887" y="4164212"/>
                <a:ext cx="1226" cy="131239"/>
              </a:xfrm>
              <a:prstGeom prst="line">
                <a:avLst/>
              </a:prstGeom>
              <a:noFill/>
              <a:ln w="76200" cap="flat" cmpd="sng" algn="ctr">
                <a:solidFill>
                  <a:srgbClr val="E7E6E6">
                    <a:lumMod val="10000"/>
                  </a:srgbClr>
                </a:solidFill>
                <a:prstDash val="solid"/>
                <a:miter lim="800000"/>
              </a:ln>
              <a:effectLst/>
            </p:spPr>
          </p:cxnSp>
          <p:cxnSp>
            <p:nvCxnSpPr>
              <p:cNvPr id="30" name="Straight Connector 29">
                <a:extLst>
                  <a:ext uri="{FF2B5EF4-FFF2-40B4-BE49-F238E27FC236}">
                    <a16:creationId xmlns:a16="http://schemas.microsoft.com/office/drawing/2014/main" id="{284D6323-361A-4064-957D-FE5424BD418A}"/>
                  </a:ext>
                </a:extLst>
              </p:cNvPr>
              <p:cNvCxnSpPr/>
              <p:nvPr/>
            </p:nvCxnSpPr>
            <p:spPr>
              <a:xfrm flipH="1">
                <a:off x="7137640" y="4164212"/>
                <a:ext cx="1226" cy="131239"/>
              </a:xfrm>
              <a:prstGeom prst="line">
                <a:avLst/>
              </a:prstGeom>
              <a:noFill/>
              <a:ln w="76200" cap="flat" cmpd="sng" algn="ctr">
                <a:solidFill>
                  <a:srgbClr val="E7E6E6">
                    <a:lumMod val="10000"/>
                  </a:srgbClr>
                </a:solidFill>
                <a:prstDash val="solid"/>
                <a:miter lim="800000"/>
              </a:ln>
              <a:effectLst/>
            </p:spPr>
          </p:cxnSp>
          <p:pic>
            <p:nvPicPr>
              <p:cNvPr id="31" name="Picture 30">
                <a:extLst>
                  <a:ext uri="{FF2B5EF4-FFF2-40B4-BE49-F238E27FC236}">
                    <a16:creationId xmlns:a16="http://schemas.microsoft.com/office/drawing/2014/main" id="{2112D323-86ED-434B-A191-61D2472A24CE}"/>
                  </a:ext>
                </a:extLst>
              </p:cNvPr>
              <p:cNvPicPr>
                <a:picLocks noChangeAspect="1"/>
              </p:cNvPicPr>
              <p:nvPr/>
            </p:nvPicPr>
            <p:blipFill>
              <a:blip r:embed="rId5" cstate="print">
                <a:clrChange>
                  <a:clrFrom>
                    <a:srgbClr val="FFFFFF"/>
                  </a:clrFrom>
                  <a:clrTo>
                    <a:srgbClr val="FFFFFF">
                      <a:alpha val="0"/>
                    </a:srgbClr>
                  </a:clrTo>
                </a:clrChange>
                <a:biLevel thresh="25000"/>
                <a:extLst>
                  <a:ext uri="{28A0092B-C50C-407E-A947-70E740481C1C}">
                    <a14:useLocalDpi xmlns:a14="http://schemas.microsoft.com/office/drawing/2010/main" val="0"/>
                  </a:ext>
                </a:extLst>
              </a:blip>
              <a:stretch>
                <a:fillRect/>
              </a:stretch>
            </p:blipFill>
            <p:spPr>
              <a:xfrm flipH="1">
                <a:off x="10608530" y="3637174"/>
                <a:ext cx="404183" cy="440799"/>
              </a:xfrm>
              <a:prstGeom prst="rect">
                <a:avLst/>
              </a:prstGeom>
            </p:spPr>
          </p:pic>
          <p:cxnSp>
            <p:nvCxnSpPr>
              <p:cNvPr id="32" name="Straight Connector 31">
                <a:extLst>
                  <a:ext uri="{FF2B5EF4-FFF2-40B4-BE49-F238E27FC236}">
                    <a16:creationId xmlns:a16="http://schemas.microsoft.com/office/drawing/2014/main" id="{D1216B33-3846-4894-A20B-B09E5840F7EF}"/>
                  </a:ext>
                </a:extLst>
              </p:cNvPr>
              <p:cNvCxnSpPr/>
              <p:nvPr/>
            </p:nvCxnSpPr>
            <p:spPr>
              <a:xfrm flipV="1">
                <a:off x="5226193" y="2837429"/>
                <a:ext cx="0" cy="1252707"/>
              </a:xfrm>
              <a:prstGeom prst="line">
                <a:avLst/>
              </a:prstGeom>
              <a:noFill/>
              <a:ln w="6350" cap="flat" cmpd="sng" algn="ctr">
                <a:solidFill>
                  <a:sysClr val="windowText" lastClr="000000"/>
                </a:solidFill>
                <a:prstDash val="solid"/>
                <a:miter lim="800000"/>
              </a:ln>
              <a:effectLst/>
            </p:spPr>
          </p:cxnSp>
          <p:sp>
            <p:nvSpPr>
              <p:cNvPr id="33" name="Text Box 2">
                <a:extLst>
                  <a:ext uri="{FF2B5EF4-FFF2-40B4-BE49-F238E27FC236}">
                    <a16:creationId xmlns:a16="http://schemas.microsoft.com/office/drawing/2014/main" id="{D0BD5C76-12A4-4E1E-9345-6F511F39256B}"/>
                  </a:ext>
                </a:extLst>
              </p:cNvPr>
              <p:cNvSpPr txBox="1">
                <a:spLocks noChangeArrowheads="1"/>
              </p:cNvSpPr>
              <p:nvPr/>
            </p:nvSpPr>
            <p:spPr bwMode="auto">
              <a:xfrm>
                <a:off x="1004787" y="1718238"/>
                <a:ext cx="1735591" cy="1664917"/>
              </a:xfrm>
              <a:prstGeom prst="rect">
                <a:avLst/>
              </a:prstGeom>
              <a:solidFill>
                <a:srgbClr val="FFFFFF"/>
              </a:solidFill>
              <a:ln w="9525">
                <a:solidFill>
                  <a:srgbClr val="000000"/>
                </a:solidFill>
                <a:miter lim="800000"/>
                <a:headEnd/>
                <a:tailEnd/>
              </a:ln>
            </p:spPr>
            <p:txBody>
              <a:bodyPr rot="0" vert="horz" wrap="square" lIns="91440" tIns="45720" rIns="91440" bIns="45720" anchor="t" anchorCtr="0">
                <a:noAutofit/>
              </a:bodyPr>
              <a:lstStyle/>
              <a:p>
                <a:pPr marL="0" marR="0" lvl="0" indent="0" algn="ctr" defTabSz="914400" eaLnBrk="1" fontAlgn="auto" latinLnBrk="0" hangingPunct="1">
                  <a:lnSpc>
                    <a:spcPct val="106000"/>
                  </a:lnSpc>
                  <a:spcBef>
                    <a:spcPts val="0"/>
                  </a:spcBef>
                  <a:spcAft>
                    <a:spcPts val="800"/>
                  </a:spcAft>
                  <a:buClrTx/>
                  <a:buSzTx/>
                  <a:buFontTx/>
                  <a:buNone/>
                  <a:tabLst/>
                  <a:defRPr/>
                </a:pPr>
                <a:r>
                  <a:rPr kumimoji="0" lang="fr-FR" sz="2000" b="1" i="0" u="none" strike="noStrike" cap="none"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Statistiques officielles </a:t>
                </a:r>
              </a:p>
            </p:txBody>
          </p:sp>
          <p:cxnSp>
            <p:nvCxnSpPr>
              <p:cNvPr id="34" name="Straight Connector 33">
                <a:extLst>
                  <a:ext uri="{FF2B5EF4-FFF2-40B4-BE49-F238E27FC236}">
                    <a16:creationId xmlns:a16="http://schemas.microsoft.com/office/drawing/2014/main" id="{FD85B119-3549-4716-B216-8D12456793CE}"/>
                  </a:ext>
                </a:extLst>
              </p:cNvPr>
              <p:cNvCxnSpPr/>
              <p:nvPr/>
            </p:nvCxnSpPr>
            <p:spPr>
              <a:xfrm flipV="1">
                <a:off x="2255147" y="3395874"/>
                <a:ext cx="0" cy="1252707"/>
              </a:xfrm>
              <a:prstGeom prst="line">
                <a:avLst/>
              </a:prstGeom>
              <a:noFill/>
              <a:ln w="6350" cap="flat" cmpd="sng" algn="ctr">
                <a:solidFill>
                  <a:sysClr val="windowText" lastClr="000000"/>
                </a:solidFill>
                <a:prstDash val="solid"/>
                <a:miter lim="800000"/>
              </a:ln>
              <a:effectLst/>
            </p:spPr>
          </p:cxnSp>
          <p:sp>
            <p:nvSpPr>
              <p:cNvPr id="35" name="Rectangle 34">
                <a:extLst>
                  <a:ext uri="{FF2B5EF4-FFF2-40B4-BE49-F238E27FC236}">
                    <a16:creationId xmlns:a16="http://schemas.microsoft.com/office/drawing/2014/main" id="{328C463F-659A-45D4-B369-673C5B9F3175}"/>
                  </a:ext>
                </a:extLst>
              </p:cNvPr>
              <p:cNvSpPr/>
              <p:nvPr/>
            </p:nvSpPr>
            <p:spPr>
              <a:xfrm>
                <a:off x="19515" y="-1166002"/>
                <a:ext cx="13163920" cy="573558"/>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2800" b="0" u="sng" strike="noStrike" cap="none"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La « zone grise » entre prévalence</a:t>
                </a:r>
                <a:r>
                  <a:rPr kumimoji="0" lang="fr-FR" sz="2800" b="0" u="sng" strike="noStrike" cap="none" normalizeH="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 et </a:t>
                </a:r>
                <a:r>
                  <a:rPr kumimoji="0" lang="fr-FR" sz="2800" b="0" u="sng" strike="noStrike" cap="none"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incidence, et signalement</a:t>
                </a:r>
                <a:r>
                  <a:rPr kumimoji="0" lang="fr-FR" sz="2800" b="0" u="sng" strike="noStrike" cap="none" normalizeH="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 et </a:t>
                </a:r>
                <a:r>
                  <a:rPr kumimoji="0" lang="fr-FR" sz="2800" b="0" u="sng" strike="noStrike" cap="none"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divulgation : </a:t>
                </a:r>
              </a:p>
            </p:txBody>
          </p:sp>
          <p:pic>
            <p:nvPicPr>
              <p:cNvPr id="36" name="Picture 35">
                <a:extLst>
                  <a:ext uri="{FF2B5EF4-FFF2-40B4-BE49-F238E27FC236}">
                    <a16:creationId xmlns:a16="http://schemas.microsoft.com/office/drawing/2014/main" id="{452D8516-8EE7-422B-8231-FCD1EF2D7FBA}"/>
                  </a:ext>
                </a:extLst>
              </p:cNvPr>
              <p:cNvPicPr>
                <a:picLocks noChangeAspect="1"/>
              </p:cNvPicPr>
              <p:nvPr/>
            </p:nvPicPr>
            <p:blipFill>
              <a:blip r:embed="rId5" cstate="print">
                <a:clrChange>
                  <a:clrFrom>
                    <a:srgbClr val="FFFFFF"/>
                  </a:clrFrom>
                  <a:clrTo>
                    <a:srgbClr val="FFFFFF">
                      <a:alpha val="0"/>
                    </a:srgbClr>
                  </a:clrTo>
                </a:clrChange>
                <a:biLevel thresh="25000"/>
                <a:extLst>
                  <a:ext uri="{28A0092B-C50C-407E-A947-70E740481C1C}">
                    <a14:useLocalDpi xmlns:a14="http://schemas.microsoft.com/office/drawing/2010/main" val="0"/>
                  </a:ext>
                </a:extLst>
              </a:blip>
              <a:stretch>
                <a:fillRect/>
              </a:stretch>
            </p:blipFill>
            <p:spPr>
              <a:xfrm flipH="1">
                <a:off x="7985346" y="3245011"/>
                <a:ext cx="404183" cy="440799"/>
              </a:xfrm>
              <a:prstGeom prst="rect">
                <a:avLst/>
              </a:prstGeom>
            </p:spPr>
          </p:pic>
          <p:sp>
            <p:nvSpPr>
              <p:cNvPr id="37" name="Oval 36">
                <a:extLst>
                  <a:ext uri="{FF2B5EF4-FFF2-40B4-BE49-F238E27FC236}">
                    <a16:creationId xmlns:a16="http://schemas.microsoft.com/office/drawing/2014/main" id="{C1FA9B89-2615-436D-9810-1763CAAB719A}"/>
                  </a:ext>
                </a:extLst>
              </p:cNvPr>
              <p:cNvSpPr/>
              <p:nvPr/>
            </p:nvSpPr>
            <p:spPr>
              <a:xfrm>
                <a:off x="5624827" y="4440636"/>
                <a:ext cx="99589" cy="107897"/>
              </a:xfrm>
              <a:prstGeom prst="ellipse">
                <a:avLst/>
              </a:prstGeom>
              <a:solidFill>
                <a:srgbClr val="ED7D31">
                  <a:lumMod val="75000"/>
                </a:srgb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CH"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8" name="Oval 37">
                <a:extLst>
                  <a:ext uri="{FF2B5EF4-FFF2-40B4-BE49-F238E27FC236}">
                    <a16:creationId xmlns:a16="http://schemas.microsoft.com/office/drawing/2014/main" id="{C1D8A959-7FBE-4CF5-9125-8EAA19AEA3F7}"/>
                  </a:ext>
                </a:extLst>
              </p:cNvPr>
              <p:cNvSpPr/>
              <p:nvPr/>
            </p:nvSpPr>
            <p:spPr>
              <a:xfrm>
                <a:off x="4896291" y="4756295"/>
                <a:ext cx="99589" cy="107897"/>
              </a:xfrm>
              <a:prstGeom prst="ellipse">
                <a:avLst/>
              </a:prstGeom>
              <a:solidFill>
                <a:srgbClr val="ED7D31">
                  <a:lumMod val="75000"/>
                </a:srgb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CH"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9" name="Oval 38">
                <a:extLst>
                  <a:ext uri="{FF2B5EF4-FFF2-40B4-BE49-F238E27FC236}">
                    <a16:creationId xmlns:a16="http://schemas.microsoft.com/office/drawing/2014/main" id="{7817DF9E-B2AC-4346-97F9-01D073747635}"/>
                  </a:ext>
                </a:extLst>
              </p:cNvPr>
              <p:cNvSpPr/>
              <p:nvPr/>
            </p:nvSpPr>
            <p:spPr>
              <a:xfrm>
                <a:off x="4730909" y="4302860"/>
                <a:ext cx="99589" cy="107897"/>
              </a:xfrm>
              <a:prstGeom prst="ellipse">
                <a:avLst/>
              </a:prstGeom>
              <a:solidFill>
                <a:srgbClr val="ED7D31">
                  <a:lumMod val="75000"/>
                </a:srgb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CH"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40" name="Oval 39">
                <a:extLst>
                  <a:ext uri="{FF2B5EF4-FFF2-40B4-BE49-F238E27FC236}">
                    <a16:creationId xmlns:a16="http://schemas.microsoft.com/office/drawing/2014/main" id="{BF64D0EF-7E5B-4CF4-BD19-9E238505F808}"/>
                  </a:ext>
                </a:extLst>
              </p:cNvPr>
              <p:cNvSpPr/>
              <p:nvPr/>
            </p:nvSpPr>
            <p:spPr>
              <a:xfrm>
                <a:off x="2630921" y="4699890"/>
                <a:ext cx="99589" cy="107897"/>
              </a:xfrm>
              <a:prstGeom prst="ellipse">
                <a:avLst/>
              </a:prstGeom>
              <a:solidFill>
                <a:srgbClr val="ED7D31">
                  <a:lumMod val="75000"/>
                </a:srgb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CH"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41" name="Oval 40">
                <a:extLst>
                  <a:ext uri="{FF2B5EF4-FFF2-40B4-BE49-F238E27FC236}">
                    <a16:creationId xmlns:a16="http://schemas.microsoft.com/office/drawing/2014/main" id="{6E93E791-BD7E-476A-A3FF-9A44B3EBE670}"/>
                  </a:ext>
                </a:extLst>
              </p:cNvPr>
              <p:cNvSpPr/>
              <p:nvPr/>
            </p:nvSpPr>
            <p:spPr>
              <a:xfrm>
                <a:off x="3074426" y="4430480"/>
                <a:ext cx="99589" cy="107897"/>
              </a:xfrm>
              <a:prstGeom prst="ellipse">
                <a:avLst/>
              </a:prstGeom>
              <a:solidFill>
                <a:srgbClr val="ED7D31">
                  <a:lumMod val="75000"/>
                </a:srgb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CH"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42" name="Oval 41">
                <a:extLst>
                  <a:ext uri="{FF2B5EF4-FFF2-40B4-BE49-F238E27FC236}">
                    <a16:creationId xmlns:a16="http://schemas.microsoft.com/office/drawing/2014/main" id="{F31E09AF-E31A-4C21-B981-5FAB95EB7C82}"/>
                  </a:ext>
                </a:extLst>
              </p:cNvPr>
              <p:cNvSpPr/>
              <p:nvPr/>
            </p:nvSpPr>
            <p:spPr>
              <a:xfrm>
                <a:off x="5560580" y="3666124"/>
                <a:ext cx="99589" cy="107897"/>
              </a:xfrm>
              <a:prstGeom prst="ellipse">
                <a:avLst/>
              </a:prstGeom>
              <a:solidFill>
                <a:srgbClr val="ED7D31">
                  <a:lumMod val="75000"/>
                </a:srgb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CH"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43" name="Oval 42">
                <a:extLst>
                  <a:ext uri="{FF2B5EF4-FFF2-40B4-BE49-F238E27FC236}">
                    <a16:creationId xmlns:a16="http://schemas.microsoft.com/office/drawing/2014/main" id="{686217B2-C080-4B84-8821-3B69333DC1DE}"/>
                  </a:ext>
                </a:extLst>
              </p:cNvPr>
              <p:cNvSpPr/>
              <p:nvPr/>
            </p:nvSpPr>
            <p:spPr>
              <a:xfrm>
                <a:off x="7009849" y="4610068"/>
                <a:ext cx="99589" cy="107897"/>
              </a:xfrm>
              <a:prstGeom prst="ellipse">
                <a:avLst/>
              </a:prstGeom>
              <a:solidFill>
                <a:srgbClr val="ED7D31">
                  <a:lumMod val="75000"/>
                </a:srgb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CH"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44" name="Oval 43">
                <a:extLst>
                  <a:ext uri="{FF2B5EF4-FFF2-40B4-BE49-F238E27FC236}">
                    <a16:creationId xmlns:a16="http://schemas.microsoft.com/office/drawing/2014/main" id="{F57B1FBC-2814-47BC-A4FF-E4424C1D0061}"/>
                  </a:ext>
                </a:extLst>
              </p:cNvPr>
              <p:cNvSpPr/>
              <p:nvPr/>
            </p:nvSpPr>
            <p:spPr>
              <a:xfrm>
                <a:off x="6731710" y="3749676"/>
                <a:ext cx="99589" cy="107897"/>
              </a:xfrm>
              <a:prstGeom prst="ellipse">
                <a:avLst/>
              </a:prstGeom>
              <a:solidFill>
                <a:srgbClr val="ED7D31">
                  <a:lumMod val="75000"/>
                </a:srgb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CH"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45" name="Oval 44">
                <a:extLst>
                  <a:ext uri="{FF2B5EF4-FFF2-40B4-BE49-F238E27FC236}">
                    <a16:creationId xmlns:a16="http://schemas.microsoft.com/office/drawing/2014/main" id="{72CF2F78-BB30-4014-BDC2-9285F1A0078A}"/>
                  </a:ext>
                </a:extLst>
              </p:cNvPr>
              <p:cNvSpPr/>
              <p:nvPr/>
            </p:nvSpPr>
            <p:spPr>
              <a:xfrm>
                <a:off x="7744913" y="4164212"/>
                <a:ext cx="99589" cy="107897"/>
              </a:xfrm>
              <a:prstGeom prst="ellipse">
                <a:avLst/>
              </a:prstGeom>
              <a:solidFill>
                <a:srgbClr val="ED7D31">
                  <a:lumMod val="75000"/>
                </a:srgb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CH"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46" name="Oval 45">
                <a:extLst>
                  <a:ext uri="{FF2B5EF4-FFF2-40B4-BE49-F238E27FC236}">
                    <a16:creationId xmlns:a16="http://schemas.microsoft.com/office/drawing/2014/main" id="{C698F8E8-5D31-4B40-ADA5-640F62D45D2E}"/>
                  </a:ext>
                </a:extLst>
              </p:cNvPr>
              <p:cNvSpPr/>
              <p:nvPr/>
            </p:nvSpPr>
            <p:spPr>
              <a:xfrm>
                <a:off x="6860450" y="5315853"/>
                <a:ext cx="99589" cy="107897"/>
              </a:xfrm>
              <a:prstGeom prst="ellipse">
                <a:avLst/>
              </a:prstGeom>
              <a:solidFill>
                <a:srgbClr val="ED7D31">
                  <a:lumMod val="75000"/>
                </a:srgb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CH"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47" name="Oval 46">
                <a:extLst>
                  <a:ext uri="{FF2B5EF4-FFF2-40B4-BE49-F238E27FC236}">
                    <a16:creationId xmlns:a16="http://schemas.microsoft.com/office/drawing/2014/main" id="{CF870A74-A6D0-4DFD-9D26-F95AF0511CE4}"/>
                  </a:ext>
                </a:extLst>
              </p:cNvPr>
              <p:cNvSpPr/>
              <p:nvPr/>
            </p:nvSpPr>
            <p:spPr>
              <a:xfrm>
                <a:off x="8467672" y="5016958"/>
                <a:ext cx="99589" cy="107897"/>
              </a:xfrm>
              <a:prstGeom prst="ellipse">
                <a:avLst/>
              </a:prstGeom>
              <a:solidFill>
                <a:srgbClr val="ED7D31">
                  <a:lumMod val="75000"/>
                </a:srgb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CH"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48" name="Oval 47">
                <a:extLst>
                  <a:ext uri="{FF2B5EF4-FFF2-40B4-BE49-F238E27FC236}">
                    <a16:creationId xmlns:a16="http://schemas.microsoft.com/office/drawing/2014/main" id="{C2402B51-FC42-4FD3-AA58-485BF4F1BA6D}"/>
                  </a:ext>
                </a:extLst>
              </p:cNvPr>
              <p:cNvSpPr/>
              <p:nvPr/>
            </p:nvSpPr>
            <p:spPr>
              <a:xfrm>
                <a:off x="9605747" y="4348013"/>
                <a:ext cx="99589" cy="107897"/>
              </a:xfrm>
              <a:prstGeom prst="ellipse">
                <a:avLst/>
              </a:prstGeom>
              <a:solidFill>
                <a:srgbClr val="ED7D31">
                  <a:lumMod val="75000"/>
                </a:srgb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CH"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49" name="Oval 48">
                <a:extLst>
                  <a:ext uri="{FF2B5EF4-FFF2-40B4-BE49-F238E27FC236}">
                    <a16:creationId xmlns:a16="http://schemas.microsoft.com/office/drawing/2014/main" id="{2FA5D063-CF5B-44D9-978E-E9026FD4FDFE}"/>
                  </a:ext>
                </a:extLst>
              </p:cNvPr>
              <p:cNvSpPr/>
              <p:nvPr/>
            </p:nvSpPr>
            <p:spPr>
              <a:xfrm>
                <a:off x="8705720" y="3803624"/>
                <a:ext cx="99589" cy="107897"/>
              </a:xfrm>
              <a:prstGeom prst="ellipse">
                <a:avLst/>
              </a:prstGeom>
              <a:solidFill>
                <a:srgbClr val="ED7D31">
                  <a:lumMod val="75000"/>
                </a:srgb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CH"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50" name="Oval 49">
                <a:extLst>
                  <a:ext uri="{FF2B5EF4-FFF2-40B4-BE49-F238E27FC236}">
                    <a16:creationId xmlns:a16="http://schemas.microsoft.com/office/drawing/2014/main" id="{09823708-E129-4162-B09B-EA07B34F0179}"/>
                  </a:ext>
                </a:extLst>
              </p:cNvPr>
              <p:cNvSpPr/>
              <p:nvPr/>
            </p:nvSpPr>
            <p:spPr>
              <a:xfrm>
                <a:off x="8967925" y="3329206"/>
                <a:ext cx="99589" cy="107897"/>
              </a:xfrm>
              <a:prstGeom prst="ellipse">
                <a:avLst/>
              </a:prstGeom>
              <a:solidFill>
                <a:srgbClr val="ED7D31">
                  <a:lumMod val="75000"/>
                </a:srgb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CH"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51" name="Oval 50">
                <a:extLst>
                  <a:ext uri="{FF2B5EF4-FFF2-40B4-BE49-F238E27FC236}">
                    <a16:creationId xmlns:a16="http://schemas.microsoft.com/office/drawing/2014/main" id="{930C22F2-E2AD-4182-8ECE-41C1B7BACF4E}"/>
                  </a:ext>
                </a:extLst>
              </p:cNvPr>
              <p:cNvSpPr/>
              <p:nvPr/>
            </p:nvSpPr>
            <p:spPr>
              <a:xfrm>
                <a:off x="10508941" y="4356808"/>
                <a:ext cx="99589" cy="107897"/>
              </a:xfrm>
              <a:prstGeom prst="ellipse">
                <a:avLst/>
              </a:prstGeom>
              <a:solidFill>
                <a:srgbClr val="ED7D31">
                  <a:lumMod val="75000"/>
                </a:srgb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CH"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52" name="Oval 51">
                <a:extLst>
                  <a:ext uri="{FF2B5EF4-FFF2-40B4-BE49-F238E27FC236}">
                    <a16:creationId xmlns:a16="http://schemas.microsoft.com/office/drawing/2014/main" id="{6F847E8F-3C66-4F51-92D1-5216E427AA92}"/>
                  </a:ext>
                </a:extLst>
              </p:cNvPr>
              <p:cNvSpPr/>
              <p:nvPr/>
            </p:nvSpPr>
            <p:spPr>
              <a:xfrm>
                <a:off x="7695461" y="3170292"/>
                <a:ext cx="99589" cy="107897"/>
              </a:xfrm>
              <a:prstGeom prst="ellipse">
                <a:avLst/>
              </a:prstGeom>
              <a:solidFill>
                <a:srgbClr val="ED7D31">
                  <a:lumMod val="75000"/>
                </a:srgb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CH"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53" name="Oval 52">
                <a:extLst>
                  <a:ext uri="{FF2B5EF4-FFF2-40B4-BE49-F238E27FC236}">
                    <a16:creationId xmlns:a16="http://schemas.microsoft.com/office/drawing/2014/main" id="{C21B0581-69AF-45B5-8371-CA81F8631625}"/>
                  </a:ext>
                </a:extLst>
              </p:cNvPr>
              <p:cNvSpPr/>
              <p:nvPr/>
            </p:nvSpPr>
            <p:spPr>
              <a:xfrm>
                <a:off x="5940378" y="3212002"/>
                <a:ext cx="99589" cy="107897"/>
              </a:xfrm>
              <a:prstGeom prst="ellipse">
                <a:avLst/>
              </a:prstGeom>
              <a:solidFill>
                <a:srgbClr val="ED7D31">
                  <a:lumMod val="75000"/>
                </a:srgb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CH"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54" name="Oval 53">
                <a:extLst>
                  <a:ext uri="{FF2B5EF4-FFF2-40B4-BE49-F238E27FC236}">
                    <a16:creationId xmlns:a16="http://schemas.microsoft.com/office/drawing/2014/main" id="{D2C7476D-D70F-4071-A0AB-6AECECFAEA4B}"/>
                  </a:ext>
                </a:extLst>
              </p:cNvPr>
              <p:cNvSpPr/>
              <p:nvPr/>
            </p:nvSpPr>
            <p:spPr>
              <a:xfrm>
                <a:off x="5212649" y="5501897"/>
                <a:ext cx="99589" cy="107897"/>
              </a:xfrm>
              <a:prstGeom prst="ellipse">
                <a:avLst/>
              </a:prstGeom>
              <a:solidFill>
                <a:srgbClr val="ED7D31">
                  <a:lumMod val="75000"/>
                </a:srgb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CH"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55" name="Oval 54">
                <a:extLst>
                  <a:ext uri="{FF2B5EF4-FFF2-40B4-BE49-F238E27FC236}">
                    <a16:creationId xmlns:a16="http://schemas.microsoft.com/office/drawing/2014/main" id="{8F788757-2D98-462B-9426-54BEEE38AC32}"/>
                  </a:ext>
                </a:extLst>
              </p:cNvPr>
              <p:cNvSpPr/>
              <p:nvPr/>
            </p:nvSpPr>
            <p:spPr>
              <a:xfrm>
                <a:off x="10558735" y="3443808"/>
                <a:ext cx="99589" cy="107897"/>
              </a:xfrm>
              <a:prstGeom prst="ellipse">
                <a:avLst/>
              </a:prstGeom>
              <a:solidFill>
                <a:srgbClr val="ED7D31">
                  <a:lumMod val="75000"/>
                </a:srgb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CH"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grpSp>
      </p:grpSp>
      <p:sp>
        <p:nvSpPr>
          <p:cNvPr id="57" name="TextBox 56">
            <a:extLst>
              <a:ext uri="{FF2B5EF4-FFF2-40B4-BE49-F238E27FC236}">
                <a16:creationId xmlns:a16="http://schemas.microsoft.com/office/drawing/2014/main" id="{E2CEBE62-C94A-491E-A75A-B564FE71CB14}"/>
              </a:ext>
            </a:extLst>
          </p:cNvPr>
          <p:cNvSpPr txBox="1"/>
          <p:nvPr/>
        </p:nvSpPr>
        <p:spPr>
          <a:xfrm>
            <a:off x="83492" y="5079184"/>
            <a:ext cx="461665" cy="1493294"/>
          </a:xfrm>
          <a:prstGeom prst="rect">
            <a:avLst/>
          </a:prstGeom>
          <a:noFill/>
        </p:spPr>
        <p:txBody>
          <a:bodyPr vert="vert270" wrap="none" rtlCol="0">
            <a:spAutoFit/>
          </a:bodyPr>
          <a:lstStyle/>
          <a:p>
            <a:r>
              <a:rPr lang="fr-FR" dirty="0">
                <a:solidFill>
                  <a:schemeClr val="bg1"/>
                </a:solidFill>
              </a:rPr>
              <a:t>Cours H.E.L.P. </a:t>
            </a:r>
          </a:p>
        </p:txBody>
      </p:sp>
    </p:spTree>
    <p:extLst>
      <p:ext uri="{BB962C8B-B14F-4D97-AF65-F5344CB8AC3E}">
        <p14:creationId xmlns:p14="http://schemas.microsoft.com/office/powerpoint/2010/main" val="381436158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231D4C-7F51-45D3-A578-009C33566E0E}"/>
              </a:ext>
            </a:extLst>
          </p:cNvPr>
          <p:cNvSpPr>
            <a:spLocks noGrp="1"/>
          </p:cNvSpPr>
          <p:nvPr>
            <p:ph type="title"/>
          </p:nvPr>
        </p:nvSpPr>
        <p:spPr/>
        <p:txBody>
          <a:bodyPr/>
          <a:lstStyle/>
          <a:p>
            <a:r>
              <a:rPr lang="fr-FR" dirty="0"/>
              <a:t>Le renversement de la charge de la preuve</a:t>
            </a:r>
          </a:p>
        </p:txBody>
      </p:sp>
      <p:sp>
        <p:nvSpPr>
          <p:cNvPr id="3" name="Content Placeholder 2">
            <a:extLst>
              <a:ext uri="{FF2B5EF4-FFF2-40B4-BE49-F238E27FC236}">
                <a16:creationId xmlns:a16="http://schemas.microsoft.com/office/drawing/2014/main" id="{A6B66382-C51A-483C-97FE-1AC4351C2DA0}"/>
              </a:ext>
            </a:extLst>
          </p:cNvPr>
          <p:cNvSpPr>
            <a:spLocks noGrp="1"/>
          </p:cNvSpPr>
          <p:nvPr>
            <p:ph idx="13"/>
          </p:nvPr>
        </p:nvSpPr>
        <p:spPr/>
        <p:txBody>
          <a:bodyPr/>
          <a:lstStyle/>
          <a:p>
            <a:r>
              <a:rPr lang="fr-FR" dirty="0"/>
              <a:t>En cas de preuves accablantes</a:t>
            </a:r>
          </a:p>
          <a:p>
            <a:r>
              <a:rPr lang="fr-FR" dirty="0"/>
              <a:t>Et de risque accru</a:t>
            </a:r>
          </a:p>
          <a:p>
            <a:r>
              <a:rPr lang="fr-FR" dirty="0"/>
              <a:t>Et de danger imminent</a:t>
            </a:r>
          </a:p>
          <a:p>
            <a:r>
              <a:rPr lang="fr-FR" dirty="0"/>
              <a:t>Et de manque de fiabilité des statistiques officielles</a:t>
            </a:r>
          </a:p>
          <a:p>
            <a:r>
              <a:rPr lang="fr-FR" dirty="0"/>
              <a:t>Nous supposons donc que des actes de violence vont se produire et que nous devons à la fois nous préparer à y répondre et les prévenir activement</a:t>
            </a:r>
          </a:p>
        </p:txBody>
      </p:sp>
    </p:spTree>
    <p:extLst>
      <p:ext uri="{BB962C8B-B14F-4D97-AF65-F5344CB8AC3E}">
        <p14:creationId xmlns:p14="http://schemas.microsoft.com/office/powerpoint/2010/main" val="207548178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2 The Ecotemian case reduced">
            <a:hlinkClick r:id="" action="ppaction://media"/>
            <a:extLst>
              <a:ext uri="{FF2B5EF4-FFF2-40B4-BE49-F238E27FC236}">
                <a16:creationId xmlns:a16="http://schemas.microsoft.com/office/drawing/2014/main" id="{2DB795B5-F86B-4FEA-B945-330A84FA287F}"/>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2206766" y="1382458"/>
            <a:ext cx="7778468" cy="5020022"/>
          </a:xfrm>
          <a:prstGeom prst="rect">
            <a:avLst/>
          </a:prstGeom>
        </p:spPr>
      </p:pic>
      <p:sp>
        <p:nvSpPr>
          <p:cNvPr id="5" name="TextBox 4">
            <a:extLst>
              <a:ext uri="{FF2B5EF4-FFF2-40B4-BE49-F238E27FC236}">
                <a16:creationId xmlns:a16="http://schemas.microsoft.com/office/drawing/2014/main" id="{EEBAA5C0-2F1F-4063-9FFB-733B750A8D0F}"/>
              </a:ext>
            </a:extLst>
          </p:cNvPr>
          <p:cNvSpPr txBox="1"/>
          <p:nvPr/>
        </p:nvSpPr>
        <p:spPr>
          <a:xfrm>
            <a:off x="5617739" y="963261"/>
            <a:ext cx="728084" cy="369332"/>
          </a:xfrm>
          <a:prstGeom prst="rect">
            <a:avLst/>
          </a:prstGeom>
          <a:noFill/>
        </p:spPr>
        <p:txBody>
          <a:bodyPr wrap="none" rtlCol="0">
            <a:spAutoFit/>
          </a:bodyPr>
          <a:lstStyle/>
          <a:p>
            <a:r>
              <a:rPr lang="fr-FR" dirty="0"/>
              <a:t>Vidéo</a:t>
            </a:r>
          </a:p>
        </p:txBody>
      </p:sp>
      <p:sp>
        <p:nvSpPr>
          <p:cNvPr id="2" name="TextBox 1">
            <a:extLst>
              <a:ext uri="{FF2B5EF4-FFF2-40B4-BE49-F238E27FC236}">
                <a16:creationId xmlns:a16="http://schemas.microsoft.com/office/drawing/2014/main" id="{98186882-32B9-4A73-B4A1-DAD4196A4433}"/>
              </a:ext>
            </a:extLst>
          </p:cNvPr>
          <p:cNvSpPr txBox="1"/>
          <p:nvPr/>
        </p:nvSpPr>
        <p:spPr>
          <a:xfrm>
            <a:off x="173255" y="231006"/>
            <a:ext cx="11880200" cy="1200329"/>
          </a:xfrm>
          <a:prstGeom prst="rect">
            <a:avLst/>
          </a:prstGeom>
          <a:noFill/>
        </p:spPr>
        <p:txBody>
          <a:bodyPr wrap="square" rtlCol="0">
            <a:spAutoFit/>
          </a:bodyPr>
          <a:lstStyle/>
          <a:p>
            <a:pPr marL="893763">
              <a:lnSpc>
                <a:spcPct val="90000"/>
              </a:lnSpc>
              <a:spcBef>
                <a:spcPct val="0"/>
              </a:spcBef>
            </a:pPr>
            <a:r>
              <a:rPr lang="fr-FR" sz="4000" dirty="0">
                <a:solidFill>
                  <a:schemeClr val="bg1"/>
                </a:solidFill>
                <a:latin typeface="IBM Plex Sans Bold" panose="020B0604020202020204" charset="0"/>
                <a:ea typeface="+mj-ea"/>
                <a:cs typeface="+mj-cs"/>
              </a:rPr>
              <a:t>À quoi devons-nous donc nous préparer à répondre ?</a:t>
            </a:r>
          </a:p>
        </p:txBody>
      </p:sp>
    </p:spTree>
    <p:extLst>
      <p:ext uri="{BB962C8B-B14F-4D97-AF65-F5344CB8AC3E}">
        <p14:creationId xmlns:p14="http://schemas.microsoft.com/office/powerpoint/2010/main" val="3344182111"/>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4"/>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4"/>
                                        </p:tgtEl>
                                      </p:cBhvr>
                                    </p:cmd>
                                  </p:childTnLst>
                                </p:cTn>
                              </p:par>
                            </p:childTnLst>
                          </p:cTn>
                        </p:par>
                      </p:childTnLst>
                    </p:cTn>
                  </p:par>
                </p:childTnLst>
              </p:cTn>
              <p:nextCondLst>
                <p:cond evt="onClick" delay="0">
                  <p:tgtEl>
                    <p:spTgt spid="4"/>
                  </p:tgtEl>
                </p:cond>
              </p:nextCondLst>
            </p:seq>
            <p:video>
              <p:cMediaNode vol="80000">
                <p:cTn id="7" fill="hold" display="0">
                  <p:stCondLst>
                    <p:cond delay="indefinite"/>
                  </p:stCondLst>
                </p:cTn>
                <p:tgtEl>
                  <p:spTgt spid="4"/>
                </p:tgtEl>
              </p:cMediaNode>
            </p:video>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6F5D46-FF64-400B-8C73-5CA7C83DA5FB}"/>
              </a:ext>
            </a:extLst>
          </p:cNvPr>
          <p:cNvSpPr>
            <a:spLocks noGrp="1"/>
          </p:cNvSpPr>
          <p:nvPr>
            <p:ph type="title"/>
          </p:nvPr>
        </p:nvSpPr>
        <p:spPr/>
        <p:txBody>
          <a:bodyPr/>
          <a:lstStyle/>
          <a:p>
            <a:r>
              <a:rPr lang="fr-FR" dirty="0"/>
              <a:t>Scénario</a:t>
            </a:r>
          </a:p>
        </p:txBody>
      </p:sp>
      <p:sp>
        <p:nvSpPr>
          <p:cNvPr id="3" name="Content Placeholder 2">
            <a:extLst>
              <a:ext uri="{FF2B5EF4-FFF2-40B4-BE49-F238E27FC236}">
                <a16:creationId xmlns:a16="http://schemas.microsoft.com/office/drawing/2014/main" id="{6CE838D3-5A37-4C3E-B5AB-4867075861E4}"/>
              </a:ext>
            </a:extLst>
          </p:cNvPr>
          <p:cNvSpPr>
            <a:spLocks noGrp="1"/>
          </p:cNvSpPr>
          <p:nvPr>
            <p:ph idx="13"/>
          </p:nvPr>
        </p:nvSpPr>
        <p:spPr/>
        <p:txBody>
          <a:bodyPr/>
          <a:lstStyle/>
          <a:p>
            <a:r>
              <a:rPr lang="fr-FR" dirty="0"/>
              <a:t>https://www.youtube.com/watch?v=IwKMQ0Uync8</a:t>
            </a:r>
          </a:p>
        </p:txBody>
      </p:sp>
    </p:spTree>
    <p:extLst>
      <p:ext uri="{BB962C8B-B14F-4D97-AF65-F5344CB8AC3E}">
        <p14:creationId xmlns:p14="http://schemas.microsoft.com/office/powerpoint/2010/main" val="212138226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C049E510-AEE2-4681-A040-B88C52F80273}"/>
              </a:ext>
            </a:extLst>
          </p:cNvPr>
          <p:cNvSpPr txBox="1"/>
          <p:nvPr/>
        </p:nvSpPr>
        <p:spPr>
          <a:xfrm>
            <a:off x="3115288" y="2598003"/>
            <a:ext cx="6912768" cy="1077218"/>
          </a:xfrm>
          <a:prstGeom prst="rect">
            <a:avLst/>
          </a:prstGeom>
          <a:noFill/>
        </p:spPr>
        <p:txBody>
          <a:bodyPr wrap="square" rtlCol="0">
            <a:spAutoFit/>
          </a:bodyPr>
          <a:lstStyle/>
          <a:p>
            <a:pPr algn="ctr"/>
            <a:r>
              <a:rPr lang="fr-FR" sz="3200" dirty="0"/>
              <a:t>Quelles conséquences l’étude de cas met-elle en lumière ? </a:t>
            </a:r>
          </a:p>
        </p:txBody>
      </p:sp>
      <p:sp>
        <p:nvSpPr>
          <p:cNvPr id="6" name="Rectangle 5">
            <a:extLst>
              <a:ext uri="{FF2B5EF4-FFF2-40B4-BE49-F238E27FC236}">
                <a16:creationId xmlns:a16="http://schemas.microsoft.com/office/drawing/2014/main" id="{CD11C621-C957-4362-A444-807FCEF78245}"/>
              </a:ext>
            </a:extLst>
          </p:cNvPr>
          <p:cNvSpPr/>
          <p:nvPr/>
        </p:nvSpPr>
        <p:spPr>
          <a:xfrm>
            <a:off x="0" y="0"/>
            <a:ext cx="628650" cy="6858000"/>
          </a:xfrm>
          <a:prstGeom prst="rect">
            <a:avLst/>
          </a:prstGeom>
          <a:solidFill>
            <a:srgbClr val="005BA4"/>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US" dirty="0"/>
          </a:p>
          <a:p>
            <a:pPr algn="ctr"/>
            <a:endParaRPr lang="fr-CH" dirty="0"/>
          </a:p>
        </p:txBody>
      </p:sp>
      <p:sp>
        <p:nvSpPr>
          <p:cNvPr id="7" name="TextBox 6">
            <a:extLst>
              <a:ext uri="{FF2B5EF4-FFF2-40B4-BE49-F238E27FC236}">
                <a16:creationId xmlns:a16="http://schemas.microsoft.com/office/drawing/2014/main" id="{ED88CD49-7B0B-422E-B1C0-21C0DEA363E7}"/>
              </a:ext>
            </a:extLst>
          </p:cNvPr>
          <p:cNvSpPr txBox="1"/>
          <p:nvPr/>
        </p:nvSpPr>
        <p:spPr>
          <a:xfrm>
            <a:off x="83492" y="5079184"/>
            <a:ext cx="461665" cy="1493294"/>
          </a:xfrm>
          <a:prstGeom prst="rect">
            <a:avLst/>
          </a:prstGeom>
          <a:noFill/>
        </p:spPr>
        <p:txBody>
          <a:bodyPr vert="vert270" wrap="none" rtlCol="0">
            <a:spAutoFit/>
          </a:bodyPr>
          <a:lstStyle/>
          <a:p>
            <a:r>
              <a:rPr lang="fr-FR" dirty="0">
                <a:solidFill>
                  <a:schemeClr val="bg1"/>
                </a:solidFill>
              </a:rPr>
              <a:t>Cours H.E.L.P. </a:t>
            </a:r>
          </a:p>
        </p:txBody>
      </p:sp>
      <p:sp>
        <p:nvSpPr>
          <p:cNvPr id="8" name="TextBox 7">
            <a:extLst>
              <a:ext uri="{FF2B5EF4-FFF2-40B4-BE49-F238E27FC236}">
                <a16:creationId xmlns:a16="http://schemas.microsoft.com/office/drawing/2014/main" id="{3401C10F-B1E0-445D-832E-C53074A70A64}"/>
              </a:ext>
            </a:extLst>
          </p:cNvPr>
          <p:cNvSpPr txBox="1"/>
          <p:nvPr/>
        </p:nvSpPr>
        <p:spPr>
          <a:xfrm>
            <a:off x="1643609" y="2598003"/>
            <a:ext cx="1040670" cy="1200329"/>
          </a:xfrm>
          <a:prstGeom prst="rect">
            <a:avLst/>
          </a:prstGeom>
          <a:noFill/>
        </p:spPr>
        <p:txBody>
          <a:bodyPr wrap="none" rtlCol="0">
            <a:spAutoFit/>
          </a:bodyPr>
          <a:lstStyle/>
          <a:p>
            <a:r>
              <a:rPr lang="fr-FR" sz="7200" b="1" dirty="0">
                <a:solidFill>
                  <a:srgbClr val="FF0000"/>
                </a:solidFill>
              </a:rPr>
              <a:t>??</a:t>
            </a:r>
          </a:p>
        </p:txBody>
      </p:sp>
    </p:spTree>
    <p:extLst>
      <p:ext uri="{BB962C8B-B14F-4D97-AF65-F5344CB8AC3E}">
        <p14:creationId xmlns:p14="http://schemas.microsoft.com/office/powerpoint/2010/main" val="224416860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719D8D"/>
        </a:solidFill>
        <a:effectLst/>
      </p:bgPr>
    </p:bg>
    <p:spTree>
      <p:nvGrpSpPr>
        <p:cNvPr id="1" name=""/>
        <p:cNvGrpSpPr/>
        <p:nvPr/>
      </p:nvGrpSpPr>
      <p:grpSpPr>
        <a:xfrm>
          <a:off x="0" y="0"/>
          <a:ext cx="0" cy="0"/>
          <a:chOff x="0" y="0"/>
          <a:chExt cx="0" cy="0"/>
        </a:xfrm>
      </p:grpSpPr>
      <p:grpSp>
        <p:nvGrpSpPr>
          <p:cNvPr id="26" name="Group 25"/>
          <p:cNvGrpSpPr/>
          <p:nvPr/>
        </p:nvGrpSpPr>
        <p:grpSpPr>
          <a:xfrm>
            <a:off x="268971" y="1362950"/>
            <a:ext cx="11465830" cy="5168559"/>
            <a:chOff x="304358" y="718867"/>
            <a:chExt cx="12503885" cy="5854559"/>
          </a:xfrm>
        </p:grpSpPr>
        <p:grpSp>
          <p:nvGrpSpPr>
            <p:cNvPr id="17" name="Group 16"/>
            <p:cNvGrpSpPr/>
            <p:nvPr/>
          </p:nvGrpSpPr>
          <p:grpSpPr>
            <a:xfrm>
              <a:off x="304358" y="718867"/>
              <a:ext cx="12503885" cy="5854559"/>
              <a:chOff x="84440" y="672567"/>
              <a:chExt cx="12503885" cy="5854559"/>
            </a:xfrm>
          </p:grpSpPr>
          <p:cxnSp>
            <p:nvCxnSpPr>
              <p:cNvPr id="5" name="Straight Connector 4"/>
              <p:cNvCxnSpPr/>
              <p:nvPr/>
            </p:nvCxnSpPr>
            <p:spPr>
              <a:xfrm>
                <a:off x="1769236" y="672567"/>
                <a:ext cx="23149" cy="526648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a:cxnSpLocks/>
              </p:cNvCxnSpPr>
              <p:nvPr/>
            </p:nvCxnSpPr>
            <p:spPr>
              <a:xfrm>
                <a:off x="1792385" y="5939048"/>
                <a:ext cx="1079594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Rectangle 8"/>
              <p:cNvSpPr/>
              <p:nvPr/>
            </p:nvSpPr>
            <p:spPr>
              <a:xfrm>
                <a:off x="119957" y="4367680"/>
                <a:ext cx="1254109" cy="427067"/>
              </a:xfrm>
              <a:prstGeom prst="rect">
                <a:avLst/>
              </a:prstGeom>
              <a:noFill/>
            </p:spPr>
            <p:txBody>
              <a:bodyPr wrap="none" lIns="68580" tIns="34290" rIns="68580" bIns="34290">
                <a:spAutoFit/>
              </a:bodyPr>
              <a:lstStyle/>
              <a:p>
                <a:pPr algn="ctr" defTabSz="609630">
                  <a:defRPr/>
                </a:pPr>
                <a:r>
                  <a:rPr lang="fr-FR" sz="2000" b="1" dirty="0">
                    <a:ln w="0"/>
                    <a:solidFill>
                      <a:prstClr val="white"/>
                    </a:solidFill>
                    <a:effectLst>
                      <a:outerShdw blurRad="38100" dist="19050" dir="2700000" algn="tl" rotWithShape="0">
                        <a:prstClr val="black">
                          <a:alpha val="40000"/>
                        </a:prstClr>
                      </a:outerShdw>
                    </a:effectLst>
                    <a:latin typeface="IBM Plex Sans Bold"/>
                  </a:rPr>
                  <a:t>Individu</a:t>
                </a:r>
              </a:p>
            </p:txBody>
          </p:sp>
          <p:sp>
            <p:nvSpPr>
              <p:cNvPr id="10" name="Rectangle 9"/>
              <p:cNvSpPr/>
              <p:nvPr/>
            </p:nvSpPr>
            <p:spPr>
              <a:xfrm>
                <a:off x="214138" y="2612738"/>
                <a:ext cx="1182653" cy="427067"/>
              </a:xfrm>
              <a:prstGeom prst="rect">
                <a:avLst/>
              </a:prstGeom>
              <a:noFill/>
            </p:spPr>
            <p:txBody>
              <a:bodyPr wrap="square" lIns="68580" tIns="34290" rIns="68580" bIns="34290">
                <a:spAutoFit/>
              </a:bodyPr>
              <a:lstStyle/>
              <a:p>
                <a:pPr marL="0" marR="0" lvl="0" indent="0" algn="ctr" defTabSz="609630" rtl="0" eaLnBrk="1" fontAlgn="auto" latinLnBrk="0" hangingPunct="1">
                  <a:lnSpc>
                    <a:spcPct val="100000"/>
                  </a:lnSpc>
                  <a:spcBef>
                    <a:spcPts val="0"/>
                  </a:spcBef>
                  <a:spcAft>
                    <a:spcPts val="0"/>
                  </a:spcAft>
                  <a:buClrTx/>
                  <a:buSzTx/>
                  <a:buFontTx/>
                  <a:buNone/>
                  <a:tabLst/>
                  <a:defRPr/>
                </a:pPr>
                <a:r>
                  <a:rPr kumimoji="0" lang="fr-FR" sz="2000" b="1" i="0" u="none" strike="noStrike" cap="none" normalizeH="0" baseline="0" noProof="0" dirty="0">
                    <a:ln w="0"/>
                    <a:solidFill>
                      <a:prstClr val="white"/>
                    </a:solidFill>
                    <a:effectLst>
                      <a:outerShdw blurRad="38100" dist="19050" dir="2700000" algn="tl" rotWithShape="0">
                        <a:prstClr val="black">
                          <a:alpha val="40000"/>
                        </a:prstClr>
                      </a:outerShdw>
                    </a:effectLst>
                    <a:uLnTx/>
                    <a:uFillTx/>
                    <a:latin typeface="IBM Plex Sans Bold"/>
                    <a:ea typeface="+mn-ea"/>
                    <a:cs typeface="+mn-cs"/>
                  </a:rPr>
                  <a:t>Famille</a:t>
                </a:r>
              </a:p>
            </p:txBody>
          </p:sp>
          <p:sp>
            <p:nvSpPr>
              <p:cNvPr id="11" name="Rectangle 10"/>
              <p:cNvSpPr/>
              <p:nvPr/>
            </p:nvSpPr>
            <p:spPr>
              <a:xfrm>
                <a:off x="84440" y="825781"/>
                <a:ext cx="1502343" cy="427067"/>
              </a:xfrm>
              <a:prstGeom prst="rect">
                <a:avLst/>
              </a:prstGeom>
              <a:noFill/>
            </p:spPr>
            <p:txBody>
              <a:bodyPr wrap="none" lIns="68580" tIns="34290" rIns="68580" bIns="34290">
                <a:spAutoFit/>
              </a:bodyPr>
              <a:lstStyle/>
              <a:p>
                <a:pPr marL="0" marR="0" lvl="0" indent="0" algn="ctr" defTabSz="609630" rtl="0" eaLnBrk="1" fontAlgn="auto" latinLnBrk="0" hangingPunct="1">
                  <a:lnSpc>
                    <a:spcPct val="100000"/>
                  </a:lnSpc>
                  <a:spcBef>
                    <a:spcPts val="0"/>
                  </a:spcBef>
                  <a:spcAft>
                    <a:spcPts val="0"/>
                  </a:spcAft>
                  <a:buClrTx/>
                  <a:buSzTx/>
                  <a:buFontTx/>
                  <a:buNone/>
                  <a:tabLst/>
                  <a:defRPr/>
                </a:pPr>
                <a:r>
                  <a:rPr kumimoji="0" lang="fr-FR" sz="2000" b="1" i="0" u="none" strike="noStrike" cap="none" normalizeH="0" baseline="0" noProof="0" dirty="0">
                    <a:ln w="0"/>
                    <a:solidFill>
                      <a:prstClr val="white"/>
                    </a:solidFill>
                    <a:effectLst>
                      <a:outerShdw blurRad="38100" dist="19050" dir="2700000" algn="tl" rotWithShape="0">
                        <a:prstClr val="black">
                          <a:alpha val="40000"/>
                        </a:prstClr>
                      </a:outerShdw>
                    </a:effectLst>
                    <a:uLnTx/>
                    <a:uFillTx/>
                    <a:latin typeface="IBM Plex Sans Bold"/>
                    <a:ea typeface="+mn-ea"/>
                    <a:cs typeface="+mn-cs"/>
                  </a:rPr>
                  <a:t>Communauté</a:t>
                </a:r>
              </a:p>
            </p:txBody>
          </p:sp>
          <p:sp>
            <p:nvSpPr>
              <p:cNvPr id="12" name="Rectangle 11"/>
              <p:cNvSpPr/>
              <p:nvPr/>
            </p:nvSpPr>
            <p:spPr>
              <a:xfrm>
                <a:off x="2219176" y="6078042"/>
                <a:ext cx="1364241" cy="427067"/>
              </a:xfrm>
              <a:prstGeom prst="rect">
                <a:avLst/>
              </a:prstGeom>
              <a:noFill/>
            </p:spPr>
            <p:txBody>
              <a:bodyPr wrap="none" lIns="68580" tIns="34290" rIns="68580" bIns="34290">
                <a:spAutoFit/>
              </a:bodyPr>
              <a:lstStyle/>
              <a:p>
                <a:pPr marL="0" marR="0" lvl="0" indent="0" algn="ctr" defTabSz="609630" rtl="0" eaLnBrk="1" fontAlgn="auto" latinLnBrk="0" hangingPunct="1">
                  <a:lnSpc>
                    <a:spcPct val="100000"/>
                  </a:lnSpc>
                  <a:spcBef>
                    <a:spcPts val="0"/>
                  </a:spcBef>
                  <a:spcAft>
                    <a:spcPts val="0"/>
                  </a:spcAft>
                  <a:buClrTx/>
                  <a:buSzTx/>
                  <a:buFontTx/>
                  <a:buNone/>
                  <a:tabLst/>
                  <a:defRPr/>
                </a:pPr>
                <a:r>
                  <a:rPr kumimoji="0" lang="fr-FR" sz="2000" b="1" i="0" u="none" strike="noStrike" cap="none" normalizeH="0" baseline="0" noProof="0" dirty="0">
                    <a:ln w="0"/>
                    <a:solidFill>
                      <a:prstClr val="white"/>
                    </a:solidFill>
                    <a:effectLst>
                      <a:outerShdw blurRad="38100" dist="19050" dir="2700000" algn="tl" rotWithShape="0">
                        <a:prstClr val="black">
                          <a:alpha val="40000"/>
                        </a:prstClr>
                      </a:outerShdw>
                    </a:effectLst>
                    <a:uLnTx/>
                    <a:uFillTx/>
                    <a:latin typeface="IBM Plex Sans Bold"/>
                    <a:ea typeface="+mn-ea"/>
                    <a:cs typeface="+mn-cs"/>
                  </a:rPr>
                  <a:t>Physique</a:t>
                </a:r>
              </a:p>
            </p:txBody>
          </p:sp>
          <p:sp>
            <p:nvSpPr>
              <p:cNvPr id="13" name="Rectangle 12"/>
              <p:cNvSpPr/>
              <p:nvPr/>
            </p:nvSpPr>
            <p:spPr>
              <a:xfrm>
                <a:off x="3978249" y="6078042"/>
                <a:ext cx="2061745" cy="427067"/>
              </a:xfrm>
              <a:prstGeom prst="rect">
                <a:avLst/>
              </a:prstGeom>
              <a:noFill/>
            </p:spPr>
            <p:txBody>
              <a:bodyPr wrap="none" lIns="68580" tIns="34290" rIns="68580" bIns="34290">
                <a:spAutoFit/>
              </a:bodyPr>
              <a:lstStyle/>
              <a:p>
                <a:pPr algn="ctr" defTabSz="609630">
                  <a:defRPr/>
                </a:pPr>
                <a:r>
                  <a:rPr lang="fr-FR" sz="2000" b="1" dirty="0">
                    <a:ln w="0"/>
                    <a:solidFill>
                      <a:prstClr val="white"/>
                    </a:solidFill>
                    <a:effectLst>
                      <a:outerShdw blurRad="38100" dist="19050" dir="2700000" algn="tl" rotWithShape="0">
                        <a:prstClr val="black">
                          <a:alpha val="40000"/>
                        </a:prstClr>
                      </a:outerShdw>
                    </a:effectLst>
                    <a:latin typeface="IBM Plex Sans Bold"/>
                  </a:rPr>
                  <a:t>Psychologique</a:t>
                </a:r>
              </a:p>
            </p:txBody>
          </p:sp>
          <p:sp>
            <p:nvSpPr>
              <p:cNvPr id="14" name="Rectangle 13"/>
              <p:cNvSpPr/>
              <p:nvPr/>
            </p:nvSpPr>
            <p:spPr>
              <a:xfrm>
                <a:off x="6658351" y="6100059"/>
                <a:ext cx="1109015" cy="427067"/>
              </a:xfrm>
              <a:prstGeom prst="rect">
                <a:avLst/>
              </a:prstGeom>
              <a:noFill/>
            </p:spPr>
            <p:txBody>
              <a:bodyPr wrap="none" lIns="68580" tIns="34290" rIns="68580" bIns="34290">
                <a:spAutoFit/>
              </a:bodyPr>
              <a:lstStyle/>
              <a:p>
                <a:pPr marR="0" lvl="0" indent="0" algn="ctr" defTabSz="609630" fontAlgn="auto">
                  <a:lnSpc>
                    <a:spcPct val="100000"/>
                  </a:lnSpc>
                  <a:spcBef>
                    <a:spcPts val="0"/>
                  </a:spcBef>
                  <a:spcAft>
                    <a:spcPts val="0"/>
                  </a:spcAft>
                  <a:buClrTx/>
                  <a:buSzTx/>
                  <a:buFontTx/>
                  <a:buNone/>
                  <a:tabLst/>
                  <a:defRPr/>
                </a:pPr>
                <a:r>
                  <a:rPr lang="fr-FR" sz="2000" b="1" dirty="0">
                    <a:ln w="0"/>
                    <a:solidFill>
                      <a:prstClr val="white"/>
                    </a:solidFill>
                    <a:effectLst>
                      <a:outerShdw blurRad="38100" dist="19050" dir="2700000" algn="tl" rotWithShape="0">
                        <a:prstClr val="black">
                          <a:alpha val="40000"/>
                        </a:prstClr>
                      </a:outerShdw>
                    </a:effectLst>
                    <a:latin typeface="IBM Plex Sans Bold"/>
                  </a:rPr>
                  <a:t>Sociale</a:t>
                </a:r>
              </a:p>
            </p:txBody>
          </p:sp>
          <p:sp>
            <p:nvSpPr>
              <p:cNvPr id="15" name="Rectangle 14"/>
              <p:cNvSpPr/>
              <p:nvPr/>
            </p:nvSpPr>
            <p:spPr>
              <a:xfrm>
                <a:off x="8500465" y="6078042"/>
                <a:ext cx="1769808" cy="427067"/>
              </a:xfrm>
              <a:prstGeom prst="rect">
                <a:avLst/>
              </a:prstGeom>
              <a:noFill/>
            </p:spPr>
            <p:txBody>
              <a:bodyPr wrap="none" lIns="68580" tIns="34290" rIns="68580" bIns="34290">
                <a:spAutoFit/>
              </a:bodyPr>
              <a:lstStyle/>
              <a:p>
                <a:pPr marL="0" marR="0" lvl="0" indent="0" algn="ctr" defTabSz="609630" rtl="0" eaLnBrk="1" fontAlgn="auto" latinLnBrk="0" hangingPunct="1">
                  <a:lnSpc>
                    <a:spcPct val="100000"/>
                  </a:lnSpc>
                  <a:spcBef>
                    <a:spcPts val="0"/>
                  </a:spcBef>
                  <a:spcAft>
                    <a:spcPts val="0"/>
                  </a:spcAft>
                  <a:buClrTx/>
                  <a:buSzTx/>
                  <a:buFontTx/>
                  <a:buNone/>
                  <a:tabLst/>
                  <a:defRPr/>
                </a:pPr>
                <a:r>
                  <a:rPr kumimoji="0" lang="fr-FR" sz="2000" b="1" i="0" u="none" strike="noStrike" cap="none" normalizeH="0" baseline="0" noProof="0" dirty="0">
                    <a:ln w="0"/>
                    <a:solidFill>
                      <a:prstClr val="white"/>
                    </a:solidFill>
                    <a:effectLst>
                      <a:outerShdw blurRad="38100" dist="19050" dir="2700000" algn="tl" rotWithShape="0">
                        <a:prstClr val="black">
                          <a:alpha val="40000"/>
                        </a:prstClr>
                      </a:outerShdw>
                    </a:effectLst>
                    <a:uLnTx/>
                    <a:uFillTx/>
                    <a:latin typeface="IBM Plex Sans Bold"/>
                    <a:ea typeface="+mn-ea"/>
                    <a:cs typeface="+mn-cs"/>
                  </a:rPr>
                  <a:t>Économique</a:t>
                </a:r>
              </a:p>
            </p:txBody>
          </p:sp>
          <p:sp>
            <p:nvSpPr>
              <p:cNvPr id="16" name="Rectangle 15"/>
              <p:cNvSpPr/>
              <p:nvPr/>
            </p:nvSpPr>
            <p:spPr>
              <a:xfrm>
                <a:off x="10841862" y="6078042"/>
                <a:ext cx="1409693" cy="427067"/>
              </a:xfrm>
              <a:prstGeom prst="rect">
                <a:avLst/>
              </a:prstGeom>
              <a:noFill/>
            </p:spPr>
            <p:txBody>
              <a:bodyPr wrap="none" lIns="68580" tIns="34290" rIns="68580" bIns="34290">
                <a:spAutoFit/>
              </a:bodyPr>
              <a:lstStyle/>
              <a:p>
                <a:pPr marL="0" marR="0" lvl="0" indent="0" algn="ctr" defTabSz="609630" rtl="0" eaLnBrk="1" fontAlgn="auto" latinLnBrk="0" hangingPunct="1">
                  <a:lnSpc>
                    <a:spcPct val="100000"/>
                  </a:lnSpc>
                  <a:spcBef>
                    <a:spcPts val="0"/>
                  </a:spcBef>
                  <a:spcAft>
                    <a:spcPts val="0"/>
                  </a:spcAft>
                  <a:buClrTx/>
                  <a:buSzTx/>
                  <a:buFontTx/>
                  <a:buNone/>
                  <a:tabLst/>
                  <a:defRPr/>
                </a:pPr>
                <a:r>
                  <a:rPr kumimoji="0" lang="fr-FR" sz="2000" b="1" i="0" u="none" strike="noStrike" cap="none" normalizeH="0" baseline="0" noProof="0" dirty="0">
                    <a:ln w="0"/>
                    <a:solidFill>
                      <a:prstClr val="white"/>
                    </a:solidFill>
                    <a:effectLst>
                      <a:outerShdw blurRad="38100" dist="19050" dir="2700000" algn="tl" rotWithShape="0">
                        <a:prstClr val="black">
                          <a:alpha val="40000"/>
                        </a:prstClr>
                      </a:outerShdw>
                    </a:effectLst>
                    <a:uLnTx/>
                    <a:uFillTx/>
                    <a:latin typeface="IBM Plex Sans Bold"/>
                    <a:ea typeface="+mn-ea"/>
                    <a:cs typeface="+mn-cs"/>
                  </a:rPr>
                  <a:t>Juridique</a:t>
                </a:r>
              </a:p>
            </p:txBody>
          </p:sp>
        </p:grpSp>
        <p:sp>
          <p:nvSpPr>
            <p:cNvPr id="18" name="Rectangle 17"/>
            <p:cNvSpPr/>
            <p:nvPr/>
          </p:nvSpPr>
          <p:spPr>
            <a:xfrm>
              <a:off x="2129595" y="3833356"/>
              <a:ext cx="2144178" cy="2169546"/>
            </a:xfrm>
            <a:prstGeom prst="rect">
              <a:avLst/>
            </a:prstGeom>
            <a:noFill/>
          </p:spPr>
          <p:txBody>
            <a:bodyPr wrap="square" lIns="68580" tIns="34290" rIns="68580" bIns="34290">
              <a:spAutoFit/>
            </a:bodyPr>
            <a:lstStyle/>
            <a:p>
              <a:pPr marL="0" marR="0" lvl="0" indent="0" algn="l" defTabSz="609630" rtl="0" eaLnBrk="1" fontAlgn="auto" latinLnBrk="0" hangingPunct="1">
                <a:lnSpc>
                  <a:spcPct val="100000"/>
                </a:lnSpc>
                <a:spcBef>
                  <a:spcPts val="0"/>
                </a:spcBef>
                <a:spcAft>
                  <a:spcPts val="0"/>
                </a:spcAft>
                <a:buClrTx/>
                <a:buSzTx/>
                <a:buFontTx/>
                <a:buNone/>
                <a:tabLst/>
                <a:defRPr/>
              </a:pPr>
              <a:r>
                <a:rPr kumimoji="0" lang="fr-FR" sz="1333" b="0" i="0" u="none" strike="noStrike" cap="none" normalizeH="0" baseline="0" noProof="0" dirty="0">
                  <a:ln w="0"/>
                  <a:solidFill>
                    <a:prstClr val="white"/>
                  </a:solidFill>
                  <a:effectLst/>
                  <a:uLnTx/>
                  <a:uFillTx/>
                  <a:latin typeface="IBM Plex Sans Bold"/>
                  <a:ea typeface="+mn-ea"/>
                  <a:cs typeface="+mn-cs"/>
                </a:rPr>
                <a:t>Blessure, contraction d’une </a:t>
              </a:r>
              <a:r>
                <a:rPr lang="fr-FR" sz="1333" dirty="0">
                  <a:ln w="0"/>
                  <a:solidFill>
                    <a:prstClr val="white"/>
                  </a:solidFill>
                  <a:latin typeface="IBM Plex Sans Bold"/>
                </a:rPr>
                <a:t>MST</a:t>
              </a:r>
              <a:r>
                <a:rPr kumimoji="0" lang="fr-FR" sz="1333" b="0" i="0" u="none" strike="noStrike" cap="none" normalizeH="0" baseline="0" noProof="0" dirty="0">
                  <a:ln w="0"/>
                  <a:solidFill>
                    <a:prstClr val="white"/>
                  </a:solidFill>
                  <a:effectLst/>
                  <a:uLnTx/>
                  <a:uFillTx/>
                  <a:latin typeface="IBM Plex Sans Bold"/>
                  <a:ea typeface="+mn-ea"/>
                  <a:cs typeface="+mn-cs"/>
                </a:rPr>
                <a:t>, infection, infertilité, grossesse, avortement pratiqué dans des conditions dangereuses, automutilation, « crime d’honneur », etc.</a:t>
              </a:r>
              <a:r>
                <a:rPr kumimoji="0" lang="fr-FR" sz="1200" b="0" i="0" u="none" strike="noStrike" cap="none" normalizeH="0" baseline="0" noProof="0" dirty="0">
                  <a:ln w="0"/>
                  <a:solidFill>
                    <a:prstClr val="white"/>
                  </a:solidFill>
                  <a:effectLst/>
                  <a:uLnTx/>
                  <a:uFillTx/>
                  <a:latin typeface="IBM Plex Sans Bold"/>
                  <a:ea typeface="+mn-ea"/>
                  <a:cs typeface="+mn-cs"/>
                </a:rPr>
                <a:t>  </a:t>
              </a:r>
            </a:p>
          </p:txBody>
        </p:sp>
        <p:sp>
          <p:nvSpPr>
            <p:cNvPr id="20" name="TextBox 19"/>
            <p:cNvSpPr txBox="1"/>
            <p:nvPr/>
          </p:nvSpPr>
          <p:spPr>
            <a:xfrm>
              <a:off x="4160509" y="3611473"/>
              <a:ext cx="2389825" cy="2428037"/>
            </a:xfrm>
            <a:prstGeom prst="rect">
              <a:avLst/>
            </a:prstGeom>
            <a:noFill/>
          </p:spPr>
          <p:txBody>
            <a:bodyPr wrap="square" rtlCol="0">
              <a:spAutoFit/>
            </a:bodyPr>
            <a:lstStyle/>
            <a:p>
              <a:pPr marL="0" marR="0" lvl="0" indent="0" algn="l" defTabSz="609630" rtl="0" eaLnBrk="1" fontAlgn="auto" latinLnBrk="0" hangingPunct="1">
                <a:lnSpc>
                  <a:spcPct val="100000"/>
                </a:lnSpc>
                <a:spcBef>
                  <a:spcPts val="0"/>
                </a:spcBef>
                <a:spcAft>
                  <a:spcPts val="0"/>
                </a:spcAft>
                <a:buClrTx/>
                <a:buSzTx/>
                <a:buFontTx/>
                <a:buNone/>
                <a:tabLst/>
                <a:defRPr/>
              </a:pPr>
              <a:r>
                <a:rPr kumimoji="0" lang="fr-FR" sz="1333" b="0" i="0" u="none" strike="noStrike" cap="none" normalizeH="0" baseline="0" noProof="0" dirty="0">
                  <a:ln>
                    <a:noFill/>
                  </a:ln>
                  <a:solidFill>
                    <a:prstClr val="white"/>
                  </a:solidFill>
                  <a:effectLst/>
                  <a:uLnTx/>
                  <a:uFillTx/>
                  <a:latin typeface="IBM Plex Sans Bold"/>
                  <a:ea typeface="+mn-ea"/>
                  <a:cs typeface="+mn-cs"/>
                </a:rPr>
                <a:t>Détresse, sentiment de culpabilité, dépression, TSPT, troubles du comportement alimentaire, pensées suicidaires, anxiété, peur des représailles, insomnie, incapacité à assumer les tâches du quotidien, etc. </a:t>
              </a:r>
            </a:p>
          </p:txBody>
        </p:sp>
        <p:sp>
          <p:nvSpPr>
            <p:cNvPr id="21" name="TextBox 20"/>
            <p:cNvSpPr txBox="1"/>
            <p:nvPr/>
          </p:nvSpPr>
          <p:spPr>
            <a:xfrm>
              <a:off x="6657572" y="4269989"/>
              <a:ext cx="2013261" cy="1498657"/>
            </a:xfrm>
            <a:prstGeom prst="rect">
              <a:avLst/>
            </a:prstGeom>
            <a:noFill/>
          </p:spPr>
          <p:txBody>
            <a:bodyPr wrap="square" rtlCol="0">
              <a:spAutoFit/>
            </a:bodyPr>
            <a:lstStyle/>
            <a:p>
              <a:pPr marL="0" marR="0" lvl="0" indent="0" algn="l" defTabSz="609630" rtl="0" eaLnBrk="1" fontAlgn="auto" latinLnBrk="0" hangingPunct="1">
                <a:lnSpc>
                  <a:spcPct val="100000"/>
                </a:lnSpc>
                <a:spcBef>
                  <a:spcPts val="0"/>
                </a:spcBef>
                <a:spcAft>
                  <a:spcPts val="0"/>
                </a:spcAft>
                <a:buClrTx/>
                <a:buSzTx/>
                <a:buFontTx/>
                <a:buNone/>
                <a:tabLst/>
                <a:defRPr/>
              </a:pPr>
              <a:r>
                <a:rPr kumimoji="0" lang="fr-FR" sz="1333" b="0" i="0" u="none" strike="noStrike" cap="none" normalizeH="0" baseline="0" noProof="0" dirty="0">
                  <a:ln>
                    <a:noFill/>
                  </a:ln>
                  <a:solidFill>
                    <a:prstClr val="white"/>
                  </a:solidFill>
                  <a:effectLst/>
                  <a:uLnTx/>
                  <a:uFillTx/>
                  <a:latin typeface="IBM Plex Sans Bold"/>
                  <a:ea typeface="+mn-ea"/>
                  <a:cs typeface="+mn-cs"/>
                </a:rPr>
                <a:t>Stigmatisation, rejet, revictimisation, abandon par l’époux, la famille ou la communauté.</a:t>
              </a:r>
            </a:p>
          </p:txBody>
        </p:sp>
        <p:sp>
          <p:nvSpPr>
            <p:cNvPr id="22" name="TextBox 21"/>
            <p:cNvSpPr txBox="1"/>
            <p:nvPr/>
          </p:nvSpPr>
          <p:spPr>
            <a:xfrm>
              <a:off x="8704163" y="4302997"/>
              <a:ext cx="2120499" cy="1498656"/>
            </a:xfrm>
            <a:prstGeom prst="rect">
              <a:avLst/>
            </a:prstGeom>
            <a:noFill/>
          </p:spPr>
          <p:txBody>
            <a:bodyPr wrap="square" rtlCol="0">
              <a:spAutoFit/>
            </a:bodyPr>
            <a:lstStyle/>
            <a:p>
              <a:pPr marL="0" marR="0" lvl="0" indent="0" algn="l" defTabSz="609630" rtl="0" eaLnBrk="1" fontAlgn="auto" latinLnBrk="0" hangingPunct="1">
                <a:lnSpc>
                  <a:spcPct val="100000"/>
                </a:lnSpc>
                <a:spcBef>
                  <a:spcPts val="0"/>
                </a:spcBef>
                <a:spcAft>
                  <a:spcPts val="0"/>
                </a:spcAft>
                <a:buClrTx/>
                <a:buSzTx/>
                <a:buFontTx/>
                <a:buNone/>
                <a:tabLst/>
                <a:defRPr/>
              </a:pPr>
              <a:r>
                <a:rPr kumimoji="0" lang="fr-FR" sz="1333" b="0" i="0" u="none" strike="noStrike" cap="none" normalizeH="0" baseline="0" noProof="0" dirty="0">
                  <a:ln>
                    <a:noFill/>
                  </a:ln>
                  <a:solidFill>
                    <a:prstClr val="white"/>
                  </a:solidFill>
                  <a:effectLst/>
                  <a:uLnTx/>
                  <a:uFillTx/>
                  <a:latin typeface="IBM Plex Sans Bold"/>
                  <a:ea typeface="+mn-ea"/>
                  <a:cs typeface="+mn-cs"/>
                </a:rPr>
                <a:t>Perte des moyens de subsistance, résultant souvent des impacts physiques, psychologiques ou sociaux.</a:t>
              </a:r>
            </a:p>
          </p:txBody>
        </p:sp>
        <p:sp>
          <p:nvSpPr>
            <p:cNvPr id="23" name="TextBox 22"/>
            <p:cNvSpPr txBox="1"/>
            <p:nvPr/>
          </p:nvSpPr>
          <p:spPr>
            <a:xfrm>
              <a:off x="10914359" y="2708797"/>
              <a:ext cx="1883927" cy="1731002"/>
            </a:xfrm>
            <a:prstGeom prst="rect">
              <a:avLst/>
            </a:prstGeom>
            <a:noFill/>
          </p:spPr>
          <p:txBody>
            <a:bodyPr wrap="square" rtlCol="0">
              <a:spAutoFit/>
            </a:bodyPr>
            <a:lstStyle/>
            <a:p>
              <a:pPr marL="0" marR="0" lvl="0" indent="0" algn="l" defTabSz="609630" rtl="0" eaLnBrk="1" fontAlgn="auto" latinLnBrk="0" hangingPunct="1">
                <a:lnSpc>
                  <a:spcPct val="100000"/>
                </a:lnSpc>
                <a:spcBef>
                  <a:spcPts val="0"/>
                </a:spcBef>
                <a:spcAft>
                  <a:spcPts val="0"/>
                </a:spcAft>
                <a:buClrTx/>
                <a:buSzTx/>
                <a:buFontTx/>
                <a:buNone/>
                <a:tabLst/>
                <a:defRPr/>
              </a:pPr>
              <a:r>
                <a:rPr kumimoji="0" lang="fr-FR" sz="1333" b="0" i="0" u="none" strike="noStrike" cap="none" normalizeH="0" baseline="0" noProof="0" dirty="0">
                  <a:ln>
                    <a:noFill/>
                  </a:ln>
                  <a:solidFill>
                    <a:prstClr val="white"/>
                  </a:solidFill>
                  <a:effectLst/>
                  <a:uLnTx/>
                  <a:uFillTx/>
                  <a:latin typeface="IBM Plex Sans Bold"/>
                  <a:ea typeface="+mn-ea"/>
                  <a:cs typeface="+mn-cs"/>
                </a:rPr>
                <a:t>Signalement obligatoire, criminalisation de relations homosexuelles, mariage forcé avec l’auteur des violences sexuelles, procédures juridiques longues et sans égard pour les victimes.</a:t>
              </a:r>
            </a:p>
          </p:txBody>
        </p:sp>
        <p:sp>
          <p:nvSpPr>
            <p:cNvPr id="24" name="TextBox 23"/>
            <p:cNvSpPr txBox="1"/>
            <p:nvPr/>
          </p:nvSpPr>
          <p:spPr>
            <a:xfrm>
              <a:off x="4168106" y="1827482"/>
              <a:ext cx="2305859" cy="1731002"/>
            </a:xfrm>
            <a:prstGeom prst="rect">
              <a:avLst/>
            </a:prstGeom>
            <a:noFill/>
          </p:spPr>
          <p:txBody>
            <a:bodyPr wrap="square" rtlCol="0">
              <a:spAutoFit/>
            </a:bodyPr>
            <a:lstStyle/>
            <a:p>
              <a:pPr marL="0" marR="0" lvl="0" indent="0" algn="l" defTabSz="609630" rtl="0" eaLnBrk="1" fontAlgn="auto" latinLnBrk="0" hangingPunct="1">
                <a:lnSpc>
                  <a:spcPct val="100000"/>
                </a:lnSpc>
                <a:spcBef>
                  <a:spcPts val="0"/>
                </a:spcBef>
                <a:spcAft>
                  <a:spcPts val="0"/>
                </a:spcAft>
                <a:buClrTx/>
                <a:buSzTx/>
                <a:buFontTx/>
                <a:buNone/>
                <a:tabLst/>
                <a:defRPr/>
              </a:pPr>
              <a:r>
                <a:rPr kumimoji="0" lang="fr-FR" sz="1333" b="0" i="0" u="none" strike="noStrike" cap="none" normalizeH="0" baseline="0" noProof="0" dirty="0">
                  <a:ln>
                    <a:noFill/>
                  </a:ln>
                  <a:solidFill>
                    <a:prstClr val="white"/>
                  </a:solidFill>
                  <a:effectLst/>
                  <a:uLnTx/>
                  <a:uFillTx/>
                  <a:latin typeface="IBM Plex Sans Bold"/>
                  <a:ea typeface="+mn-ea"/>
                  <a:cs typeface="+mn-cs"/>
                </a:rPr>
                <a:t>Sentiment de culpabilité face à l’incapacité d’intervenir, détresse, traumatisme après avoir été forcé à être témoin d’agressions.</a:t>
              </a:r>
            </a:p>
          </p:txBody>
        </p:sp>
        <p:sp>
          <p:nvSpPr>
            <p:cNvPr id="25" name="TextBox 24"/>
            <p:cNvSpPr txBox="1"/>
            <p:nvPr/>
          </p:nvSpPr>
          <p:spPr>
            <a:xfrm>
              <a:off x="6602553" y="1995435"/>
              <a:ext cx="2068280" cy="1498656"/>
            </a:xfrm>
            <a:prstGeom prst="rect">
              <a:avLst/>
            </a:prstGeom>
            <a:noFill/>
          </p:spPr>
          <p:txBody>
            <a:bodyPr wrap="square" rtlCol="0">
              <a:spAutoFit/>
            </a:bodyPr>
            <a:lstStyle/>
            <a:p>
              <a:pPr marL="0" marR="0" lvl="0" indent="0" algn="l" defTabSz="609630" rtl="0" eaLnBrk="1" fontAlgn="auto" latinLnBrk="0" hangingPunct="1">
                <a:lnSpc>
                  <a:spcPct val="100000"/>
                </a:lnSpc>
                <a:spcBef>
                  <a:spcPts val="0"/>
                </a:spcBef>
                <a:spcAft>
                  <a:spcPts val="0"/>
                </a:spcAft>
                <a:buClrTx/>
                <a:buSzTx/>
                <a:buFontTx/>
                <a:buNone/>
                <a:tabLst/>
                <a:defRPr/>
              </a:pPr>
              <a:r>
                <a:rPr kumimoji="0" lang="fr-FR" sz="1333" b="0" i="0" u="none" strike="noStrike" cap="none" normalizeH="0" baseline="0" noProof="0" dirty="0">
                  <a:ln>
                    <a:noFill/>
                  </a:ln>
                  <a:solidFill>
                    <a:prstClr val="white"/>
                  </a:solidFill>
                  <a:effectLst/>
                  <a:uLnTx/>
                  <a:uFillTx/>
                  <a:latin typeface="IBM Plex Sans Bold"/>
                  <a:ea typeface="+mn-ea"/>
                  <a:cs typeface="+mn-cs"/>
                </a:rPr>
                <a:t>Sentiment de honte associé à la violence sexuelle, ostracisme potentiel de la communauté, obligation de déménager par peur de représailles.</a:t>
              </a:r>
            </a:p>
          </p:txBody>
        </p:sp>
      </p:grpSp>
      <p:sp>
        <p:nvSpPr>
          <p:cNvPr id="27" name="TextBox 26"/>
          <p:cNvSpPr txBox="1"/>
          <p:nvPr/>
        </p:nvSpPr>
        <p:spPr>
          <a:xfrm>
            <a:off x="7964190" y="2712332"/>
            <a:ext cx="2114430" cy="1528175"/>
          </a:xfrm>
          <a:prstGeom prst="rect">
            <a:avLst/>
          </a:prstGeom>
          <a:noFill/>
        </p:spPr>
        <p:txBody>
          <a:bodyPr wrap="square" rtlCol="0">
            <a:spAutoFit/>
          </a:bodyPr>
          <a:lstStyle/>
          <a:p>
            <a:pPr marL="0" marR="0" lvl="0" indent="0" algn="l" defTabSz="609630" rtl="0" eaLnBrk="1" fontAlgn="auto" latinLnBrk="0" hangingPunct="1">
              <a:lnSpc>
                <a:spcPct val="100000"/>
              </a:lnSpc>
              <a:spcBef>
                <a:spcPts val="0"/>
              </a:spcBef>
              <a:spcAft>
                <a:spcPts val="0"/>
              </a:spcAft>
              <a:buClrTx/>
              <a:buSzTx/>
              <a:buFontTx/>
              <a:buNone/>
              <a:tabLst/>
              <a:defRPr/>
            </a:pPr>
            <a:r>
              <a:rPr kumimoji="0" lang="fr-FR" sz="1333" b="0" i="0" u="none" strike="noStrike" cap="none" normalizeH="0" baseline="0" noProof="0" dirty="0">
                <a:ln>
                  <a:noFill/>
                </a:ln>
                <a:solidFill>
                  <a:prstClr val="white"/>
                </a:solidFill>
                <a:effectLst/>
                <a:uLnTx/>
                <a:uFillTx/>
                <a:latin typeface="IBM Plex Sans Bold"/>
                <a:ea typeface="+mn-ea"/>
                <a:cs typeface="+mn-cs"/>
              </a:rPr>
              <a:t>Ostracisme de la communauté résultant de la perte des moyens de subsistance suite à l’association avec les personnes  victimes / survivantes. </a:t>
            </a:r>
          </a:p>
        </p:txBody>
      </p:sp>
      <p:sp>
        <p:nvSpPr>
          <p:cNvPr id="28" name="TextBox 27"/>
          <p:cNvSpPr txBox="1"/>
          <p:nvPr/>
        </p:nvSpPr>
        <p:spPr>
          <a:xfrm>
            <a:off x="6023980" y="1366358"/>
            <a:ext cx="1864409" cy="502573"/>
          </a:xfrm>
          <a:prstGeom prst="rect">
            <a:avLst/>
          </a:prstGeom>
          <a:noFill/>
        </p:spPr>
        <p:txBody>
          <a:bodyPr wrap="square" rtlCol="0">
            <a:spAutoFit/>
          </a:bodyPr>
          <a:lstStyle/>
          <a:p>
            <a:pPr marL="0" marR="0" lvl="0" indent="0" algn="just" defTabSz="609630" rtl="0" eaLnBrk="1" fontAlgn="auto" latinLnBrk="0" hangingPunct="1">
              <a:lnSpc>
                <a:spcPct val="100000"/>
              </a:lnSpc>
              <a:spcBef>
                <a:spcPts val="0"/>
              </a:spcBef>
              <a:spcAft>
                <a:spcPts val="0"/>
              </a:spcAft>
              <a:buClrTx/>
              <a:buSzTx/>
              <a:buFontTx/>
              <a:buNone/>
              <a:tabLst/>
              <a:defRPr/>
            </a:pPr>
            <a:r>
              <a:rPr kumimoji="0" lang="fr-FR" sz="1333" b="0" i="0" u="none" strike="noStrike" cap="none" normalizeH="0" baseline="0" noProof="0" dirty="0">
                <a:ln>
                  <a:noFill/>
                </a:ln>
                <a:solidFill>
                  <a:prstClr val="white"/>
                </a:solidFill>
                <a:effectLst/>
                <a:uLnTx/>
                <a:uFillTx/>
                <a:latin typeface="IBM Plex Sans Bold"/>
                <a:ea typeface="+mn-ea"/>
                <a:cs typeface="+mn-cs"/>
              </a:rPr>
              <a:t>Rupture des liens communautaires.</a:t>
            </a:r>
          </a:p>
        </p:txBody>
      </p:sp>
      <p:sp>
        <p:nvSpPr>
          <p:cNvPr id="29" name="TextBox 28"/>
          <p:cNvSpPr txBox="1"/>
          <p:nvPr/>
        </p:nvSpPr>
        <p:spPr>
          <a:xfrm>
            <a:off x="3811956" y="1319732"/>
            <a:ext cx="1910560" cy="912814"/>
          </a:xfrm>
          <a:prstGeom prst="rect">
            <a:avLst/>
          </a:prstGeom>
          <a:noFill/>
        </p:spPr>
        <p:txBody>
          <a:bodyPr wrap="square" rtlCol="0">
            <a:spAutoFit/>
          </a:bodyPr>
          <a:lstStyle/>
          <a:p>
            <a:pPr marL="0" marR="0" lvl="0" indent="0" defTabSz="609630" rtl="0" eaLnBrk="1" fontAlgn="auto" latinLnBrk="0" hangingPunct="1">
              <a:lnSpc>
                <a:spcPct val="100000"/>
              </a:lnSpc>
              <a:spcBef>
                <a:spcPts val="0"/>
              </a:spcBef>
              <a:spcAft>
                <a:spcPts val="0"/>
              </a:spcAft>
              <a:buClrTx/>
              <a:buSzTx/>
              <a:buFontTx/>
              <a:buNone/>
              <a:tabLst/>
              <a:defRPr/>
            </a:pPr>
            <a:r>
              <a:rPr kumimoji="0" lang="fr-FR" sz="1333" b="0" i="0" u="none" strike="noStrike" cap="none" normalizeH="0" baseline="0" noProof="0" dirty="0">
                <a:ln>
                  <a:noFill/>
                </a:ln>
                <a:solidFill>
                  <a:prstClr val="white"/>
                </a:solidFill>
                <a:effectLst/>
                <a:uLnTx/>
                <a:uFillTx/>
                <a:latin typeface="IBM Plex Sans Bold"/>
                <a:ea typeface="+mn-ea"/>
                <a:cs typeface="+mn-cs"/>
              </a:rPr>
              <a:t>Traumatisme vicariant résultant de la mémoire collective.</a:t>
            </a:r>
          </a:p>
        </p:txBody>
      </p:sp>
      <p:sp>
        <p:nvSpPr>
          <p:cNvPr id="30" name="TextBox 29"/>
          <p:cNvSpPr txBox="1"/>
          <p:nvPr/>
        </p:nvSpPr>
        <p:spPr>
          <a:xfrm>
            <a:off x="7966281" y="1372003"/>
            <a:ext cx="1799583" cy="1117935"/>
          </a:xfrm>
          <a:prstGeom prst="rect">
            <a:avLst/>
          </a:prstGeom>
          <a:noFill/>
        </p:spPr>
        <p:txBody>
          <a:bodyPr wrap="square" rtlCol="0">
            <a:spAutoFit/>
          </a:bodyPr>
          <a:lstStyle/>
          <a:p>
            <a:pPr marL="0" marR="0" lvl="0" indent="0" algn="l" defTabSz="609630" rtl="0" eaLnBrk="1" fontAlgn="auto" latinLnBrk="0" hangingPunct="1">
              <a:lnSpc>
                <a:spcPct val="100000"/>
              </a:lnSpc>
              <a:spcBef>
                <a:spcPts val="0"/>
              </a:spcBef>
              <a:spcAft>
                <a:spcPts val="0"/>
              </a:spcAft>
              <a:buClrTx/>
              <a:buSzTx/>
              <a:buFontTx/>
              <a:buNone/>
              <a:tabLst/>
              <a:defRPr/>
            </a:pPr>
            <a:r>
              <a:rPr kumimoji="0" lang="fr-FR" sz="1333" b="0" i="0" u="none" strike="noStrike" cap="none" normalizeH="0" baseline="0" noProof="0" dirty="0">
                <a:ln>
                  <a:noFill/>
                </a:ln>
                <a:solidFill>
                  <a:prstClr val="white"/>
                </a:solidFill>
                <a:effectLst/>
                <a:uLnTx/>
                <a:uFillTx/>
                <a:latin typeface="IBM Plex Sans Bold"/>
                <a:ea typeface="+mn-ea"/>
                <a:cs typeface="+mn-cs"/>
              </a:rPr>
              <a:t>Perte des moyens de subsistance due à l’effondrement du fonctionnement communautaire.</a:t>
            </a:r>
          </a:p>
        </p:txBody>
      </p:sp>
      <p:sp>
        <p:nvSpPr>
          <p:cNvPr id="31" name="Freeform 30"/>
          <p:cNvSpPr/>
          <p:nvPr/>
        </p:nvSpPr>
        <p:spPr>
          <a:xfrm>
            <a:off x="2063371" y="1107717"/>
            <a:ext cx="1343246" cy="1077435"/>
          </a:xfrm>
          <a:custGeom>
            <a:avLst/>
            <a:gdLst>
              <a:gd name="connsiteX0" fmla="*/ 3877734 w 6316134"/>
              <a:gd name="connsiteY0" fmla="*/ 1464734 h 5207000"/>
              <a:gd name="connsiteX1" fmla="*/ 3742267 w 6316134"/>
              <a:gd name="connsiteY1" fmla="*/ 1473200 h 5207000"/>
              <a:gd name="connsiteX2" fmla="*/ 3699934 w 6316134"/>
              <a:gd name="connsiteY2" fmla="*/ 1507067 h 5207000"/>
              <a:gd name="connsiteX3" fmla="*/ 3496734 w 6316134"/>
              <a:gd name="connsiteY3" fmla="*/ 1667934 h 5207000"/>
              <a:gd name="connsiteX4" fmla="*/ 3429000 w 6316134"/>
              <a:gd name="connsiteY4" fmla="*/ 1752600 h 5207000"/>
              <a:gd name="connsiteX5" fmla="*/ 3378200 w 6316134"/>
              <a:gd name="connsiteY5" fmla="*/ 1828800 h 5207000"/>
              <a:gd name="connsiteX6" fmla="*/ 3318934 w 6316134"/>
              <a:gd name="connsiteY6" fmla="*/ 1896534 h 5207000"/>
              <a:gd name="connsiteX7" fmla="*/ 3302000 w 6316134"/>
              <a:gd name="connsiteY7" fmla="*/ 1972734 h 5207000"/>
              <a:gd name="connsiteX8" fmla="*/ 3310467 w 6316134"/>
              <a:gd name="connsiteY8" fmla="*/ 2082800 h 5207000"/>
              <a:gd name="connsiteX9" fmla="*/ 3335867 w 6316134"/>
              <a:gd name="connsiteY9" fmla="*/ 2116667 h 5207000"/>
              <a:gd name="connsiteX10" fmla="*/ 3386667 w 6316134"/>
              <a:gd name="connsiteY10" fmla="*/ 2150534 h 5207000"/>
              <a:gd name="connsiteX11" fmla="*/ 3539067 w 6316134"/>
              <a:gd name="connsiteY11" fmla="*/ 2175934 h 5207000"/>
              <a:gd name="connsiteX12" fmla="*/ 3970867 w 6316134"/>
              <a:gd name="connsiteY12" fmla="*/ 2150534 h 5207000"/>
              <a:gd name="connsiteX13" fmla="*/ 4461934 w 6316134"/>
              <a:gd name="connsiteY13" fmla="*/ 1998134 h 5207000"/>
              <a:gd name="connsiteX14" fmla="*/ 4986867 w 6316134"/>
              <a:gd name="connsiteY14" fmla="*/ 1752600 h 5207000"/>
              <a:gd name="connsiteX15" fmla="*/ 5046134 w 6316134"/>
              <a:gd name="connsiteY15" fmla="*/ 1684867 h 5207000"/>
              <a:gd name="connsiteX16" fmla="*/ 5088467 w 6316134"/>
              <a:gd name="connsiteY16" fmla="*/ 1625600 h 5207000"/>
              <a:gd name="connsiteX17" fmla="*/ 4842934 w 6316134"/>
              <a:gd name="connsiteY17" fmla="*/ 1617134 h 5207000"/>
              <a:gd name="connsiteX18" fmla="*/ 4461934 w 6316134"/>
              <a:gd name="connsiteY18" fmla="*/ 1727200 h 5207000"/>
              <a:gd name="connsiteX19" fmla="*/ 3937000 w 6316134"/>
              <a:gd name="connsiteY19" fmla="*/ 1964267 h 5207000"/>
              <a:gd name="connsiteX20" fmla="*/ 3699934 w 6316134"/>
              <a:gd name="connsiteY20" fmla="*/ 2057400 h 5207000"/>
              <a:gd name="connsiteX21" fmla="*/ 3268134 w 6316134"/>
              <a:gd name="connsiteY21" fmla="*/ 2252134 h 5207000"/>
              <a:gd name="connsiteX22" fmla="*/ 3158067 w 6316134"/>
              <a:gd name="connsiteY22" fmla="*/ 2277534 h 5207000"/>
              <a:gd name="connsiteX23" fmla="*/ 3073400 w 6316134"/>
              <a:gd name="connsiteY23" fmla="*/ 2269067 h 5207000"/>
              <a:gd name="connsiteX24" fmla="*/ 3081867 w 6316134"/>
              <a:gd name="connsiteY24" fmla="*/ 2209800 h 5207000"/>
              <a:gd name="connsiteX25" fmla="*/ 3132667 w 6316134"/>
              <a:gd name="connsiteY25" fmla="*/ 2133600 h 5207000"/>
              <a:gd name="connsiteX26" fmla="*/ 3285067 w 6316134"/>
              <a:gd name="connsiteY26" fmla="*/ 1862667 h 5207000"/>
              <a:gd name="connsiteX27" fmla="*/ 3496734 w 6316134"/>
              <a:gd name="connsiteY27" fmla="*/ 1574800 h 5207000"/>
              <a:gd name="connsiteX28" fmla="*/ 3581400 w 6316134"/>
              <a:gd name="connsiteY28" fmla="*/ 1422400 h 5207000"/>
              <a:gd name="connsiteX29" fmla="*/ 3623734 w 6316134"/>
              <a:gd name="connsiteY29" fmla="*/ 1337734 h 5207000"/>
              <a:gd name="connsiteX30" fmla="*/ 3657600 w 6316134"/>
              <a:gd name="connsiteY30" fmla="*/ 1286934 h 5207000"/>
              <a:gd name="connsiteX31" fmla="*/ 3632200 w 6316134"/>
              <a:gd name="connsiteY31" fmla="*/ 1337734 h 5207000"/>
              <a:gd name="connsiteX32" fmla="*/ 3589867 w 6316134"/>
              <a:gd name="connsiteY32" fmla="*/ 1439334 h 5207000"/>
              <a:gd name="connsiteX33" fmla="*/ 3522134 w 6316134"/>
              <a:gd name="connsiteY33" fmla="*/ 1625600 h 5207000"/>
              <a:gd name="connsiteX34" fmla="*/ 3429000 w 6316134"/>
              <a:gd name="connsiteY34" fmla="*/ 2142067 h 5207000"/>
              <a:gd name="connsiteX35" fmla="*/ 3344334 w 6316134"/>
              <a:gd name="connsiteY35" fmla="*/ 2506134 h 5207000"/>
              <a:gd name="connsiteX36" fmla="*/ 3318934 w 6316134"/>
              <a:gd name="connsiteY36" fmla="*/ 3158067 h 5207000"/>
              <a:gd name="connsiteX37" fmla="*/ 3403600 w 6316134"/>
              <a:gd name="connsiteY37" fmla="*/ 3589867 h 5207000"/>
              <a:gd name="connsiteX38" fmla="*/ 3471334 w 6316134"/>
              <a:gd name="connsiteY38" fmla="*/ 3632200 h 5207000"/>
              <a:gd name="connsiteX39" fmla="*/ 3589867 w 6316134"/>
              <a:gd name="connsiteY39" fmla="*/ 3640667 h 5207000"/>
              <a:gd name="connsiteX40" fmla="*/ 3877734 w 6316134"/>
              <a:gd name="connsiteY40" fmla="*/ 3623734 h 5207000"/>
              <a:gd name="connsiteX41" fmla="*/ 4089400 w 6316134"/>
              <a:gd name="connsiteY41" fmla="*/ 3547534 h 5207000"/>
              <a:gd name="connsiteX42" fmla="*/ 4580467 w 6316134"/>
              <a:gd name="connsiteY42" fmla="*/ 3285067 h 5207000"/>
              <a:gd name="connsiteX43" fmla="*/ 4766734 w 6316134"/>
              <a:gd name="connsiteY43" fmla="*/ 3141134 h 5207000"/>
              <a:gd name="connsiteX44" fmla="*/ 5088467 w 6316134"/>
              <a:gd name="connsiteY44" fmla="*/ 2700867 h 5207000"/>
              <a:gd name="connsiteX45" fmla="*/ 5164667 w 6316134"/>
              <a:gd name="connsiteY45" fmla="*/ 2565400 h 5207000"/>
              <a:gd name="connsiteX46" fmla="*/ 5207000 w 6316134"/>
              <a:gd name="connsiteY46" fmla="*/ 2472267 h 5207000"/>
              <a:gd name="connsiteX47" fmla="*/ 5215467 w 6316134"/>
              <a:gd name="connsiteY47" fmla="*/ 2455334 h 5207000"/>
              <a:gd name="connsiteX48" fmla="*/ 5164667 w 6316134"/>
              <a:gd name="connsiteY48" fmla="*/ 2523067 h 5207000"/>
              <a:gd name="connsiteX49" fmla="*/ 4986867 w 6316134"/>
              <a:gd name="connsiteY49" fmla="*/ 2768600 h 5207000"/>
              <a:gd name="connsiteX50" fmla="*/ 4461934 w 6316134"/>
              <a:gd name="connsiteY50" fmla="*/ 3234267 h 5207000"/>
              <a:gd name="connsiteX51" fmla="*/ 3623734 w 6316134"/>
              <a:gd name="connsiteY51" fmla="*/ 3564467 h 5207000"/>
              <a:gd name="connsiteX52" fmla="*/ 3048000 w 6316134"/>
              <a:gd name="connsiteY52" fmla="*/ 3598334 h 5207000"/>
              <a:gd name="connsiteX53" fmla="*/ 1845734 w 6316134"/>
              <a:gd name="connsiteY53" fmla="*/ 3496734 h 5207000"/>
              <a:gd name="connsiteX54" fmla="*/ 1261534 w 6316134"/>
              <a:gd name="connsiteY54" fmla="*/ 3268134 h 5207000"/>
              <a:gd name="connsiteX55" fmla="*/ 719667 w 6316134"/>
              <a:gd name="connsiteY55" fmla="*/ 2937934 h 5207000"/>
              <a:gd name="connsiteX56" fmla="*/ 677334 w 6316134"/>
              <a:gd name="connsiteY56" fmla="*/ 2810934 h 5207000"/>
              <a:gd name="connsiteX57" fmla="*/ 719667 w 6316134"/>
              <a:gd name="connsiteY57" fmla="*/ 2556934 h 5207000"/>
              <a:gd name="connsiteX58" fmla="*/ 1126067 w 6316134"/>
              <a:gd name="connsiteY58" fmla="*/ 2116667 h 5207000"/>
              <a:gd name="connsiteX59" fmla="*/ 2057400 w 6316134"/>
              <a:gd name="connsiteY59" fmla="*/ 1532467 h 5207000"/>
              <a:gd name="connsiteX60" fmla="*/ 2429934 w 6316134"/>
              <a:gd name="connsiteY60" fmla="*/ 1422400 h 5207000"/>
              <a:gd name="connsiteX61" fmla="*/ 3251200 w 6316134"/>
              <a:gd name="connsiteY61" fmla="*/ 1329267 h 5207000"/>
              <a:gd name="connsiteX62" fmla="*/ 3530600 w 6316134"/>
              <a:gd name="connsiteY62" fmla="*/ 1388534 h 5207000"/>
              <a:gd name="connsiteX63" fmla="*/ 3572934 w 6316134"/>
              <a:gd name="connsiteY63" fmla="*/ 1456267 h 5207000"/>
              <a:gd name="connsiteX64" fmla="*/ 3589867 w 6316134"/>
              <a:gd name="connsiteY64" fmla="*/ 1515534 h 5207000"/>
              <a:gd name="connsiteX65" fmla="*/ 3564467 w 6316134"/>
              <a:gd name="connsiteY65" fmla="*/ 1879600 h 5207000"/>
              <a:gd name="connsiteX66" fmla="*/ 3293534 w 6316134"/>
              <a:gd name="connsiteY66" fmla="*/ 2353734 h 5207000"/>
              <a:gd name="connsiteX67" fmla="*/ 3073400 w 6316134"/>
              <a:gd name="connsiteY67" fmla="*/ 2633134 h 5207000"/>
              <a:gd name="connsiteX68" fmla="*/ 2827867 w 6316134"/>
              <a:gd name="connsiteY68" fmla="*/ 2895600 h 5207000"/>
              <a:gd name="connsiteX69" fmla="*/ 2345267 w 6316134"/>
              <a:gd name="connsiteY69" fmla="*/ 3335867 h 5207000"/>
              <a:gd name="connsiteX70" fmla="*/ 2201334 w 6316134"/>
              <a:gd name="connsiteY70" fmla="*/ 3429000 h 5207000"/>
              <a:gd name="connsiteX71" fmla="*/ 2065867 w 6316134"/>
              <a:gd name="connsiteY71" fmla="*/ 3479800 h 5207000"/>
              <a:gd name="connsiteX72" fmla="*/ 2802467 w 6316134"/>
              <a:gd name="connsiteY72" fmla="*/ 3141134 h 5207000"/>
              <a:gd name="connsiteX73" fmla="*/ 3843867 w 6316134"/>
              <a:gd name="connsiteY73" fmla="*/ 2751667 h 5207000"/>
              <a:gd name="connsiteX74" fmla="*/ 4436534 w 6316134"/>
              <a:gd name="connsiteY74" fmla="*/ 2548467 h 5207000"/>
              <a:gd name="connsiteX75" fmla="*/ 5528734 w 6316134"/>
              <a:gd name="connsiteY75" fmla="*/ 2302934 h 5207000"/>
              <a:gd name="connsiteX76" fmla="*/ 6214534 w 6316134"/>
              <a:gd name="connsiteY76" fmla="*/ 2226734 h 5207000"/>
              <a:gd name="connsiteX77" fmla="*/ 6316134 w 6316134"/>
              <a:gd name="connsiteY77" fmla="*/ 2243667 h 5207000"/>
              <a:gd name="connsiteX78" fmla="*/ 6206067 w 6316134"/>
              <a:gd name="connsiteY78" fmla="*/ 2286000 h 5207000"/>
              <a:gd name="connsiteX79" fmla="*/ 6028267 w 6316134"/>
              <a:gd name="connsiteY79" fmla="*/ 2345267 h 5207000"/>
              <a:gd name="connsiteX80" fmla="*/ 4927600 w 6316134"/>
              <a:gd name="connsiteY80" fmla="*/ 2531534 h 5207000"/>
              <a:gd name="connsiteX81" fmla="*/ 3632200 w 6316134"/>
              <a:gd name="connsiteY81" fmla="*/ 2506134 h 5207000"/>
              <a:gd name="connsiteX82" fmla="*/ 3225800 w 6316134"/>
              <a:gd name="connsiteY82" fmla="*/ 2387600 h 5207000"/>
              <a:gd name="connsiteX83" fmla="*/ 2760134 w 6316134"/>
              <a:gd name="connsiteY83" fmla="*/ 2150534 h 5207000"/>
              <a:gd name="connsiteX84" fmla="*/ 2616200 w 6316134"/>
              <a:gd name="connsiteY84" fmla="*/ 1981200 h 5207000"/>
              <a:gd name="connsiteX85" fmla="*/ 2675467 w 6316134"/>
              <a:gd name="connsiteY85" fmla="*/ 1811867 h 5207000"/>
              <a:gd name="connsiteX86" fmla="*/ 2760134 w 6316134"/>
              <a:gd name="connsiteY86" fmla="*/ 1752600 h 5207000"/>
              <a:gd name="connsiteX87" fmla="*/ 3064934 w 6316134"/>
              <a:gd name="connsiteY87" fmla="*/ 1617134 h 5207000"/>
              <a:gd name="connsiteX88" fmla="*/ 3158067 w 6316134"/>
              <a:gd name="connsiteY88" fmla="*/ 1600200 h 5207000"/>
              <a:gd name="connsiteX89" fmla="*/ 3225800 w 6316134"/>
              <a:gd name="connsiteY89" fmla="*/ 1617134 h 5207000"/>
              <a:gd name="connsiteX90" fmla="*/ 3251200 w 6316134"/>
              <a:gd name="connsiteY90" fmla="*/ 1752600 h 5207000"/>
              <a:gd name="connsiteX91" fmla="*/ 3081867 w 6316134"/>
              <a:gd name="connsiteY91" fmla="*/ 2599267 h 5207000"/>
              <a:gd name="connsiteX92" fmla="*/ 2861734 w 6316134"/>
              <a:gd name="connsiteY92" fmla="*/ 3141134 h 5207000"/>
              <a:gd name="connsiteX93" fmla="*/ 2743200 w 6316134"/>
              <a:gd name="connsiteY93" fmla="*/ 3403600 h 5207000"/>
              <a:gd name="connsiteX94" fmla="*/ 2692400 w 6316134"/>
              <a:gd name="connsiteY94" fmla="*/ 3632200 h 5207000"/>
              <a:gd name="connsiteX95" fmla="*/ 2658534 w 6316134"/>
              <a:gd name="connsiteY95" fmla="*/ 3767667 h 5207000"/>
              <a:gd name="connsiteX96" fmla="*/ 2667000 w 6316134"/>
              <a:gd name="connsiteY96" fmla="*/ 3860800 h 5207000"/>
              <a:gd name="connsiteX97" fmla="*/ 2726267 w 6316134"/>
              <a:gd name="connsiteY97" fmla="*/ 3801534 h 5207000"/>
              <a:gd name="connsiteX98" fmla="*/ 2819400 w 6316134"/>
              <a:gd name="connsiteY98" fmla="*/ 3513667 h 5207000"/>
              <a:gd name="connsiteX99" fmla="*/ 2844800 w 6316134"/>
              <a:gd name="connsiteY99" fmla="*/ 3268134 h 5207000"/>
              <a:gd name="connsiteX100" fmla="*/ 2853267 w 6316134"/>
              <a:gd name="connsiteY100" fmla="*/ 1380067 h 5207000"/>
              <a:gd name="connsiteX101" fmla="*/ 2887134 w 6316134"/>
              <a:gd name="connsiteY101" fmla="*/ 1253067 h 5207000"/>
              <a:gd name="connsiteX102" fmla="*/ 3217334 w 6316134"/>
              <a:gd name="connsiteY102" fmla="*/ 1566334 h 5207000"/>
              <a:gd name="connsiteX103" fmla="*/ 3640667 w 6316134"/>
              <a:gd name="connsiteY103" fmla="*/ 2082800 h 5207000"/>
              <a:gd name="connsiteX104" fmla="*/ 3843867 w 6316134"/>
              <a:gd name="connsiteY104" fmla="*/ 2345267 h 5207000"/>
              <a:gd name="connsiteX105" fmla="*/ 4216400 w 6316134"/>
              <a:gd name="connsiteY105" fmla="*/ 3073400 h 5207000"/>
              <a:gd name="connsiteX106" fmla="*/ 4275667 w 6316134"/>
              <a:gd name="connsiteY106" fmla="*/ 3285067 h 5207000"/>
              <a:gd name="connsiteX107" fmla="*/ 4292600 w 6316134"/>
              <a:gd name="connsiteY107" fmla="*/ 3429000 h 5207000"/>
              <a:gd name="connsiteX108" fmla="*/ 4267200 w 6316134"/>
              <a:gd name="connsiteY108" fmla="*/ 3649134 h 5207000"/>
              <a:gd name="connsiteX109" fmla="*/ 4224867 w 6316134"/>
              <a:gd name="connsiteY109" fmla="*/ 3674534 h 5207000"/>
              <a:gd name="connsiteX110" fmla="*/ 4114800 w 6316134"/>
              <a:gd name="connsiteY110" fmla="*/ 3699934 h 5207000"/>
              <a:gd name="connsiteX111" fmla="*/ 3937000 w 6316134"/>
              <a:gd name="connsiteY111" fmla="*/ 3666067 h 5207000"/>
              <a:gd name="connsiteX112" fmla="*/ 3556000 w 6316134"/>
              <a:gd name="connsiteY112" fmla="*/ 3285067 h 5207000"/>
              <a:gd name="connsiteX113" fmla="*/ 3310467 w 6316134"/>
              <a:gd name="connsiteY113" fmla="*/ 3022600 h 5207000"/>
              <a:gd name="connsiteX114" fmla="*/ 2777067 w 6316134"/>
              <a:gd name="connsiteY114" fmla="*/ 2345267 h 5207000"/>
              <a:gd name="connsiteX115" fmla="*/ 2175934 w 6316134"/>
              <a:gd name="connsiteY115" fmla="*/ 1456267 h 5207000"/>
              <a:gd name="connsiteX116" fmla="*/ 2133600 w 6316134"/>
              <a:gd name="connsiteY116" fmla="*/ 1312334 h 5207000"/>
              <a:gd name="connsiteX117" fmla="*/ 2167467 w 6316134"/>
              <a:gd name="connsiteY117" fmla="*/ 1253067 h 5207000"/>
              <a:gd name="connsiteX118" fmla="*/ 2209800 w 6316134"/>
              <a:gd name="connsiteY118" fmla="*/ 1244600 h 5207000"/>
              <a:gd name="connsiteX119" fmla="*/ 2362200 w 6316134"/>
              <a:gd name="connsiteY119" fmla="*/ 1286934 h 5207000"/>
              <a:gd name="connsiteX120" fmla="*/ 3335867 w 6316134"/>
              <a:gd name="connsiteY120" fmla="*/ 2209800 h 5207000"/>
              <a:gd name="connsiteX121" fmla="*/ 3937000 w 6316134"/>
              <a:gd name="connsiteY121" fmla="*/ 2895600 h 5207000"/>
              <a:gd name="connsiteX122" fmla="*/ 4512734 w 6316134"/>
              <a:gd name="connsiteY122" fmla="*/ 3556000 h 5207000"/>
              <a:gd name="connsiteX123" fmla="*/ 4842934 w 6316134"/>
              <a:gd name="connsiteY123" fmla="*/ 4080934 h 5207000"/>
              <a:gd name="connsiteX124" fmla="*/ 4885267 w 6316134"/>
              <a:gd name="connsiteY124" fmla="*/ 4241800 h 5207000"/>
              <a:gd name="connsiteX125" fmla="*/ 4868334 w 6316134"/>
              <a:gd name="connsiteY125" fmla="*/ 4461934 h 5207000"/>
              <a:gd name="connsiteX126" fmla="*/ 4749800 w 6316134"/>
              <a:gd name="connsiteY126" fmla="*/ 4563534 h 5207000"/>
              <a:gd name="connsiteX127" fmla="*/ 4343400 w 6316134"/>
              <a:gd name="connsiteY127" fmla="*/ 4648200 h 5207000"/>
              <a:gd name="connsiteX128" fmla="*/ 4216400 w 6316134"/>
              <a:gd name="connsiteY128" fmla="*/ 4588934 h 5207000"/>
              <a:gd name="connsiteX129" fmla="*/ 4106334 w 6316134"/>
              <a:gd name="connsiteY129" fmla="*/ 4428067 h 5207000"/>
              <a:gd name="connsiteX130" fmla="*/ 4106334 w 6316134"/>
              <a:gd name="connsiteY130" fmla="*/ 3784600 h 5207000"/>
              <a:gd name="connsiteX131" fmla="*/ 4174067 w 6316134"/>
              <a:gd name="connsiteY131" fmla="*/ 3632200 h 5207000"/>
              <a:gd name="connsiteX132" fmla="*/ 4233334 w 6316134"/>
              <a:gd name="connsiteY132" fmla="*/ 3522134 h 5207000"/>
              <a:gd name="connsiteX133" fmla="*/ 4428067 w 6316134"/>
              <a:gd name="connsiteY133" fmla="*/ 3335867 h 5207000"/>
              <a:gd name="connsiteX134" fmla="*/ 4622800 w 6316134"/>
              <a:gd name="connsiteY134" fmla="*/ 3234267 h 5207000"/>
              <a:gd name="connsiteX135" fmla="*/ 4775200 w 6316134"/>
              <a:gd name="connsiteY135" fmla="*/ 3259667 h 5207000"/>
              <a:gd name="connsiteX136" fmla="*/ 4758267 w 6316134"/>
              <a:gd name="connsiteY136" fmla="*/ 3437467 h 5207000"/>
              <a:gd name="connsiteX137" fmla="*/ 4555067 w 6316134"/>
              <a:gd name="connsiteY137" fmla="*/ 3649134 h 5207000"/>
              <a:gd name="connsiteX138" fmla="*/ 4301067 w 6316134"/>
              <a:gd name="connsiteY138" fmla="*/ 3835400 h 5207000"/>
              <a:gd name="connsiteX139" fmla="*/ 3742267 w 6316134"/>
              <a:gd name="connsiteY139" fmla="*/ 4131734 h 5207000"/>
              <a:gd name="connsiteX140" fmla="*/ 3412067 w 6316134"/>
              <a:gd name="connsiteY140" fmla="*/ 4258734 h 5207000"/>
              <a:gd name="connsiteX141" fmla="*/ 2683934 w 6316134"/>
              <a:gd name="connsiteY141" fmla="*/ 4326467 h 5207000"/>
              <a:gd name="connsiteX142" fmla="*/ 2201334 w 6316134"/>
              <a:gd name="connsiteY142" fmla="*/ 4250267 h 5207000"/>
              <a:gd name="connsiteX143" fmla="*/ 2006600 w 6316134"/>
              <a:gd name="connsiteY143" fmla="*/ 4123267 h 5207000"/>
              <a:gd name="connsiteX144" fmla="*/ 1989667 w 6316134"/>
              <a:gd name="connsiteY144" fmla="*/ 4064000 h 5207000"/>
              <a:gd name="connsiteX145" fmla="*/ 2032000 w 6316134"/>
              <a:gd name="connsiteY145" fmla="*/ 3920067 h 5207000"/>
              <a:gd name="connsiteX146" fmla="*/ 2243667 w 6316134"/>
              <a:gd name="connsiteY146" fmla="*/ 3716867 h 5207000"/>
              <a:gd name="connsiteX147" fmla="*/ 2523067 w 6316134"/>
              <a:gd name="connsiteY147" fmla="*/ 3530600 h 5207000"/>
              <a:gd name="connsiteX148" fmla="*/ 3928534 w 6316134"/>
              <a:gd name="connsiteY148" fmla="*/ 2870200 h 5207000"/>
              <a:gd name="connsiteX149" fmla="*/ 4876800 w 6316134"/>
              <a:gd name="connsiteY149" fmla="*/ 2506134 h 5207000"/>
              <a:gd name="connsiteX150" fmla="*/ 5190067 w 6316134"/>
              <a:gd name="connsiteY150" fmla="*/ 2387600 h 5207000"/>
              <a:gd name="connsiteX151" fmla="*/ 5486400 w 6316134"/>
              <a:gd name="connsiteY151" fmla="*/ 2311400 h 5207000"/>
              <a:gd name="connsiteX152" fmla="*/ 3860800 w 6316134"/>
              <a:gd name="connsiteY152" fmla="*/ 2294467 h 5207000"/>
              <a:gd name="connsiteX153" fmla="*/ 3098800 w 6316134"/>
              <a:gd name="connsiteY153" fmla="*/ 2277534 h 5207000"/>
              <a:gd name="connsiteX154" fmla="*/ 2514600 w 6316134"/>
              <a:gd name="connsiteY154" fmla="*/ 2175934 h 5207000"/>
              <a:gd name="connsiteX155" fmla="*/ 2345267 w 6316134"/>
              <a:gd name="connsiteY155" fmla="*/ 2116667 h 5207000"/>
              <a:gd name="connsiteX156" fmla="*/ 2548467 w 6316134"/>
              <a:gd name="connsiteY156" fmla="*/ 1955800 h 5207000"/>
              <a:gd name="connsiteX157" fmla="*/ 2709334 w 6316134"/>
              <a:gd name="connsiteY157" fmla="*/ 1854200 h 5207000"/>
              <a:gd name="connsiteX158" fmla="*/ 3158067 w 6316134"/>
              <a:gd name="connsiteY158" fmla="*/ 1676400 h 5207000"/>
              <a:gd name="connsiteX159" fmla="*/ 3598334 w 6316134"/>
              <a:gd name="connsiteY159" fmla="*/ 1456267 h 5207000"/>
              <a:gd name="connsiteX160" fmla="*/ 3750734 w 6316134"/>
              <a:gd name="connsiteY160" fmla="*/ 1371600 h 5207000"/>
              <a:gd name="connsiteX161" fmla="*/ 3869267 w 6316134"/>
              <a:gd name="connsiteY161" fmla="*/ 1278467 h 5207000"/>
              <a:gd name="connsiteX162" fmla="*/ 3877734 w 6316134"/>
              <a:gd name="connsiteY162" fmla="*/ 1253067 h 5207000"/>
              <a:gd name="connsiteX163" fmla="*/ 3860800 w 6316134"/>
              <a:gd name="connsiteY163" fmla="*/ 1236134 h 5207000"/>
              <a:gd name="connsiteX164" fmla="*/ 3742267 w 6316134"/>
              <a:gd name="connsiteY164" fmla="*/ 1219200 h 5207000"/>
              <a:gd name="connsiteX165" fmla="*/ 3335867 w 6316134"/>
              <a:gd name="connsiteY165" fmla="*/ 1210734 h 5207000"/>
              <a:gd name="connsiteX166" fmla="*/ 2937934 w 6316134"/>
              <a:gd name="connsiteY166" fmla="*/ 1219200 h 5207000"/>
              <a:gd name="connsiteX167" fmla="*/ 2785534 w 6316134"/>
              <a:gd name="connsiteY167" fmla="*/ 1253067 h 5207000"/>
              <a:gd name="connsiteX168" fmla="*/ 2438400 w 6316134"/>
              <a:gd name="connsiteY168" fmla="*/ 1397000 h 5207000"/>
              <a:gd name="connsiteX169" fmla="*/ 2319867 w 6316134"/>
              <a:gd name="connsiteY169" fmla="*/ 1532467 h 5207000"/>
              <a:gd name="connsiteX170" fmla="*/ 2294467 w 6316134"/>
              <a:gd name="connsiteY170" fmla="*/ 1591734 h 5207000"/>
              <a:gd name="connsiteX171" fmla="*/ 2582334 w 6316134"/>
              <a:gd name="connsiteY171" fmla="*/ 1913467 h 5207000"/>
              <a:gd name="connsiteX172" fmla="*/ 3708400 w 6316134"/>
              <a:gd name="connsiteY172" fmla="*/ 2700867 h 5207000"/>
              <a:gd name="connsiteX173" fmla="*/ 4749800 w 6316134"/>
              <a:gd name="connsiteY173" fmla="*/ 3462867 h 5207000"/>
              <a:gd name="connsiteX174" fmla="*/ 5283200 w 6316134"/>
              <a:gd name="connsiteY174" fmla="*/ 3835400 h 5207000"/>
              <a:gd name="connsiteX175" fmla="*/ 5334000 w 6316134"/>
              <a:gd name="connsiteY175" fmla="*/ 3987800 h 5207000"/>
              <a:gd name="connsiteX176" fmla="*/ 5139267 w 6316134"/>
              <a:gd name="connsiteY176" fmla="*/ 4191000 h 5207000"/>
              <a:gd name="connsiteX177" fmla="*/ 4944534 w 6316134"/>
              <a:gd name="connsiteY177" fmla="*/ 4301067 h 5207000"/>
              <a:gd name="connsiteX178" fmla="*/ 4411134 w 6316134"/>
              <a:gd name="connsiteY178" fmla="*/ 4470400 h 5207000"/>
              <a:gd name="connsiteX179" fmla="*/ 4097867 w 6316134"/>
              <a:gd name="connsiteY179" fmla="*/ 4521200 h 5207000"/>
              <a:gd name="connsiteX180" fmla="*/ 3767667 w 6316134"/>
              <a:gd name="connsiteY180" fmla="*/ 4529667 h 5207000"/>
              <a:gd name="connsiteX181" fmla="*/ 2946400 w 6316134"/>
              <a:gd name="connsiteY181" fmla="*/ 4453467 h 5207000"/>
              <a:gd name="connsiteX182" fmla="*/ 2904067 w 6316134"/>
              <a:gd name="connsiteY182" fmla="*/ 4411134 h 5207000"/>
              <a:gd name="connsiteX183" fmla="*/ 2912534 w 6316134"/>
              <a:gd name="connsiteY183" fmla="*/ 3835400 h 5207000"/>
              <a:gd name="connsiteX184" fmla="*/ 3225800 w 6316134"/>
              <a:gd name="connsiteY184" fmla="*/ 3141134 h 5207000"/>
              <a:gd name="connsiteX185" fmla="*/ 3403600 w 6316134"/>
              <a:gd name="connsiteY185" fmla="*/ 2878667 h 5207000"/>
              <a:gd name="connsiteX186" fmla="*/ 3843867 w 6316134"/>
              <a:gd name="connsiteY186" fmla="*/ 2379134 h 5207000"/>
              <a:gd name="connsiteX187" fmla="*/ 4038600 w 6316134"/>
              <a:gd name="connsiteY187" fmla="*/ 2201334 h 5207000"/>
              <a:gd name="connsiteX188" fmla="*/ 4123267 w 6316134"/>
              <a:gd name="connsiteY188" fmla="*/ 2108200 h 5207000"/>
              <a:gd name="connsiteX189" fmla="*/ 4055534 w 6316134"/>
              <a:gd name="connsiteY189" fmla="*/ 2159000 h 5207000"/>
              <a:gd name="connsiteX190" fmla="*/ 3920067 w 6316134"/>
              <a:gd name="connsiteY190" fmla="*/ 2243667 h 5207000"/>
              <a:gd name="connsiteX191" fmla="*/ 3479800 w 6316134"/>
              <a:gd name="connsiteY191" fmla="*/ 2463800 h 5207000"/>
              <a:gd name="connsiteX192" fmla="*/ 3022600 w 6316134"/>
              <a:gd name="connsiteY192" fmla="*/ 2667000 h 5207000"/>
              <a:gd name="connsiteX193" fmla="*/ 2565400 w 6316134"/>
              <a:gd name="connsiteY193" fmla="*/ 2777067 h 5207000"/>
              <a:gd name="connsiteX194" fmla="*/ 2209800 w 6316134"/>
              <a:gd name="connsiteY194" fmla="*/ 2802467 h 5207000"/>
              <a:gd name="connsiteX195" fmla="*/ 2116667 w 6316134"/>
              <a:gd name="connsiteY195" fmla="*/ 2810934 h 5207000"/>
              <a:gd name="connsiteX196" fmla="*/ 2150534 w 6316134"/>
              <a:gd name="connsiteY196" fmla="*/ 2709334 h 5207000"/>
              <a:gd name="connsiteX197" fmla="*/ 2480734 w 6316134"/>
              <a:gd name="connsiteY197" fmla="*/ 2429934 h 5207000"/>
              <a:gd name="connsiteX198" fmla="*/ 3200400 w 6316134"/>
              <a:gd name="connsiteY198" fmla="*/ 1913467 h 5207000"/>
              <a:gd name="connsiteX199" fmla="*/ 3759200 w 6316134"/>
              <a:gd name="connsiteY199" fmla="*/ 1447800 h 5207000"/>
              <a:gd name="connsiteX200" fmla="*/ 3869267 w 6316134"/>
              <a:gd name="connsiteY200" fmla="*/ 1295400 h 5207000"/>
              <a:gd name="connsiteX201" fmla="*/ 3793067 w 6316134"/>
              <a:gd name="connsiteY201" fmla="*/ 1236134 h 5207000"/>
              <a:gd name="connsiteX202" fmla="*/ 3183467 w 6316134"/>
              <a:gd name="connsiteY202" fmla="*/ 1278467 h 5207000"/>
              <a:gd name="connsiteX203" fmla="*/ 2641600 w 6316134"/>
              <a:gd name="connsiteY203" fmla="*/ 1405467 h 5207000"/>
              <a:gd name="connsiteX204" fmla="*/ 1854200 w 6316134"/>
              <a:gd name="connsiteY204" fmla="*/ 1735667 h 5207000"/>
              <a:gd name="connsiteX205" fmla="*/ 1676400 w 6316134"/>
              <a:gd name="connsiteY205" fmla="*/ 1837267 h 5207000"/>
              <a:gd name="connsiteX206" fmla="*/ 1583267 w 6316134"/>
              <a:gd name="connsiteY206" fmla="*/ 1947334 h 5207000"/>
              <a:gd name="connsiteX207" fmla="*/ 1540934 w 6316134"/>
              <a:gd name="connsiteY207" fmla="*/ 2006600 h 5207000"/>
              <a:gd name="connsiteX208" fmla="*/ 1549400 w 6316134"/>
              <a:gd name="connsiteY208" fmla="*/ 2099734 h 5207000"/>
              <a:gd name="connsiteX209" fmla="*/ 1617134 w 6316134"/>
              <a:gd name="connsiteY209" fmla="*/ 2159000 h 5207000"/>
              <a:gd name="connsiteX210" fmla="*/ 1828800 w 6316134"/>
              <a:gd name="connsiteY210" fmla="*/ 2311400 h 5207000"/>
              <a:gd name="connsiteX211" fmla="*/ 2387600 w 6316134"/>
              <a:gd name="connsiteY211" fmla="*/ 2556934 h 5207000"/>
              <a:gd name="connsiteX212" fmla="*/ 2692400 w 6316134"/>
              <a:gd name="connsiteY212" fmla="*/ 2700867 h 5207000"/>
              <a:gd name="connsiteX213" fmla="*/ 3310467 w 6316134"/>
              <a:gd name="connsiteY213" fmla="*/ 2963334 h 5207000"/>
              <a:gd name="connsiteX214" fmla="*/ 3826934 w 6316134"/>
              <a:gd name="connsiteY214" fmla="*/ 3242734 h 5207000"/>
              <a:gd name="connsiteX215" fmla="*/ 4241800 w 6316134"/>
              <a:gd name="connsiteY215" fmla="*/ 3547534 h 5207000"/>
              <a:gd name="connsiteX216" fmla="*/ 4326467 w 6316134"/>
              <a:gd name="connsiteY216" fmla="*/ 3683000 h 5207000"/>
              <a:gd name="connsiteX217" fmla="*/ 4343400 w 6316134"/>
              <a:gd name="connsiteY217" fmla="*/ 3784600 h 5207000"/>
              <a:gd name="connsiteX218" fmla="*/ 4250267 w 6316134"/>
              <a:gd name="connsiteY218" fmla="*/ 4114800 h 5207000"/>
              <a:gd name="connsiteX219" fmla="*/ 4148667 w 6316134"/>
              <a:gd name="connsiteY219" fmla="*/ 4267200 h 5207000"/>
              <a:gd name="connsiteX220" fmla="*/ 3674534 w 6316134"/>
              <a:gd name="connsiteY220" fmla="*/ 4749800 h 5207000"/>
              <a:gd name="connsiteX221" fmla="*/ 3344334 w 6316134"/>
              <a:gd name="connsiteY221" fmla="*/ 5020734 h 5207000"/>
              <a:gd name="connsiteX222" fmla="*/ 3208867 w 6316134"/>
              <a:gd name="connsiteY222" fmla="*/ 5147734 h 5207000"/>
              <a:gd name="connsiteX223" fmla="*/ 3191934 w 6316134"/>
              <a:gd name="connsiteY223" fmla="*/ 5181600 h 5207000"/>
              <a:gd name="connsiteX224" fmla="*/ 3276600 w 6316134"/>
              <a:gd name="connsiteY224" fmla="*/ 5156200 h 5207000"/>
              <a:gd name="connsiteX225" fmla="*/ 3386667 w 6316134"/>
              <a:gd name="connsiteY225" fmla="*/ 4995334 h 5207000"/>
              <a:gd name="connsiteX226" fmla="*/ 3361267 w 6316134"/>
              <a:gd name="connsiteY226" fmla="*/ 4732867 h 5207000"/>
              <a:gd name="connsiteX227" fmla="*/ 3225800 w 6316134"/>
              <a:gd name="connsiteY227" fmla="*/ 4453467 h 5207000"/>
              <a:gd name="connsiteX228" fmla="*/ 2599267 w 6316134"/>
              <a:gd name="connsiteY228" fmla="*/ 3683000 h 5207000"/>
              <a:gd name="connsiteX229" fmla="*/ 2167467 w 6316134"/>
              <a:gd name="connsiteY229" fmla="*/ 3234267 h 5207000"/>
              <a:gd name="connsiteX230" fmla="*/ 1989667 w 6316134"/>
              <a:gd name="connsiteY230" fmla="*/ 3098800 h 5207000"/>
              <a:gd name="connsiteX231" fmla="*/ 1998134 w 6316134"/>
              <a:gd name="connsiteY231" fmla="*/ 3073400 h 5207000"/>
              <a:gd name="connsiteX232" fmla="*/ 2184400 w 6316134"/>
              <a:gd name="connsiteY232" fmla="*/ 2988734 h 5207000"/>
              <a:gd name="connsiteX233" fmla="*/ 2717800 w 6316134"/>
              <a:gd name="connsiteY233" fmla="*/ 2887134 h 5207000"/>
              <a:gd name="connsiteX234" fmla="*/ 4580467 w 6316134"/>
              <a:gd name="connsiteY234" fmla="*/ 2895600 h 5207000"/>
              <a:gd name="connsiteX235" fmla="*/ 4834467 w 6316134"/>
              <a:gd name="connsiteY235" fmla="*/ 2912534 h 5207000"/>
              <a:gd name="connsiteX236" fmla="*/ 4741334 w 6316134"/>
              <a:gd name="connsiteY236" fmla="*/ 2954867 h 5207000"/>
              <a:gd name="connsiteX237" fmla="*/ 4267200 w 6316134"/>
              <a:gd name="connsiteY237" fmla="*/ 3031067 h 5207000"/>
              <a:gd name="connsiteX238" fmla="*/ 2175934 w 6316134"/>
              <a:gd name="connsiteY238" fmla="*/ 3022600 h 5207000"/>
              <a:gd name="connsiteX239" fmla="*/ 1608667 w 6316134"/>
              <a:gd name="connsiteY239" fmla="*/ 3005667 h 5207000"/>
              <a:gd name="connsiteX240" fmla="*/ 1024467 w 6316134"/>
              <a:gd name="connsiteY240" fmla="*/ 2946400 h 5207000"/>
              <a:gd name="connsiteX241" fmla="*/ 558800 w 6316134"/>
              <a:gd name="connsiteY241" fmla="*/ 2921000 h 5207000"/>
              <a:gd name="connsiteX242" fmla="*/ 42334 w 6316134"/>
              <a:gd name="connsiteY242" fmla="*/ 2810934 h 5207000"/>
              <a:gd name="connsiteX243" fmla="*/ 0 w 6316134"/>
              <a:gd name="connsiteY243" fmla="*/ 2785534 h 5207000"/>
              <a:gd name="connsiteX244" fmla="*/ 270934 w 6316134"/>
              <a:gd name="connsiteY244" fmla="*/ 2633134 h 5207000"/>
              <a:gd name="connsiteX245" fmla="*/ 575734 w 6316134"/>
              <a:gd name="connsiteY245" fmla="*/ 2531534 h 5207000"/>
              <a:gd name="connsiteX246" fmla="*/ 2159000 w 6316134"/>
              <a:gd name="connsiteY246" fmla="*/ 2362200 h 5207000"/>
              <a:gd name="connsiteX247" fmla="*/ 2760134 w 6316134"/>
              <a:gd name="connsiteY247" fmla="*/ 2302934 h 5207000"/>
              <a:gd name="connsiteX248" fmla="*/ 3843867 w 6316134"/>
              <a:gd name="connsiteY248" fmla="*/ 2150534 h 5207000"/>
              <a:gd name="connsiteX249" fmla="*/ 4292600 w 6316134"/>
              <a:gd name="connsiteY249" fmla="*/ 2032000 h 5207000"/>
              <a:gd name="connsiteX250" fmla="*/ 4792134 w 6316134"/>
              <a:gd name="connsiteY250" fmla="*/ 1896534 h 5207000"/>
              <a:gd name="connsiteX251" fmla="*/ 4546600 w 6316134"/>
              <a:gd name="connsiteY251" fmla="*/ 2006600 h 5207000"/>
              <a:gd name="connsiteX252" fmla="*/ 4309534 w 6316134"/>
              <a:gd name="connsiteY252" fmla="*/ 2108200 h 5207000"/>
              <a:gd name="connsiteX253" fmla="*/ 3979334 w 6316134"/>
              <a:gd name="connsiteY253" fmla="*/ 2226734 h 5207000"/>
              <a:gd name="connsiteX254" fmla="*/ 3276600 w 6316134"/>
              <a:gd name="connsiteY254" fmla="*/ 2514600 h 5207000"/>
              <a:gd name="connsiteX255" fmla="*/ 2277534 w 6316134"/>
              <a:gd name="connsiteY255" fmla="*/ 2785534 h 5207000"/>
              <a:gd name="connsiteX256" fmla="*/ 2006600 w 6316134"/>
              <a:gd name="connsiteY256" fmla="*/ 2760134 h 5207000"/>
              <a:gd name="connsiteX257" fmla="*/ 2099734 w 6316134"/>
              <a:gd name="connsiteY257" fmla="*/ 2480734 h 5207000"/>
              <a:gd name="connsiteX258" fmla="*/ 2362200 w 6316134"/>
              <a:gd name="connsiteY258" fmla="*/ 1998134 h 5207000"/>
              <a:gd name="connsiteX259" fmla="*/ 2540000 w 6316134"/>
              <a:gd name="connsiteY259" fmla="*/ 1735667 h 5207000"/>
              <a:gd name="connsiteX260" fmla="*/ 2937934 w 6316134"/>
              <a:gd name="connsiteY260" fmla="*/ 1227667 h 5207000"/>
              <a:gd name="connsiteX261" fmla="*/ 3064934 w 6316134"/>
              <a:gd name="connsiteY261" fmla="*/ 982134 h 5207000"/>
              <a:gd name="connsiteX262" fmla="*/ 3208867 w 6316134"/>
              <a:gd name="connsiteY262" fmla="*/ 736600 h 5207000"/>
              <a:gd name="connsiteX263" fmla="*/ 3208867 w 6316134"/>
              <a:gd name="connsiteY263" fmla="*/ 575734 h 5207000"/>
              <a:gd name="connsiteX264" fmla="*/ 3132667 w 6316134"/>
              <a:gd name="connsiteY264" fmla="*/ 550334 h 5207000"/>
              <a:gd name="connsiteX265" fmla="*/ 2870200 w 6316134"/>
              <a:gd name="connsiteY265" fmla="*/ 575734 h 5207000"/>
              <a:gd name="connsiteX266" fmla="*/ 2751667 w 6316134"/>
              <a:gd name="connsiteY266" fmla="*/ 643467 h 5207000"/>
              <a:gd name="connsiteX267" fmla="*/ 2345267 w 6316134"/>
              <a:gd name="connsiteY267" fmla="*/ 872067 h 5207000"/>
              <a:gd name="connsiteX268" fmla="*/ 2167467 w 6316134"/>
              <a:gd name="connsiteY268" fmla="*/ 1041400 h 5207000"/>
              <a:gd name="connsiteX269" fmla="*/ 1896534 w 6316134"/>
              <a:gd name="connsiteY269" fmla="*/ 1498600 h 5207000"/>
              <a:gd name="connsiteX270" fmla="*/ 1820334 w 6316134"/>
              <a:gd name="connsiteY270" fmla="*/ 1710267 h 5207000"/>
              <a:gd name="connsiteX271" fmla="*/ 1938867 w 6316134"/>
              <a:gd name="connsiteY271" fmla="*/ 2396067 h 5207000"/>
              <a:gd name="connsiteX272" fmla="*/ 2099734 w 6316134"/>
              <a:gd name="connsiteY272" fmla="*/ 2650067 h 5207000"/>
              <a:gd name="connsiteX273" fmla="*/ 2709334 w 6316134"/>
              <a:gd name="connsiteY273" fmla="*/ 3268134 h 5207000"/>
              <a:gd name="connsiteX274" fmla="*/ 3022600 w 6316134"/>
              <a:gd name="connsiteY274" fmla="*/ 3564467 h 5207000"/>
              <a:gd name="connsiteX275" fmla="*/ 4199467 w 6316134"/>
              <a:gd name="connsiteY275" fmla="*/ 4419600 h 5207000"/>
              <a:gd name="connsiteX276" fmla="*/ 5105400 w 6316134"/>
              <a:gd name="connsiteY276" fmla="*/ 4868334 h 5207000"/>
              <a:gd name="connsiteX277" fmla="*/ 5283200 w 6316134"/>
              <a:gd name="connsiteY277" fmla="*/ 4944534 h 5207000"/>
              <a:gd name="connsiteX278" fmla="*/ 4969934 w 6316134"/>
              <a:gd name="connsiteY278" fmla="*/ 4910667 h 5207000"/>
              <a:gd name="connsiteX279" fmla="*/ 3937000 w 6316134"/>
              <a:gd name="connsiteY279" fmla="*/ 4478867 h 5207000"/>
              <a:gd name="connsiteX280" fmla="*/ 2311400 w 6316134"/>
              <a:gd name="connsiteY280" fmla="*/ 3852334 h 5207000"/>
              <a:gd name="connsiteX281" fmla="*/ 1422400 w 6316134"/>
              <a:gd name="connsiteY281" fmla="*/ 3606800 h 5207000"/>
              <a:gd name="connsiteX282" fmla="*/ 838200 w 6316134"/>
              <a:gd name="connsiteY282" fmla="*/ 3479800 h 5207000"/>
              <a:gd name="connsiteX283" fmla="*/ 905934 w 6316134"/>
              <a:gd name="connsiteY283" fmla="*/ 3420534 h 5207000"/>
              <a:gd name="connsiteX284" fmla="*/ 1312334 w 6316134"/>
              <a:gd name="connsiteY284" fmla="*/ 3293534 h 5207000"/>
              <a:gd name="connsiteX285" fmla="*/ 2125134 w 6316134"/>
              <a:gd name="connsiteY285" fmla="*/ 3132667 h 5207000"/>
              <a:gd name="connsiteX286" fmla="*/ 2548467 w 6316134"/>
              <a:gd name="connsiteY286" fmla="*/ 3081867 h 5207000"/>
              <a:gd name="connsiteX287" fmla="*/ 3344334 w 6316134"/>
              <a:gd name="connsiteY287" fmla="*/ 3022600 h 5207000"/>
              <a:gd name="connsiteX288" fmla="*/ 3581400 w 6316134"/>
              <a:gd name="connsiteY288" fmla="*/ 2997200 h 5207000"/>
              <a:gd name="connsiteX289" fmla="*/ 3733800 w 6316134"/>
              <a:gd name="connsiteY289" fmla="*/ 2971800 h 5207000"/>
              <a:gd name="connsiteX290" fmla="*/ 3767667 w 6316134"/>
              <a:gd name="connsiteY290" fmla="*/ 2963334 h 5207000"/>
              <a:gd name="connsiteX291" fmla="*/ 3708400 w 6316134"/>
              <a:gd name="connsiteY291" fmla="*/ 2971800 h 5207000"/>
              <a:gd name="connsiteX292" fmla="*/ 3285067 w 6316134"/>
              <a:gd name="connsiteY292" fmla="*/ 3048000 h 5207000"/>
              <a:gd name="connsiteX293" fmla="*/ 2929467 w 6316134"/>
              <a:gd name="connsiteY293" fmla="*/ 3081867 h 5207000"/>
              <a:gd name="connsiteX294" fmla="*/ 1778000 w 6316134"/>
              <a:gd name="connsiteY294" fmla="*/ 3124200 h 5207000"/>
              <a:gd name="connsiteX295" fmla="*/ 1507067 w 6316134"/>
              <a:gd name="connsiteY295" fmla="*/ 3081867 h 5207000"/>
              <a:gd name="connsiteX296" fmla="*/ 1727200 w 6316134"/>
              <a:gd name="connsiteY296" fmla="*/ 3005667 h 5207000"/>
              <a:gd name="connsiteX297" fmla="*/ 2116667 w 6316134"/>
              <a:gd name="connsiteY297" fmla="*/ 2912534 h 5207000"/>
              <a:gd name="connsiteX298" fmla="*/ 3115734 w 6316134"/>
              <a:gd name="connsiteY298" fmla="*/ 2844800 h 5207000"/>
              <a:gd name="connsiteX299" fmla="*/ 3759200 w 6316134"/>
              <a:gd name="connsiteY299" fmla="*/ 2827867 h 5207000"/>
              <a:gd name="connsiteX300" fmla="*/ 5232400 w 6316134"/>
              <a:gd name="connsiteY300" fmla="*/ 2844800 h 5207000"/>
              <a:gd name="connsiteX301" fmla="*/ 5283200 w 6316134"/>
              <a:gd name="connsiteY301" fmla="*/ 2878667 h 5207000"/>
              <a:gd name="connsiteX302" fmla="*/ 5207000 w 6316134"/>
              <a:gd name="connsiteY302" fmla="*/ 3005667 h 5207000"/>
              <a:gd name="connsiteX303" fmla="*/ 4758267 w 6316134"/>
              <a:gd name="connsiteY303" fmla="*/ 3259667 h 5207000"/>
              <a:gd name="connsiteX304" fmla="*/ 3403600 w 6316134"/>
              <a:gd name="connsiteY304" fmla="*/ 3953934 h 5207000"/>
              <a:gd name="connsiteX305" fmla="*/ 2413000 w 6316134"/>
              <a:gd name="connsiteY305" fmla="*/ 4301067 h 5207000"/>
              <a:gd name="connsiteX306" fmla="*/ 1845734 w 6316134"/>
              <a:gd name="connsiteY306" fmla="*/ 4538134 h 5207000"/>
              <a:gd name="connsiteX307" fmla="*/ 1752600 w 6316134"/>
              <a:gd name="connsiteY307" fmla="*/ 4588934 h 5207000"/>
              <a:gd name="connsiteX308" fmla="*/ 1701800 w 6316134"/>
              <a:gd name="connsiteY308" fmla="*/ 4605867 h 5207000"/>
              <a:gd name="connsiteX309" fmla="*/ 1744134 w 6316134"/>
              <a:gd name="connsiteY309" fmla="*/ 4580467 h 5207000"/>
              <a:gd name="connsiteX310" fmla="*/ 1879600 w 6316134"/>
              <a:gd name="connsiteY310" fmla="*/ 4453467 h 5207000"/>
              <a:gd name="connsiteX311" fmla="*/ 2108200 w 6316134"/>
              <a:gd name="connsiteY311" fmla="*/ 4284134 h 5207000"/>
              <a:gd name="connsiteX312" fmla="*/ 2692400 w 6316134"/>
              <a:gd name="connsiteY312" fmla="*/ 3699934 h 5207000"/>
              <a:gd name="connsiteX313" fmla="*/ 4165600 w 6316134"/>
              <a:gd name="connsiteY313" fmla="*/ 2497667 h 5207000"/>
              <a:gd name="connsiteX314" fmla="*/ 4741334 w 6316134"/>
              <a:gd name="connsiteY314" fmla="*/ 2074334 h 5207000"/>
              <a:gd name="connsiteX315" fmla="*/ 4953000 w 6316134"/>
              <a:gd name="connsiteY315" fmla="*/ 1989667 h 5207000"/>
              <a:gd name="connsiteX316" fmla="*/ 4919134 w 6316134"/>
              <a:gd name="connsiteY316" fmla="*/ 2235200 h 5207000"/>
              <a:gd name="connsiteX317" fmla="*/ 4707467 w 6316134"/>
              <a:gd name="connsiteY317" fmla="*/ 2794000 h 5207000"/>
              <a:gd name="connsiteX318" fmla="*/ 4343400 w 6316134"/>
              <a:gd name="connsiteY318" fmla="*/ 3429000 h 5207000"/>
              <a:gd name="connsiteX319" fmla="*/ 3572934 w 6316134"/>
              <a:gd name="connsiteY319" fmla="*/ 4343400 h 5207000"/>
              <a:gd name="connsiteX320" fmla="*/ 3285067 w 6316134"/>
              <a:gd name="connsiteY320" fmla="*/ 4580467 h 5207000"/>
              <a:gd name="connsiteX321" fmla="*/ 3098800 w 6316134"/>
              <a:gd name="connsiteY321" fmla="*/ 4749800 h 5207000"/>
              <a:gd name="connsiteX322" fmla="*/ 2802467 w 6316134"/>
              <a:gd name="connsiteY322" fmla="*/ 4876800 h 5207000"/>
              <a:gd name="connsiteX323" fmla="*/ 2599267 w 6316134"/>
              <a:gd name="connsiteY323" fmla="*/ 4834467 h 5207000"/>
              <a:gd name="connsiteX324" fmla="*/ 2379134 w 6316134"/>
              <a:gd name="connsiteY324" fmla="*/ 4605867 h 5207000"/>
              <a:gd name="connsiteX325" fmla="*/ 2065867 w 6316134"/>
              <a:gd name="connsiteY325" fmla="*/ 4106334 h 5207000"/>
              <a:gd name="connsiteX326" fmla="*/ 1947334 w 6316134"/>
              <a:gd name="connsiteY326" fmla="*/ 3776134 h 5207000"/>
              <a:gd name="connsiteX327" fmla="*/ 1854200 w 6316134"/>
              <a:gd name="connsiteY327" fmla="*/ 3132667 h 5207000"/>
              <a:gd name="connsiteX328" fmla="*/ 1845734 w 6316134"/>
              <a:gd name="connsiteY328" fmla="*/ 2387600 h 5207000"/>
              <a:gd name="connsiteX329" fmla="*/ 1854200 w 6316134"/>
              <a:gd name="connsiteY329" fmla="*/ 2243667 h 5207000"/>
              <a:gd name="connsiteX330" fmla="*/ 1921934 w 6316134"/>
              <a:gd name="connsiteY330" fmla="*/ 2142067 h 5207000"/>
              <a:gd name="connsiteX331" fmla="*/ 1947334 w 6316134"/>
              <a:gd name="connsiteY331" fmla="*/ 2133600 h 5207000"/>
              <a:gd name="connsiteX332" fmla="*/ 2006600 w 6316134"/>
              <a:gd name="connsiteY332" fmla="*/ 2150534 h 5207000"/>
              <a:gd name="connsiteX333" fmla="*/ 2074334 w 6316134"/>
              <a:gd name="connsiteY333" fmla="*/ 2218267 h 5207000"/>
              <a:gd name="connsiteX334" fmla="*/ 2328334 w 6316134"/>
              <a:gd name="connsiteY334" fmla="*/ 2489200 h 5207000"/>
              <a:gd name="connsiteX335" fmla="*/ 2599267 w 6316134"/>
              <a:gd name="connsiteY335" fmla="*/ 2760134 h 5207000"/>
              <a:gd name="connsiteX336" fmla="*/ 3208867 w 6316134"/>
              <a:gd name="connsiteY336" fmla="*/ 3505200 h 5207000"/>
              <a:gd name="connsiteX337" fmla="*/ 4224867 w 6316134"/>
              <a:gd name="connsiteY337" fmla="*/ 4775200 h 5207000"/>
              <a:gd name="connsiteX338" fmla="*/ 4360334 w 6316134"/>
              <a:gd name="connsiteY338" fmla="*/ 4919134 h 5207000"/>
              <a:gd name="connsiteX339" fmla="*/ 4292600 w 6316134"/>
              <a:gd name="connsiteY339" fmla="*/ 4936067 h 5207000"/>
              <a:gd name="connsiteX340" fmla="*/ 4047067 w 6316134"/>
              <a:gd name="connsiteY340" fmla="*/ 4859867 h 5207000"/>
              <a:gd name="connsiteX341" fmla="*/ 3852334 w 6316134"/>
              <a:gd name="connsiteY341" fmla="*/ 4749800 h 5207000"/>
              <a:gd name="connsiteX342" fmla="*/ 3369734 w 6316134"/>
              <a:gd name="connsiteY342" fmla="*/ 4343400 h 5207000"/>
              <a:gd name="connsiteX343" fmla="*/ 2980267 w 6316134"/>
              <a:gd name="connsiteY343" fmla="*/ 3835400 h 5207000"/>
              <a:gd name="connsiteX344" fmla="*/ 2895600 w 6316134"/>
              <a:gd name="connsiteY344" fmla="*/ 3369734 h 5207000"/>
              <a:gd name="connsiteX345" fmla="*/ 2963334 w 6316134"/>
              <a:gd name="connsiteY345" fmla="*/ 2988734 h 5207000"/>
              <a:gd name="connsiteX346" fmla="*/ 3276600 w 6316134"/>
              <a:gd name="connsiteY346" fmla="*/ 2641600 h 5207000"/>
              <a:gd name="connsiteX347" fmla="*/ 3742267 w 6316134"/>
              <a:gd name="connsiteY347" fmla="*/ 2370667 h 5207000"/>
              <a:gd name="connsiteX348" fmla="*/ 4529667 w 6316134"/>
              <a:gd name="connsiteY348" fmla="*/ 2226734 h 5207000"/>
              <a:gd name="connsiteX349" fmla="*/ 4944534 w 6316134"/>
              <a:gd name="connsiteY349" fmla="*/ 2209800 h 5207000"/>
              <a:gd name="connsiteX350" fmla="*/ 5325534 w 6316134"/>
              <a:gd name="connsiteY350" fmla="*/ 2235200 h 5207000"/>
              <a:gd name="connsiteX351" fmla="*/ 5698067 w 6316134"/>
              <a:gd name="connsiteY351" fmla="*/ 2421467 h 5207000"/>
              <a:gd name="connsiteX352" fmla="*/ 5842000 w 6316134"/>
              <a:gd name="connsiteY352" fmla="*/ 2726267 h 5207000"/>
              <a:gd name="connsiteX353" fmla="*/ 5799667 w 6316134"/>
              <a:gd name="connsiteY353" fmla="*/ 2997200 h 5207000"/>
              <a:gd name="connsiteX354" fmla="*/ 5689600 w 6316134"/>
              <a:gd name="connsiteY354" fmla="*/ 3141134 h 5207000"/>
              <a:gd name="connsiteX355" fmla="*/ 5054600 w 6316134"/>
              <a:gd name="connsiteY355" fmla="*/ 3589867 h 5207000"/>
              <a:gd name="connsiteX356" fmla="*/ 4470400 w 6316134"/>
              <a:gd name="connsiteY356" fmla="*/ 3708400 h 5207000"/>
              <a:gd name="connsiteX357" fmla="*/ 4089400 w 6316134"/>
              <a:gd name="connsiteY357" fmla="*/ 3649134 h 5207000"/>
              <a:gd name="connsiteX358" fmla="*/ 3310467 w 6316134"/>
              <a:gd name="connsiteY358" fmla="*/ 3285067 h 5207000"/>
              <a:gd name="connsiteX359" fmla="*/ 2277534 w 6316134"/>
              <a:gd name="connsiteY359" fmla="*/ 2362200 h 5207000"/>
              <a:gd name="connsiteX360" fmla="*/ 1811867 w 6316134"/>
              <a:gd name="connsiteY360" fmla="*/ 1786467 h 5207000"/>
              <a:gd name="connsiteX361" fmla="*/ 1761067 w 6316134"/>
              <a:gd name="connsiteY361" fmla="*/ 1532467 h 5207000"/>
              <a:gd name="connsiteX362" fmla="*/ 1854200 w 6316134"/>
              <a:gd name="connsiteY362" fmla="*/ 1236134 h 5207000"/>
              <a:gd name="connsiteX363" fmla="*/ 1947334 w 6316134"/>
              <a:gd name="connsiteY363" fmla="*/ 1151467 h 5207000"/>
              <a:gd name="connsiteX364" fmla="*/ 2311400 w 6316134"/>
              <a:gd name="connsiteY364" fmla="*/ 1066800 h 5207000"/>
              <a:gd name="connsiteX365" fmla="*/ 2802467 w 6316134"/>
              <a:gd name="connsiteY365" fmla="*/ 1075267 h 5207000"/>
              <a:gd name="connsiteX366" fmla="*/ 3056467 w 6316134"/>
              <a:gd name="connsiteY366" fmla="*/ 1143000 h 5207000"/>
              <a:gd name="connsiteX367" fmla="*/ 3784600 w 6316134"/>
              <a:gd name="connsiteY367" fmla="*/ 1625600 h 5207000"/>
              <a:gd name="connsiteX368" fmla="*/ 4030134 w 6316134"/>
              <a:gd name="connsiteY368" fmla="*/ 2091267 h 5207000"/>
              <a:gd name="connsiteX369" fmla="*/ 3818467 w 6316134"/>
              <a:gd name="connsiteY369" fmla="*/ 3022600 h 5207000"/>
              <a:gd name="connsiteX370" fmla="*/ 3581400 w 6316134"/>
              <a:gd name="connsiteY370" fmla="*/ 3268134 h 5207000"/>
              <a:gd name="connsiteX371" fmla="*/ 3014134 w 6316134"/>
              <a:gd name="connsiteY371" fmla="*/ 3725334 h 5207000"/>
              <a:gd name="connsiteX372" fmla="*/ 2683934 w 6316134"/>
              <a:gd name="connsiteY372" fmla="*/ 3877734 h 5207000"/>
              <a:gd name="connsiteX373" fmla="*/ 1938867 w 6316134"/>
              <a:gd name="connsiteY373" fmla="*/ 4021667 h 5207000"/>
              <a:gd name="connsiteX374" fmla="*/ 1363134 w 6316134"/>
              <a:gd name="connsiteY374" fmla="*/ 3962400 h 5207000"/>
              <a:gd name="connsiteX375" fmla="*/ 1312334 w 6316134"/>
              <a:gd name="connsiteY375" fmla="*/ 3886200 h 5207000"/>
              <a:gd name="connsiteX376" fmla="*/ 1405467 w 6316134"/>
              <a:gd name="connsiteY376" fmla="*/ 3556000 h 5207000"/>
              <a:gd name="connsiteX377" fmla="*/ 2057400 w 6316134"/>
              <a:gd name="connsiteY377" fmla="*/ 2810934 h 5207000"/>
              <a:gd name="connsiteX378" fmla="*/ 2921000 w 6316134"/>
              <a:gd name="connsiteY378" fmla="*/ 2294467 h 5207000"/>
              <a:gd name="connsiteX379" fmla="*/ 3471334 w 6316134"/>
              <a:gd name="connsiteY379" fmla="*/ 2116667 h 5207000"/>
              <a:gd name="connsiteX380" fmla="*/ 4301067 w 6316134"/>
              <a:gd name="connsiteY380" fmla="*/ 1998134 h 5207000"/>
              <a:gd name="connsiteX381" fmla="*/ 4699000 w 6316134"/>
              <a:gd name="connsiteY381" fmla="*/ 2099734 h 5207000"/>
              <a:gd name="connsiteX382" fmla="*/ 4792134 w 6316134"/>
              <a:gd name="connsiteY382" fmla="*/ 2201334 h 5207000"/>
              <a:gd name="connsiteX383" fmla="*/ 4868334 w 6316134"/>
              <a:gd name="connsiteY383" fmla="*/ 2396067 h 5207000"/>
              <a:gd name="connsiteX384" fmla="*/ 4707467 w 6316134"/>
              <a:gd name="connsiteY384" fmla="*/ 3268134 h 5207000"/>
              <a:gd name="connsiteX385" fmla="*/ 4165600 w 6316134"/>
              <a:gd name="connsiteY385" fmla="*/ 3852334 h 5207000"/>
              <a:gd name="connsiteX386" fmla="*/ 3522134 w 6316134"/>
              <a:gd name="connsiteY386" fmla="*/ 4445000 h 5207000"/>
              <a:gd name="connsiteX387" fmla="*/ 2641600 w 6316134"/>
              <a:gd name="connsiteY387" fmla="*/ 4978400 h 5207000"/>
              <a:gd name="connsiteX388" fmla="*/ 1794934 w 6316134"/>
              <a:gd name="connsiteY388" fmla="*/ 5207000 h 5207000"/>
              <a:gd name="connsiteX389" fmla="*/ 1820334 w 6316134"/>
              <a:gd name="connsiteY389" fmla="*/ 5105400 h 5207000"/>
              <a:gd name="connsiteX390" fmla="*/ 2497667 w 6316134"/>
              <a:gd name="connsiteY390" fmla="*/ 4546600 h 5207000"/>
              <a:gd name="connsiteX391" fmla="*/ 2785534 w 6316134"/>
              <a:gd name="connsiteY391" fmla="*/ 4292600 h 5207000"/>
              <a:gd name="connsiteX392" fmla="*/ 3454400 w 6316134"/>
              <a:gd name="connsiteY392" fmla="*/ 3801534 h 5207000"/>
              <a:gd name="connsiteX393" fmla="*/ 4191000 w 6316134"/>
              <a:gd name="connsiteY393" fmla="*/ 3166534 h 5207000"/>
              <a:gd name="connsiteX394" fmla="*/ 4250267 w 6316134"/>
              <a:gd name="connsiteY394" fmla="*/ 3081867 h 5207000"/>
              <a:gd name="connsiteX395" fmla="*/ 4191000 w 6316134"/>
              <a:gd name="connsiteY395" fmla="*/ 3064934 h 5207000"/>
              <a:gd name="connsiteX396" fmla="*/ 3970867 w 6316134"/>
              <a:gd name="connsiteY396" fmla="*/ 3081867 h 5207000"/>
              <a:gd name="connsiteX397" fmla="*/ 2726267 w 6316134"/>
              <a:gd name="connsiteY397" fmla="*/ 3022600 h 5207000"/>
              <a:gd name="connsiteX398" fmla="*/ 2616200 w 6316134"/>
              <a:gd name="connsiteY398" fmla="*/ 2988734 h 5207000"/>
              <a:gd name="connsiteX399" fmla="*/ 2489200 w 6316134"/>
              <a:gd name="connsiteY399" fmla="*/ 2921000 h 5207000"/>
              <a:gd name="connsiteX400" fmla="*/ 2463800 w 6316134"/>
              <a:gd name="connsiteY400" fmla="*/ 2895600 h 5207000"/>
              <a:gd name="connsiteX401" fmla="*/ 2556934 w 6316134"/>
              <a:gd name="connsiteY401" fmla="*/ 2726267 h 5207000"/>
              <a:gd name="connsiteX402" fmla="*/ 2844800 w 6316134"/>
              <a:gd name="connsiteY402" fmla="*/ 2463800 h 5207000"/>
              <a:gd name="connsiteX403" fmla="*/ 2971800 w 6316134"/>
              <a:gd name="connsiteY403" fmla="*/ 2362200 h 5207000"/>
              <a:gd name="connsiteX404" fmla="*/ 2988734 w 6316134"/>
              <a:gd name="connsiteY404" fmla="*/ 2336800 h 5207000"/>
              <a:gd name="connsiteX405" fmla="*/ 2269067 w 6316134"/>
              <a:gd name="connsiteY405" fmla="*/ 2319867 h 5207000"/>
              <a:gd name="connsiteX406" fmla="*/ 1761067 w 6316134"/>
              <a:gd name="connsiteY406" fmla="*/ 2235200 h 5207000"/>
              <a:gd name="connsiteX407" fmla="*/ 1583267 w 6316134"/>
              <a:gd name="connsiteY407" fmla="*/ 2167467 h 5207000"/>
              <a:gd name="connsiteX408" fmla="*/ 1591734 w 6316134"/>
              <a:gd name="connsiteY408" fmla="*/ 2040467 h 5207000"/>
              <a:gd name="connsiteX409" fmla="*/ 1778000 w 6316134"/>
              <a:gd name="connsiteY409" fmla="*/ 1786467 h 5207000"/>
              <a:gd name="connsiteX410" fmla="*/ 1998134 w 6316134"/>
              <a:gd name="connsiteY410" fmla="*/ 1591734 h 5207000"/>
              <a:gd name="connsiteX411" fmla="*/ 2277534 w 6316134"/>
              <a:gd name="connsiteY411" fmla="*/ 1388534 h 5207000"/>
              <a:gd name="connsiteX412" fmla="*/ 2463800 w 6316134"/>
              <a:gd name="connsiteY412" fmla="*/ 1329267 h 5207000"/>
              <a:gd name="connsiteX413" fmla="*/ 2683934 w 6316134"/>
              <a:gd name="connsiteY413" fmla="*/ 1286934 h 5207000"/>
              <a:gd name="connsiteX414" fmla="*/ 3369734 w 6316134"/>
              <a:gd name="connsiteY414" fmla="*/ 1794934 h 5207000"/>
              <a:gd name="connsiteX415" fmla="*/ 4123267 w 6316134"/>
              <a:gd name="connsiteY415" fmla="*/ 2819400 h 5207000"/>
              <a:gd name="connsiteX416" fmla="*/ 4673600 w 6316134"/>
              <a:gd name="connsiteY416" fmla="*/ 3835400 h 5207000"/>
              <a:gd name="connsiteX417" fmla="*/ 5003800 w 6316134"/>
              <a:gd name="connsiteY417" fmla="*/ 4631267 h 5207000"/>
              <a:gd name="connsiteX418" fmla="*/ 5105400 w 6316134"/>
              <a:gd name="connsiteY418" fmla="*/ 4868334 h 5207000"/>
              <a:gd name="connsiteX419" fmla="*/ 5156200 w 6316134"/>
              <a:gd name="connsiteY419" fmla="*/ 4995334 h 5207000"/>
              <a:gd name="connsiteX420" fmla="*/ 5173134 w 6316134"/>
              <a:gd name="connsiteY420" fmla="*/ 5080000 h 5207000"/>
              <a:gd name="connsiteX421" fmla="*/ 5037667 w 6316134"/>
              <a:gd name="connsiteY421" fmla="*/ 5012267 h 5207000"/>
              <a:gd name="connsiteX422" fmla="*/ 3505200 w 6316134"/>
              <a:gd name="connsiteY422" fmla="*/ 2980267 h 5207000"/>
              <a:gd name="connsiteX423" fmla="*/ 2954867 w 6316134"/>
              <a:gd name="connsiteY423" fmla="*/ 2201334 h 5207000"/>
              <a:gd name="connsiteX424" fmla="*/ 2794000 w 6316134"/>
              <a:gd name="connsiteY424" fmla="*/ 1837267 h 5207000"/>
              <a:gd name="connsiteX425" fmla="*/ 2785534 w 6316134"/>
              <a:gd name="connsiteY425" fmla="*/ 1778000 h 5207000"/>
              <a:gd name="connsiteX426" fmla="*/ 2836334 w 6316134"/>
              <a:gd name="connsiteY426" fmla="*/ 1794934 h 5207000"/>
              <a:gd name="connsiteX427" fmla="*/ 2904067 w 6316134"/>
              <a:gd name="connsiteY427" fmla="*/ 1871134 h 5207000"/>
              <a:gd name="connsiteX428" fmla="*/ 3048000 w 6316134"/>
              <a:gd name="connsiteY428" fmla="*/ 2006600 h 5207000"/>
              <a:gd name="connsiteX429" fmla="*/ 3843867 w 6316134"/>
              <a:gd name="connsiteY429" fmla="*/ 2870200 h 5207000"/>
              <a:gd name="connsiteX430" fmla="*/ 4385734 w 6316134"/>
              <a:gd name="connsiteY430" fmla="*/ 3462867 h 5207000"/>
              <a:gd name="connsiteX431" fmla="*/ 4682067 w 6316134"/>
              <a:gd name="connsiteY431" fmla="*/ 3759200 h 5207000"/>
              <a:gd name="connsiteX432" fmla="*/ 4961467 w 6316134"/>
              <a:gd name="connsiteY432" fmla="*/ 4106334 h 5207000"/>
              <a:gd name="connsiteX433" fmla="*/ 4885267 w 6316134"/>
              <a:gd name="connsiteY433" fmla="*/ 4114800 h 5207000"/>
              <a:gd name="connsiteX434" fmla="*/ 4732867 w 6316134"/>
              <a:gd name="connsiteY434" fmla="*/ 4021667 h 5207000"/>
              <a:gd name="connsiteX435" fmla="*/ 4470400 w 6316134"/>
              <a:gd name="connsiteY435" fmla="*/ 3843867 h 5207000"/>
              <a:gd name="connsiteX436" fmla="*/ 3285067 w 6316134"/>
              <a:gd name="connsiteY436" fmla="*/ 2895600 h 5207000"/>
              <a:gd name="connsiteX437" fmla="*/ 2785534 w 6316134"/>
              <a:gd name="connsiteY437" fmla="*/ 2556934 h 5207000"/>
              <a:gd name="connsiteX438" fmla="*/ 1718734 w 6316134"/>
              <a:gd name="connsiteY438" fmla="*/ 1608667 h 5207000"/>
              <a:gd name="connsiteX439" fmla="*/ 1625600 w 6316134"/>
              <a:gd name="connsiteY439" fmla="*/ 1532467 h 5207000"/>
              <a:gd name="connsiteX440" fmla="*/ 1591734 w 6316134"/>
              <a:gd name="connsiteY440" fmla="*/ 1498600 h 5207000"/>
              <a:gd name="connsiteX441" fmla="*/ 1608667 w 6316134"/>
              <a:gd name="connsiteY441" fmla="*/ 1524000 h 5207000"/>
              <a:gd name="connsiteX442" fmla="*/ 1837267 w 6316134"/>
              <a:gd name="connsiteY442" fmla="*/ 1744134 h 5207000"/>
              <a:gd name="connsiteX443" fmla="*/ 2760134 w 6316134"/>
              <a:gd name="connsiteY443" fmla="*/ 2895600 h 5207000"/>
              <a:gd name="connsiteX444" fmla="*/ 2997200 w 6316134"/>
              <a:gd name="connsiteY444" fmla="*/ 3420534 h 5207000"/>
              <a:gd name="connsiteX445" fmla="*/ 3056467 w 6316134"/>
              <a:gd name="connsiteY445" fmla="*/ 4106334 h 5207000"/>
              <a:gd name="connsiteX446" fmla="*/ 3014134 w 6316134"/>
              <a:gd name="connsiteY446" fmla="*/ 4148667 h 5207000"/>
              <a:gd name="connsiteX447" fmla="*/ 3073400 w 6316134"/>
              <a:gd name="connsiteY447" fmla="*/ 4038600 h 5207000"/>
              <a:gd name="connsiteX448" fmla="*/ 3183467 w 6316134"/>
              <a:gd name="connsiteY448" fmla="*/ 3920067 h 5207000"/>
              <a:gd name="connsiteX449" fmla="*/ 3352800 w 6316134"/>
              <a:gd name="connsiteY449" fmla="*/ 3708400 h 5207000"/>
              <a:gd name="connsiteX450" fmla="*/ 4385734 w 6316134"/>
              <a:gd name="connsiteY450" fmla="*/ 2743200 h 5207000"/>
              <a:gd name="connsiteX451" fmla="*/ 4969934 w 6316134"/>
              <a:gd name="connsiteY451" fmla="*/ 2413000 h 5207000"/>
              <a:gd name="connsiteX452" fmla="*/ 4876800 w 6316134"/>
              <a:gd name="connsiteY452" fmla="*/ 2768600 h 5207000"/>
              <a:gd name="connsiteX453" fmla="*/ 3589867 w 6316134"/>
              <a:gd name="connsiteY453" fmla="*/ 4097867 h 5207000"/>
              <a:gd name="connsiteX454" fmla="*/ 3386667 w 6316134"/>
              <a:gd name="connsiteY454" fmla="*/ 4292600 h 5207000"/>
              <a:gd name="connsiteX455" fmla="*/ 3310467 w 6316134"/>
              <a:gd name="connsiteY455" fmla="*/ 4334934 h 5207000"/>
              <a:gd name="connsiteX456" fmla="*/ 3276600 w 6316134"/>
              <a:gd name="connsiteY456" fmla="*/ 4360334 h 5207000"/>
              <a:gd name="connsiteX457" fmla="*/ 3318934 w 6316134"/>
              <a:gd name="connsiteY457" fmla="*/ 4309534 h 5207000"/>
              <a:gd name="connsiteX458" fmla="*/ 3784600 w 6316134"/>
              <a:gd name="connsiteY458" fmla="*/ 3818467 h 5207000"/>
              <a:gd name="connsiteX459" fmla="*/ 4284134 w 6316134"/>
              <a:gd name="connsiteY459" fmla="*/ 3310467 h 5207000"/>
              <a:gd name="connsiteX460" fmla="*/ 4546600 w 6316134"/>
              <a:gd name="connsiteY460" fmla="*/ 3039534 h 5207000"/>
              <a:gd name="connsiteX461" fmla="*/ 5003800 w 6316134"/>
              <a:gd name="connsiteY461" fmla="*/ 2556934 h 5207000"/>
              <a:gd name="connsiteX462" fmla="*/ 5139267 w 6316134"/>
              <a:gd name="connsiteY462" fmla="*/ 2429934 h 5207000"/>
              <a:gd name="connsiteX463" fmla="*/ 5012267 w 6316134"/>
              <a:gd name="connsiteY463" fmla="*/ 2429934 h 5207000"/>
              <a:gd name="connsiteX464" fmla="*/ 4199467 w 6316134"/>
              <a:gd name="connsiteY464" fmla="*/ 2667000 h 5207000"/>
              <a:gd name="connsiteX465" fmla="*/ 2997200 w 6316134"/>
              <a:gd name="connsiteY465" fmla="*/ 2929467 h 5207000"/>
              <a:gd name="connsiteX466" fmla="*/ 2667000 w 6316134"/>
              <a:gd name="connsiteY466" fmla="*/ 2954867 h 5207000"/>
              <a:gd name="connsiteX467" fmla="*/ 2184400 w 6316134"/>
              <a:gd name="connsiteY467" fmla="*/ 2988734 h 5207000"/>
              <a:gd name="connsiteX468" fmla="*/ 2209800 w 6316134"/>
              <a:gd name="connsiteY468" fmla="*/ 2946400 h 5207000"/>
              <a:gd name="connsiteX469" fmla="*/ 2675467 w 6316134"/>
              <a:gd name="connsiteY469" fmla="*/ 2328334 h 5207000"/>
              <a:gd name="connsiteX470" fmla="*/ 2937934 w 6316134"/>
              <a:gd name="connsiteY470" fmla="*/ 1921934 h 5207000"/>
              <a:gd name="connsiteX471" fmla="*/ 3031067 w 6316134"/>
              <a:gd name="connsiteY471" fmla="*/ 1659467 h 5207000"/>
              <a:gd name="connsiteX472" fmla="*/ 2844800 w 6316134"/>
              <a:gd name="connsiteY472" fmla="*/ 1761067 h 5207000"/>
              <a:gd name="connsiteX473" fmla="*/ 2717800 w 6316134"/>
              <a:gd name="connsiteY473" fmla="*/ 1905000 h 5207000"/>
              <a:gd name="connsiteX474" fmla="*/ 2650067 w 6316134"/>
              <a:gd name="connsiteY474" fmla="*/ 2108200 h 5207000"/>
              <a:gd name="connsiteX475" fmla="*/ 2726267 w 6316134"/>
              <a:gd name="connsiteY475" fmla="*/ 2396067 h 5207000"/>
              <a:gd name="connsiteX476" fmla="*/ 2802467 w 6316134"/>
              <a:gd name="connsiteY476" fmla="*/ 2480734 h 5207000"/>
              <a:gd name="connsiteX477" fmla="*/ 3217334 w 6316134"/>
              <a:gd name="connsiteY477" fmla="*/ 2667000 h 5207000"/>
              <a:gd name="connsiteX478" fmla="*/ 3843867 w 6316134"/>
              <a:gd name="connsiteY478" fmla="*/ 2887134 h 5207000"/>
              <a:gd name="connsiteX479" fmla="*/ 4165600 w 6316134"/>
              <a:gd name="connsiteY479" fmla="*/ 2946400 h 5207000"/>
              <a:gd name="connsiteX480" fmla="*/ 4944534 w 6316134"/>
              <a:gd name="connsiteY480" fmla="*/ 3158067 h 5207000"/>
              <a:gd name="connsiteX481" fmla="*/ 5130800 w 6316134"/>
              <a:gd name="connsiteY481" fmla="*/ 3268134 h 5207000"/>
              <a:gd name="connsiteX482" fmla="*/ 5173134 w 6316134"/>
              <a:gd name="connsiteY482" fmla="*/ 3361267 h 5207000"/>
              <a:gd name="connsiteX483" fmla="*/ 5164667 w 6316134"/>
              <a:gd name="connsiteY483" fmla="*/ 3420534 h 5207000"/>
              <a:gd name="connsiteX484" fmla="*/ 4978400 w 6316134"/>
              <a:gd name="connsiteY484" fmla="*/ 3632200 h 5207000"/>
              <a:gd name="connsiteX485" fmla="*/ 4546600 w 6316134"/>
              <a:gd name="connsiteY485" fmla="*/ 4004734 h 5207000"/>
              <a:gd name="connsiteX486" fmla="*/ 3970867 w 6316134"/>
              <a:gd name="connsiteY486" fmla="*/ 4394200 h 5207000"/>
              <a:gd name="connsiteX487" fmla="*/ 3200400 w 6316134"/>
              <a:gd name="connsiteY487" fmla="*/ 4580467 h 5207000"/>
              <a:gd name="connsiteX488" fmla="*/ 2201334 w 6316134"/>
              <a:gd name="connsiteY488" fmla="*/ 4563534 h 5207000"/>
              <a:gd name="connsiteX489" fmla="*/ 2057400 w 6316134"/>
              <a:gd name="connsiteY489" fmla="*/ 4512734 h 5207000"/>
              <a:gd name="connsiteX490" fmla="*/ 1938867 w 6316134"/>
              <a:gd name="connsiteY490" fmla="*/ 4411134 h 5207000"/>
              <a:gd name="connsiteX491" fmla="*/ 2108200 w 6316134"/>
              <a:gd name="connsiteY491" fmla="*/ 3928534 h 5207000"/>
              <a:gd name="connsiteX492" fmla="*/ 2599267 w 6316134"/>
              <a:gd name="connsiteY492" fmla="*/ 3378200 h 5207000"/>
              <a:gd name="connsiteX493" fmla="*/ 3843867 w 6316134"/>
              <a:gd name="connsiteY493" fmla="*/ 2616200 h 5207000"/>
              <a:gd name="connsiteX494" fmla="*/ 4284134 w 6316134"/>
              <a:gd name="connsiteY494" fmla="*/ 2531534 h 5207000"/>
              <a:gd name="connsiteX495" fmla="*/ 4377267 w 6316134"/>
              <a:gd name="connsiteY495" fmla="*/ 2540000 h 5207000"/>
              <a:gd name="connsiteX496" fmla="*/ 4436534 w 6316134"/>
              <a:gd name="connsiteY496" fmla="*/ 2700867 h 5207000"/>
              <a:gd name="connsiteX497" fmla="*/ 4038600 w 6316134"/>
              <a:gd name="connsiteY497" fmla="*/ 3031067 h 5207000"/>
              <a:gd name="connsiteX498" fmla="*/ 3132667 w 6316134"/>
              <a:gd name="connsiteY498" fmla="*/ 3310467 h 5207000"/>
              <a:gd name="connsiteX499" fmla="*/ 2827867 w 6316134"/>
              <a:gd name="connsiteY499" fmla="*/ 3327400 h 5207000"/>
              <a:gd name="connsiteX500" fmla="*/ 1972734 w 6316134"/>
              <a:gd name="connsiteY500" fmla="*/ 3175000 h 5207000"/>
              <a:gd name="connsiteX501" fmla="*/ 1947334 w 6316134"/>
              <a:gd name="connsiteY501" fmla="*/ 3132667 h 5207000"/>
              <a:gd name="connsiteX502" fmla="*/ 2074334 w 6316134"/>
              <a:gd name="connsiteY502" fmla="*/ 2768600 h 5207000"/>
              <a:gd name="connsiteX503" fmla="*/ 2540000 w 6316134"/>
              <a:gd name="connsiteY503" fmla="*/ 2226734 h 5207000"/>
              <a:gd name="connsiteX504" fmla="*/ 2802467 w 6316134"/>
              <a:gd name="connsiteY504" fmla="*/ 1972734 h 5207000"/>
              <a:gd name="connsiteX505" fmla="*/ 3674534 w 6316134"/>
              <a:gd name="connsiteY505" fmla="*/ 1261534 h 5207000"/>
              <a:gd name="connsiteX506" fmla="*/ 4148667 w 6316134"/>
              <a:gd name="connsiteY506" fmla="*/ 1032934 h 5207000"/>
              <a:gd name="connsiteX507" fmla="*/ 4047067 w 6316134"/>
              <a:gd name="connsiteY507" fmla="*/ 1083734 h 5207000"/>
              <a:gd name="connsiteX508" fmla="*/ 2819400 w 6316134"/>
              <a:gd name="connsiteY508" fmla="*/ 1261534 h 5207000"/>
              <a:gd name="connsiteX509" fmla="*/ 2446867 w 6316134"/>
              <a:gd name="connsiteY509" fmla="*/ 1253067 h 5207000"/>
              <a:gd name="connsiteX510" fmla="*/ 1659467 w 6316134"/>
              <a:gd name="connsiteY510" fmla="*/ 1159934 h 5207000"/>
              <a:gd name="connsiteX511" fmla="*/ 1490134 w 6316134"/>
              <a:gd name="connsiteY511" fmla="*/ 1083734 h 5207000"/>
              <a:gd name="connsiteX512" fmla="*/ 1515534 w 6316134"/>
              <a:gd name="connsiteY512" fmla="*/ 1007534 h 5207000"/>
              <a:gd name="connsiteX513" fmla="*/ 1566334 w 6316134"/>
              <a:gd name="connsiteY513" fmla="*/ 965200 h 5207000"/>
              <a:gd name="connsiteX514" fmla="*/ 1744134 w 6316134"/>
              <a:gd name="connsiteY514" fmla="*/ 897467 h 5207000"/>
              <a:gd name="connsiteX515" fmla="*/ 2116667 w 6316134"/>
              <a:gd name="connsiteY515" fmla="*/ 939800 h 5207000"/>
              <a:gd name="connsiteX516" fmla="*/ 2726267 w 6316134"/>
              <a:gd name="connsiteY516" fmla="*/ 1286934 h 5207000"/>
              <a:gd name="connsiteX517" fmla="*/ 2912534 w 6316134"/>
              <a:gd name="connsiteY517" fmla="*/ 1422400 h 5207000"/>
              <a:gd name="connsiteX518" fmla="*/ 3242734 w 6316134"/>
              <a:gd name="connsiteY518" fmla="*/ 1871134 h 5207000"/>
              <a:gd name="connsiteX519" fmla="*/ 3564467 w 6316134"/>
              <a:gd name="connsiteY519" fmla="*/ 2590800 h 5207000"/>
              <a:gd name="connsiteX520" fmla="*/ 3683000 w 6316134"/>
              <a:gd name="connsiteY520" fmla="*/ 2836334 h 5207000"/>
              <a:gd name="connsiteX521" fmla="*/ 4013200 w 6316134"/>
              <a:gd name="connsiteY521" fmla="*/ 3640667 h 5207000"/>
              <a:gd name="connsiteX522" fmla="*/ 4326467 w 6316134"/>
              <a:gd name="connsiteY522" fmla="*/ 4377267 h 5207000"/>
              <a:gd name="connsiteX523" fmla="*/ 4360334 w 6316134"/>
              <a:gd name="connsiteY523" fmla="*/ 4749800 h 5207000"/>
              <a:gd name="connsiteX524" fmla="*/ 4351867 w 6316134"/>
              <a:gd name="connsiteY524" fmla="*/ 4809067 h 5207000"/>
              <a:gd name="connsiteX525" fmla="*/ 4258734 w 6316134"/>
              <a:gd name="connsiteY525" fmla="*/ 4893734 h 5207000"/>
              <a:gd name="connsiteX526" fmla="*/ 4199467 w 6316134"/>
              <a:gd name="connsiteY526" fmla="*/ 4919134 h 5207000"/>
              <a:gd name="connsiteX527" fmla="*/ 4072467 w 6316134"/>
              <a:gd name="connsiteY527" fmla="*/ 4927600 h 5207000"/>
              <a:gd name="connsiteX528" fmla="*/ 4004734 w 6316134"/>
              <a:gd name="connsiteY528" fmla="*/ 4910667 h 5207000"/>
              <a:gd name="connsiteX529" fmla="*/ 3928534 w 6316134"/>
              <a:gd name="connsiteY529" fmla="*/ 4842934 h 5207000"/>
              <a:gd name="connsiteX530" fmla="*/ 3699934 w 6316134"/>
              <a:gd name="connsiteY530" fmla="*/ 4597400 h 5207000"/>
              <a:gd name="connsiteX531" fmla="*/ 3225800 w 6316134"/>
              <a:gd name="connsiteY531" fmla="*/ 3860800 h 5207000"/>
              <a:gd name="connsiteX532" fmla="*/ 3124200 w 6316134"/>
              <a:gd name="connsiteY532" fmla="*/ 3606800 h 5207000"/>
              <a:gd name="connsiteX533" fmla="*/ 3081867 w 6316134"/>
              <a:gd name="connsiteY533" fmla="*/ 3285067 h 5207000"/>
              <a:gd name="connsiteX534" fmla="*/ 3835400 w 6316134"/>
              <a:gd name="connsiteY534" fmla="*/ 2624667 h 5207000"/>
              <a:gd name="connsiteX535" fmla="*/ 4089400 w 6316134"/>
              <a:gd name="connsiteY535" fmla="*/ 2616200 h 5207000"/>
              <a:gd name="connsiteX536" fmla="*/ 4148667 w 6316134"/>
              <a:gd name="connsiteY536" fmla="*/ 2633134 h 5207000"/>
              <a:gd name="connsiteX537" fmla="*/ 4174067 w 6316134"/>
              <a:gd name="connsiteY537" fmla="*/ 2717800 h 5207000"/>
              <a:gd name="connsiteX538" fmla="*/ 4106334 w 6316134"/>
              <a:gd name="connsiteY538" fmla="*/ 2912534 h 5207000"/>
              <a:gd name="connsiteX539" fmla="*/ 3759200 w 6316134"/>
              <a:gd name="connsiteY539" fmla="*/ 3268134 h 5207000"/>
              <a:gd name="connsiteX540" fmla="*/ 2912534 w 6316134"/>
              <a:gd name="connsiteY540" fmla="*/ 3835400 h 5207000"/>
              <a:gd name="connsiteX541" fmla="*/ 2607734 w 6316134"/>
              <a:gd name="connsiteY541" fmla="*/ 3945467 h 5207000"/>
              <a:gd name="connsiteX542" fmla="*/ 2133600 w 6316134"/>
              <a:gd name="connsiteY542" fmla="*/ 4038600 h 5207000"/>
              <a:gd name="connsiteX543" fmla="*/ 2116667 w 6316134"/>
              <a:gd name="connsiteY543" fmla="*/ 3877734 h 5207000"/>
              <a:gd name="connsiteX544" fmla="*/ 2912534 w 6316134"/>
              <a:gd name="connsiteY544" fmla="*/ 3285067 h 5207000"/>
              <a:gd name="connsiteX545" fmla="*/ 3903134 w 6316134"/>
              <a:gd name="connsiteY545" fmla="*/ 2624667 h 5207000"/>
              <a:gd name="connsiteX546" fmla="*/ 4495800 w 6316134"/>
              <a:gd name="connsiteY546" fmla="*/ 2345267 h 5207000"/>
              <a:gd name="connsiteX547" fmla="*/ 4106334 w 6316134"/>
              <a:gd name="connsiteY547" fmla="*/ 2607734 h 5207000"/>
              <a:gd name="connsiteX548" fmla="*/ 2531534 w 6316134"/>
              <a:gd name="connsiteY548" fmla="*/ 3784600 h 5207000"/>
              <a:gd name="connsiteX549" fmla="*/ 1930400 w 6316134"/>
              <a:gd name="connsiteY549" fmla="*/ 4131734 h 5207000"/>
              <a:gd name="connsiteX550" fmla="*/ 1896534 w 6316134"/>
              <a:gd name="connsiteY550" fmla="*/ 4157134 h 5207000"/>
              <a:gd name="connsiteX551" fmla="*/ 1938867 w 6316134"/>
              <a:gd name="connsiteY551" fmla="*/ 4140200 h 5207000"/>
              <a:gd name="connsiteX552" fmla="*/ 2032000 w 6316134"/>
              <a:gd name="connsiteY552" fmla="*/ 4072467 h 5207000"/>
              <a:gd name="connsiteX553" fmla="*/ 2683934 w 6316134"/>
              <a:gd name="connsiteY553" fmla="*/ 3615267 h 5207000"/>
              <a:gd name="connsiteX554" fmla="*/ 3479800 w 6316134"/>
              <a:gd name="connsiteY554" fmla="*/ 2870200 h 5207000"/>
              <a:gd name="connsiteX555" fmla="*/ 4089400 w 6316134"/>
              <a:gd name="connsiteY555" fmla="*/ 2396067 h 5207000"/>
              <a:gd name="connsiteX556" fmla="*/ 4123267 w 6316134"/>
              <a:gd name="connsiteY556" fmla="*/ 2379134 h 5207000"/>
              <a:gd name="connsiteX557" fmla="*/ 3725334 w 6316134"/>
              <a:gd name="connsiteY557" fmla="*/ 2963334 h 5207000"/>
              <a:gd name="connsiteX558" fmla="*/ 3547534 w 6316134"/>
              <a:gd name="connsiteY558" fmla="*/ 3217334 h 5207000"/>
              <a:gd name="connsiteX559" fmla="*/ 3183467 w 6316134"/>
              <a:gd name="connsiteY559" fmla="*/ 3886200 h 5207000"/>
              <a:gd name="connsiteX560" fmla="*/ 3166534 w 6316134"/>
              <a:gd name="connsiteY560" fmla="*/ 4004734 h 5207000"/>
              <a:gd name="connsiteX561" fmla="*/ 3191934 w 6316134"/>
              <a:gd name="connsiteY561" fmla="*/ 3937000 h 5207000"/>
              <a:gd name="connsiteX562" fmla="*/ 3208867 w 6316134"/>
              <a:gd name="connsiteY562" fmla="*/ 3835400 h 5207000"/>
              <a:gd name="connsiteX563" fmla="*/ 3496734 w 6316134"/>
              <a:gd name="connsiteY563" fmla="*/ 2277534 h 5207000"/>
              <a:gd name="connsiteX564" fmla="*/ 3708400 w 6316134"/>
              <a:gd name="connsiteY564" fmla="*/ 1947334 h 5207000"/>
              <a:gd name="connsiteX565" fmla="*/ 3759200 w 6316134"/>
              <a:gd name="connsiteY565" fmla="*/ 1905000 h 5207000"/>
              <a:gd name="connsiteX566" fmla="*/ 3886200 w 6316134"/>
              <a:gd name="connsiteY566" fmla="*/ 1888067 h 5207000"/>
              <a:gd name="connsiteX567" fmla="*/ 4478867 w 6316134"/>
              <a:gd name="connsiteY567" fmla="*/ 2133600 h 5207000"/>
              <a:gd name="connsiteX568" fmla="*/ 5181600 w 6316134"/>
              <a:gd name="connsiteY568" fmla="*/ 2836334 h 5207000"/>
              <a:gd name="connsiteX569" fmla="*/ 5350934 w 6316134"/>
              <a:gd name="connsiteY569" fmla="*/ 3225800 h 5207000"/>
              <a:gd name="connsiteX570" fmla="*/ 5367867 w 6316134"/>
              <a:gd name="connsiteY570" fmla="*/ 3378200 h 5207000"/>
              <a:gd name="connsiteX571" fmla="*/ 5240867 w 6316134"/>
              <a:gd name="connsiteY571" fmla="*/ 3725334 h 5207000"/>
              <a:gd name="connsiteX572" fmla="*/ 5037667 w 6316134"/>
              <a:gd name="connsiteY572" fmla="*/ 3767667 h 5207000"/>
              <a:gd name="connsiteX573" fmla="*/ 4724400 w 6316134"/>
              <a:gd name="connsiteY573" fmla="*/ 3666067 h 5207000"/>
              <a:gd name="connsiteX574" fmla="*/ 4529667 w 6316134"/>
              <a:gd name="connsiteY574" fmla="*/ 3505200 h 5207000"/>
              <a:gd name="connsiteX575" fmla="*/ 4072467 w 6316134"/>
              <a:gd name="connsiteY575" fmla="*/ 2895600 h 5207000"/>
              <a:gd name="connsiteX576" fmla="*/ 3750734 w 6316134"/>
              <a:gd name="connsiteY576" fmla="*/ 1752600 h 5207000"/>
              <a:gd name="connsiteX577" fmla="*/ 3750734 w 6316134"/>
              <a:gd name="connsiteY577" fmla="*/ 855134 h 5207000"/>
              <a:gd name="connsiteX578" fmla="*/ 3869267 w 6316134"/>
              <a:gd name="connsiteY578" fmla="*/ 592667 h 5207000"/>
              <a:gd name="connsiteX579" fmla="*/ 4351867 w 6316134"/>
              <a:gd name="connsiteY579" fmla="*/ 59267 h 5207000"/>
              <a:gd name="connsiteX580" fmla="*/ 4546600 w 6316134"/>
              <a:gd name="connsiteY580" fmla="*/ 0 h 5207000"/>
              <a:gd name="connsiteX581" fmla="*/ 4656667 w 6316134"/>
              <a:gd name="connsiteY581" fmla="*/ 33867 h 5207000"/>
              <a:gd name="connsiteX582" fmla="*/ 4715934 w 6316134"/>
              <a:gd name="connsiteY582" fmla="*/ 228600 h 5207000"/>
              <a:gd name="connsiteX583" fmla="*/ 4631267 w 6316134"/>
              <a:gd name="connsiteY583" fmla="*/ 956734 h 5207000"/>
              <a:gd name="connsiteX584" fmla="*/ 4064000 w 6316134"/>
              <a:gd name="connsiteY584" fmla="*/ 1930400 h 5207000"/>
              <a:gd name="connsiteX585" fmla="*/ 3208867 w 6316134"/>
              <a:gd name="connsiteY585" fmla="*/ 2760134 h 5207000"/>
              <a:gd name="connsiteX586" fmla="*/ 3166534 w 6316134"/>
              <a:gd name="connsiteY586" fmla="*/ 2819400 h 5207000"/>
              <a:gd name="connsiteX587" fmla="*/ 3327400 w 6316134"/>
              <a:gd name="connsiteY587" fmla="*/ 2726267 h 5207000"/>
              <a:gd name="connsiteX588" fmla="*/ 4588934 w 6316134"/>
              <a:gd name="connsiteY588" fmla="*/ 1921934 h 5207000"/>
              <a:gd name="connsiteX589" fmla="*/ 5249334 w 6316134"/>
              <a:gd name="connsiteY589" fmla="*/ 1642534 h 5207000"/>
              <a:gd name="connsiteX590" fmla="*/ 5359400 w 6316134"/>
              <a:gd name="connsiteY590" fmla="*/ 1651000 h 5207000"/>
              <a:gd name="connsiteX591" fmla="*/ 5215467 w 6316134"/>
              <a:gd name="connsiteY591" fmla="*/ 1905000 h 5207000"/>
              <a:gd name="connsiteX592" fmla="*/ 4690534 w 6316134"/>
              <a:gd name="connsiteY592" fmla="*/ 2455334 h 5207000"/>
              <a:gd name="connsiteX593" fmla="*/ 3606800 w 6316134"/>
              <a:gd name="connsiteY593" fmla="*/ 3217334 h 5207000"/>
              <a:gd name="connsiteX594" fmla="*/ 2810934 w 6316134"/>
              <a:gd name="connsiteY594" fmla="*/ 3572934 h 5207000"/>
              <a:gd name="connsiteX595" fmla="*/ 2167467 w 6316134"/>
              <a:gd name="connsiteY595" fmla="*/ 3826934 h 5207000"/>
              <a:gd name="connsiteX596" fmla="*/ 2142067 w 6316134"/>
              <a:gd name="connsiteY596" fmla="*/ 3843867 h 5207000"/>
              <a:gd name="connsiteX597" fmla="*/ 2184400 w 6316134"/>
              <a:gd name="connsiteY597" fmla="*/ 3826934 h 5207000"/>
              <a:gd name="connsiteX598" fmla="*/ 2294467 w 6316134"/>
              <a:gd name="connsiteY598" fmla="*/ 3750734 h 5207000"/>
              <a:gd name="connsiteX599" fmla="*/ 3208867 w 6316134"/>
              <a:gd name="connsiteY599" fmla="*/ 3208867 h 5207000"/>
              <a:gd name="connsiteX600" fmla="*/ 4148667 w 6316134"/>
              <a:gd name="connsiteY600" fmla="*/ 2836334 h 5207000"/>
              <a:gd name="connsiteX601" fmla="*/ 4013200 w 6316134"/>
              <a:gd name="connsiteY601" fmla="*/ 2954867 h 5207000"/>
              <a:gd name="connsiteX602" fmla="*/ 3471334 w 6316134"/>
              <a:gd name="connsiteY602" fmla="*/ 3251200 h 5207000"/>
              <a:gd name="connsiteX603" fmla="*/ 2286000 w 6316134"/>
              <a:gd name="connsiteY603" fmla="*/ 3564467 h 5207000"/>
              <a:gd name="connsiteX604" fmla="*/ 1524000 w 6316134"/>
              <a:gd name="connsiteY604" fmla="*/ 3581400 h 5207000"/>
              <a:gd name="connsiteX605" fmla="*/ 1007534 w 6316134"/>
              <a:gd name="connsiteY605" fmla="*/ 3403600 h 5207000"/>
              <a:gd name="connsiteX606" fmla="*/ 914400 w 6316134"/>
              <a:gd name="connsiteY606" fmla="*/ 3217334 h 5207000"/>
              <a:gd name="connsiteX607" fmla="*/ 956734 w 6316134"/>
              <a:gd name="connsiteY607" fmla="*/ 2751667 h 5207000"/>
              <a:gd name="connsiteX608" fmla="*/ 1219200 w 6316134"/>
              <a:gd name="connsiteY608" fmla="*/ 2226734 h 5207000"/>
              <a:gd name="connsiteX609" fmla="*/ 1862667 w 6316134"/>
              <a:gd name="connsiteY609" fmla="*/ 1439334 h 5207000"/>
              <a:gd name="connsiteX610" fmla="*/ 2235200 w 6316134"/>
              <a:gd name="connsiteY610" fmla="*/ 1151467 h 5207000"/>
              <a:gd name="connsiteX611" fmla="*/ 2455334 w 6316134"/>
              <a:gd name="connsiteY611" fmla="*/ 1126067 h 5207000"/>
              <a:gd name="connsiteX612" fmla="*/ 2497667 w 6316134"/>
              <a:gd name="connsiteY612" fmla="*/ 1168400 h 5207000"/>
              <a:gd name="connsiteX613" fmla="*/ 3056467 w 6316134"/>
              <a:gd name="connsiteY613" fmla="*/ 2201334 h 5207000"/>
              <a:gd name="connsiteX614" fmla="*/ 3623734 w 6316134"/>
              <a:gd name="connsiteY614" fmla="*/ 3547534 h 5207000"/>
              <a:gd name="connsiteX615" fmla="*/ 3886200 w 6316134"/>
              <a:gd name="connsiteY615" fmla="*/ 4080934 h 5207000"/>
              <a:gd name="connsiteX616" fmla="*/ 4207934 w 6316134"/>
              <a:gd name="connsiteY616" fmla="*/ 4555067 h 5207000"/>
              <a:gd name="connsiteX617" fmla="*/ 4258734 w 6316134"/>
              <a:gd name="connsiteY617" fmla="*/ 4597400 h 5207000"/>
              <a:gd name="connsiteX618" fmla="*/ 3903134 w 6316134"/>
              <a:gd name="connsiteY618" fmla="*/ 3852334 h 5207000"/>
              <a:gd name="connsiteX619" fmla="*/ 3776134 w 6316134"/>
              <a:gd name="connsiteY619" fmla="*/ 3352800 h 5207000"/>
              <a:gd name="connsiteX620" fmla="*/ 3759200 w 6316134"/>
              <a:gd name="connsiteY620" fmla="*/ 3149600 h 5207000"/>
              <a:gd name="connsiteX621" fmla="*/ 3970867 w 6316134"/>
              <a:gd name="connsiteY621" fmla="*/ 3572934 h 5207000"/>
              <a:gd name="connsiteX622" fmla="*/ 4241800 w 6316134"/>
              <a:gd name="connsiteY622" fmla="*/ 4148667 h 5207000"/>
              <a:gd name="connsiteX623" fmla="*/ 4360334 w 6316134"/>
              <a:gd name="connsiteY623" fmla="*/ 4411134 h 5207000"/>
              <a:gd name="connsiteX624" fmla="*/ 4487334 w 6316134"/>
              <a:gd name="connsiteY624" fmla="*/ 4826000 h 5207000"/>
              <a:gd name="connsiteX625" fmla="*/ 4495800 w 6316134"/>
              <a:gd name="connsiteY625" fmla="*/ 4961467 h 5207000"/>
              <a:gd name="connsiteX626" fmla="*/ 4377267 w 6316134"/>
              <a:gd name="connsiteY626" fmla="*/ 4885267 h 5207000"/>
              <a:gd name="connsiteX627" fmla="*/ 4165600 w 6316134"/>
              <a:gd name="connsiteY627" fmla="*/ 4605867 h 5207000"/>
              <a:gd name="connsiteX628" fmla="*/ 4055534 w 6316134"/>
              <a:gd name="connsiteY628" fmla="*/ 4343400 h 5207000"/>
              <a:gd name="connsiteX629" fmla="*/ 3725334 w 6316134"/>
              <a:gd name="connsiteY629" fmla="*/ 3818467 h 5207000"/>
              <a:gd name="connsiteX630" fmla="*/ 3420534 w 6316134"/>
              <a:gd name="connsiteY630" fmla="*/ 3217334 h 5207000"/>
              <a:gd name="connsiteX631" fmla="*/ 3445934 w 6316134"/>
              <a:gd name="connsiteY631" fmla="*/ 3208867 h 5207000"/>
              <a:gd name="connsiteX632" fmla="*/ 3471334 w 6316134"/>
              <a:gd name="connsiteY632" fmla="*/ 3225800 h 5207000"/>
              <a:gd name="connsiteX633" fmla="*/ 3598334 w 6316134"/>
              <a:gd name="connsiteY633" fmla="*/ 3293534 h 5207000"/>
              <a:gd name="connsiteX634" fmla="*/ 3683000 w 6316134"/>
              <a:gd name="connsiteY634" fmla="*/ 3352800 h 5207000"/>
              <a:gd name="connsiteX635" fmla="*/ 3767667 w 6316134"/>
              <a:gd name="connsiteY635" fmla="*/ 3378200 h 5207000"/>
              <a:gd name="connsiteX636" fmla="*/ 3810000 w 6316134"/>
              <a:gd name="connsiteY636" fmla="*/ 3369734 h 5207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Lst>
            <a:rect l="l" t="t" r="r" b="b"/>
            <a:pathLst>
              <a:path w="6316134" h="5207000">
                <a:moveTo>
                  <a:pt x="3877734" y="1464734"/>
                </a:moveTo>
                <a:cubicBezTo>
                  <a:pt x="3820900" y="1453367"/>
                  <a:pt x="3813512" y="1446483"/>
                  <a:pt x="3742267" y="1473200"/>
                </a:cubicBezTo>
                <a:cubicBezTo>
                  <a:pt x="3725347" y="1479545"/>
                  <a:pt x="3714792" y="1496781"/>
                  <a:pt x="3699934" y="1507067"/>
                </a:cubicBezTo>
                <a:cubicBezTo>
                  <a:pt x="3613397" y="1566977"/>
                  <a:pt x="3579946" y="1563920"/>
                  <a:pt x="3496734" y="1667934"/>
                </a:cubicBezTo>
                <a:cubicBezTo>
                  <a:pt x="3474156" y="1696156"/>
                  <a:pt x="3450440" y="1723504"/>
                  <a:pt x="3429000" y="1752600"/>
                </a:cubicBezTo>
                <a:cubicBezTo>
                  <a:pt x="3410891" y="1777176"/>
                  <a:pt x="3396744" y="1804551"/>
                  <a:pt x="3378200" y="1828800"/>
                </a:cubicBezTo>
                <a:cubicBezTo>
                  <a:pt x="3359976" y="1852631"/>
                  <a:pt x="3338689" y="1873956"/>
                  <a:pt x="3318934" y="1896534"/>
                </a:cubicBezTo>
                <a:cubicBezTo>
                  <a:pt x="3313289" y="1921934"/>
                  <a:pt x="3303182" y="1946741"/>
                  <a:pt x="3302000" y="1972734"/>
                </a:cubicBezTo>
                <a:cubicBezTo>
                  <a:pt x="3300329" y="2009493"/>
                  <a:pt x="3302039" y="2046981"/>
                  <a:pt x="3310467" y="2082800"/>
                </a:cubicBezTo>
                <a:cubicBezTo>
                  <a:pt x="3313699" y="2096536"/>
                  <a:pt x="3325320" y="2107292"/>
                  <a:pt x="3335867" y="2116667"/>
                </a:cubicBezTo>
                <a:cubicBezTo>
                  <a:pt x="3351078" y="2130188"/>
                  <a:pt x="3368189" y="2142006"/>
                  <a:pt x="3386667" y="2150534"/>
                </a:cubicBezTo>
                <a:cubicBezTo>
                  <a:pt x="3433570" y="2172182"/>
                  <a:pt x="3489705" y="2171446"/>
                  <a:pt x="3539067" y="2175934"/>
                </a:cubicBezTo>
                <a:cubicBezTo>
                  <a:pt x="3683000" y="2167467"/>
                  <a:pt x="3827635" y="2167061"/>
                  <a:pt x="3970867" y="2150534"/>
                </a:cubicBezTo>
                <a:cubicBezTo>
                  <a:pt x="4146414" y="2130279"/>
                  <a:pt x="4300500" y="2066743"/>
                  <a:pt x="4461934" y="1998134"/>
                </a:cubicBezTo>
                <a:cubicBezTo>
                  <a:pt x="4819097" y="1846339"/>
                  <a:pt x="4769643" y="1869567"/>
                  <a:pt x="4986867" y="1752600"/>
                </a:cubicBezTo>
                <a:cubicBezTo>
                  <a:pt x="5006623" y="1730022"/>
                  <a:pt x="5025862" y="1706982"/>
                  <a:pt x="5046134" y="1684867"/>
                </a:cubicBezTo>
                <a:cubicBezTo>
                  <a:pt x="5088223" y="1638951"/>
                  <a:pt x="5073882" y="1669353"/>
                  <a:pt x="5088467" y="1625600"/>
                </a:cubicBezTo>
                <a:cubicBezTo>
                  <a:pt x="5004948" y="1569922"/>
                  <a:pt x="5051724" y="1593935"/>
                  <a:pt x="4842934" y="1617134"/>
                </a:cubicBezTo>
                <a:cubicBezTo>
                  <a:pt x="4728288" y="1629872"/>
                  <a:pt x="4560683" y="1685680"/>
                  <a:pt x="4461934" y="1727200"/>
                </a:cubicBezTo>
                <a:cubicBezTo>
                  <a:pt x="4284947" y="1801615"/>
                  <a:pt x="4115699" y="1894064"/>
                  <a:pt x="3937000" y="1964267"/>
                </a:cubicBezTo>
                <a:cubicBezTo>
                  <a:pt x="3857978" y="1995311"/>
                  <a:pt x="3777686" y="2023298"/>
                  <a:pt x="3699934" y="2057400"/>
                </a:cubicBezTo>
                <a:cubicBezTo>
                  <a:pt x="3506281" y="2142336"/>
                  <a:pt x="3455630" y="2187850"/>
                  <a:pt x="3268134" y="2252134"/>
                </a:cubicBezTo>
                <a:cubicBezTo>
                  <a:pt x="3232516" y="2264346"/>
                  <a:pt x="3194756" y="2269067"/>
                  <a:pt x="3158067" y="2277534"/>
                </a:cubicBezTo>
                <a:cubicBezTo>
                  <a:pt x="3129845" y="2274712"/>
                  <a:pt x="3094599" y="2287911"/>
                  <a:pt x="3073400" y="2269067"/>
                </a:cubicBezTo>
                <a:cubicBezTo>
                  <a:pt x="3058485" y="2255809"/>
                  <a:pt x="3073868" y="2228083"/>
                  <a:pt x="3081867" y="2209800"/>
                </a:cubicBezTo>
                <a:cubicBezTo>
                  <a:pt x="3094103" y="2181832"/>
                  <a:pt x="3117245" y="2159945"/>
                  <a:pt x="3132667" y="2133600"/>
                </a:cubicBezTo>
                <a:cubicBezTo>
                  <a:pt x="3185013" y="2044176"/>
                  <a:pt x="3223685" y="1946147"/>
                  <a:pt x="3285067" y="1862667"/>
                </a:cubicBezTo>
                <a:cubicBezTo>
                  <a:pt x="3355623" y="1766711"/>
                  <a:pt x="3438893" y="1678915"/>
                  <a:pt x="3496734" y="1574800"/>
                </a:cubicBezTo>
                <a:cubicBezTo>
                  <a:pt x="3524956" y="1524000"/>
                  <a:pt x="3553958" y="1473625"/>
                  <a:pt x="3581400" y="1422400"/>
                </a:cubicBezTo>
                <a:cubicBezTo>
                  <a:pt x="3596300" y="1394586"/>
                  <a:pt x="3608265" y="1365235"/>
                  <a:pt x="3623734" y="1337734"/>
                </a:cubicBezTo>
                <a:cubicBezTo>
                  <a:pt x="3633711" y="1319996"/>
                  <a:pt x="3637249" y="1286934"/>
                  <a:pt x="3657600" y="1286934"/>
                </a:cubicBezTo>
                <a:cubicBezTo>
                  <a:pt x="3676532" y="1286934"/>
                  <a:pt x="3639889" y="1320434"/>
                  <a:pt x="3632200" y="1337734"/>
                </a:cubicBezTo>
                <a:cubicBezTo>
                  <a:pt x="3617299" y="1371261"/>
                  <a:pt x="3602970" y="1405065"/>
                  <a:pt x="3589867" y="1439334"/>
                </a:cubicBezTo>
                <a:cubicBezTo>
                  <a:pt x="3566272" y="1501043"/>
                  <a:pt x="3536876" y="1561200"/>
                  <a:pt x="3522134" y="1625600"/>
                </a:cubicBezTo>
                <a:cubicBezTo>
                  <a:pt x="3483099" y="1796122"/>
                  <a:pt x="3468624" y="1971681"/>
                  <a:pt x="3429000" y="2142067"/>
                </a:cubicBezTo>
                <a:lnTo>
                  <a:pt x="3344334" y="2506134"/>
                </a:lnTo>
                <a:cubicBezTo>
                  <a:pt x="3341356" y="2571640"/>
                  <a:pt x="3317532" y="3054327"/>
                  <a:pt x="3318934" y="3158067"/>
                </a:cubicBezTo>
                <a:cubicBezTo>
                  <a:pt x="3322019" y="3386322"/>
                  <a:pt x="3268367" y="3463086"/>
                  <a:pt x="3403600" y="3589867"/>
                </a:cubicBezTo>
                <a:cubicBezTo>
                  <a:pt x="3423024" y="3608077"/>
                  <a:pt x="3445647" y="3625195"/>
                  <a:pt x="3471334" y="3632200"/>
                </a:cubicBezTo>
                <a:cubicBezTo>
                  <a:pt x="3509550" y="3642623"/>
                  <a:pt x="3550356" y="3637845"/>
                  <a:pt x="3589867" y="3640667"/>
                </a:cubicBezTo>
                <a:cubicBezTo>
                  <a:pt x="3685823" y="3635023"/>
                  <a:pt x="3783241" y="3641351"/>
                  <a:pt x="3877734" y="3623734"/>
                </a:cubicBezTo>
                <a:cubicBezTo>
                  <a:pt x="3951452" y="3609990"/>
                  <a:pt x="4019954" y="3575827"/>
                  <a:pt x="4089400" y="3547534"/>
                </a:cubicBezTo>
                <a:cubicBezTo>
                  <a:pt x="4303516" y="3460301"/>
                  <a:pt x="4386875" y="3417924"/>
                  <a:pt x="4580467" y="3285067"/>
                </a:cubicBezTo>
                <a:cubicBezTo>
                  <a:pt x="4645163" y="3240668"/>
                  <a:pt x="4712443" y="3197785"/>
                  <a:pt x="4766734" y="3141134"/>
                </a:cubicBezTo>
                <a:cubicBezTo>
                  <a:pt x="4851425" y="3052761"/>
                  <a:pt x="5012924" y="2822392"/>
                  <a:pt x="5088467" y="2700867"/>
                </a:cubicBezTo>
                <a:cubicBezTo>
                  <a:pt x="5115819" y="2656866"/>
                  <a:pt x="5140818" y="2611394"/>
                  <a:pt x="5164667" y="2565400"/>
                </a:cubicBezTo>
                <a:cubicBezTo>
                  <a:pt x="5180364" y="2535127"/>
                  <a:pt x="5192710" y="2503229"/>
                  <a:pt x="5207000" y="2472267"/>
                </a:cubicBezTo>
                <a:cubicBezTo>
                  <a:pt x="5209645" y="2466537"/>
                  <a:pt x="5219253" y="2450286"/>
                  <a:pt x="5215467" y="2455334"/>
                </a:cubicBezTo>
                <a:cubicBezTo>
                  <a:pt x="5198534" y="2477912"/>
                  <a:pt x="5180604" y="2499775"/>
                  <a:pt x="5164667" y="2523067"/>
                </a:cubicBezTo>
                <a:cubicBezTo>
                  <a:pt x="5092808" y="2628091"/>
                  <a:pt x="5089585" y="2661317"/>
                  <a:pt x="4986867" y="2768600"/>
                </a:cubicBezTo>
                <a:cubicBezTo>
                  <a:pt x="4908778" y="2850160"/>
                  <a:pt x="4560981" y="3167783"/>
                  <a:pt x="4461934" y="3234267"/>
                </a:cubicBezTo>
                <a:cubicBezTo>
                  <a:pt x="4198210" y="3411287"/>
                  <a:pt x="3941671" y="3513597"/>
                  <a:pt x="3623734" y="3564467"/>
                </a:cubicBezTo>
                <a:cubicBezTo>
                  <a:pt x="3433905" y="3594840"/>
                  <a:pt x="3239911" y="3587045"/>
                  <a:pt x="3048000" y="3598334"/>
                </a:cubicBezTo>
                <a:cubicBezTo>
                  <a:pt x="2647245" y="3564467"/>
                  <a:pt x="2241219" y="3569833"/>
                  <a:pt x="1845734" y="3496734"/>
                </a:cubicBezTo>
                <a:cubicBezTo>
                  <a:pt x="1640106" y="3458727"/>
                  <a:pt x="1452911" y="3352410"/>
                  <a:pt x="1261534" y="3268134"/>
                </a:cubicBezTo>
                <a:cubicBezTo>
                  <a:pt x="960962" y="3135772"/>
                  <a:pt x="949791" y="3110527"/>
                  <a:pt x="719667" y="2937934"/>
                </a:cubicBezTo>
                <a:cubicBezTo>
                  <a:pt x="705556" y="2895601"/>
                  <a:pt x="677334" y="2855557"/>
                  <a:pt x="677334" y="2810934"/>
                </a:cubicBezTo>
                <a:cubicBezTo>
                  <a:pt x="677334" y="2725099"/>
                  <a:pt x="687282" y="2636425"/>
                  <a:pt x="719667" y="2556934"/>
                </a:cubicBezTo>
                <a:cubicBezTo>
                  <a:pt x="783847" y="2399400"/>
                  <a:pt x="1012066" y="2207868"/>
                  <a:pt x="1126067" y="2116667"/>
                </a:cubicBezTo>
                <a:cubicBezTo>
                  <a:pt x="1585566" y="1749068"/>
                  <a:pt x="1600471" y="1693736"/>
                  <a:pt x="2057400" y="1532467"/>
                </a:cubicBezTo>
                <a:cubicBezTo>
                  <a:pt x="2179503" y="1489372"/>
                  <a:pt x="2302285" y="1444127"/>
                  <a:pt x="2429934" y="1422400"/>
                </a:cubicBezTo>
                <a:cubicBezTo>
                  <a:pt x="2701538" y="1376170"/>
                  <a:pt x="2977445" y="1360311"/>
                  <a:pt x="3251200" y="1329267"/>
                </a:cubicBezTo>
                <a:cubicBezTo>
                  <a:pt x="3338204" y="1338589"/>
                  <a:pt x="3464415" y="1309113"/>
                  <a:pt x="3530600" y="1388534"/>
                </a:cubicBezTo>
                <a:cubicBezTo>
                  <a:pt x="3547645" y="1408988"/>
                  <a:pt x="3558823" y="1433689"/>
                  <a:pt x="3572934" y="1456267"/>
                </a:cubicBezTo>
                <a:cubicBezTo>
                  <a:pt x="3578578" y="1476023"/>
                  <a:pt x="3590278" y="1494992"/>
                  <a:pt x="3589867" y="1515534"/>
                </a:cubicBezTo>
                <a:cubicBezTo>
                  <a:pt x="3587434" y="1637160"/>
                  <a:pt x="3591211" y="1760926"/>
                  <a:pt x="3564467" y="1879600"/>
                </a:cubicBezTo>
                <a:cubicBezTo>
                  <a:pt x="3532877" y="2019780"/>
                  <a:pt x="3373220" y="2245715"/>
                  <a:pt x="3293534" y="2353734"/>
                </a:cubicBezTo>
                <a:cubicBezTo>
                  <a:pt x="3223147" y="2449148"/>
                  <a:pt x="3150678" y="2543211"/>
                  <a:pt x="3073400" y="2633134"/>
                </a:cubicBezTo>
                <a:cubicBezTo>
                  <a:pt x="2995316" y="2723995"/>
                  <a:pt x="2914071" y="2812403"/>
                  <a:pt x="2827867" y="2895600"/>
                </a:cubicBezTo>
                <a:cubicBezTo>
                  <a:pt x="2671186" y="3046816"/>
                  <a:pt x="2528084" y="3217574"/>
                  <a:pt x="2345267" y="3335867"/>
                </a:cubicBezTo>
                <a:cubicBezTo>
                  <a:pt x="2297289" y="3366911"/>
                  <a:pt x="2252135" y="3402830"/>
                  <a:pt x="2201334" y="3429000"/>
                </a:cubicBezTo>
                <a:cubicBezTo>
                  <a:pt x="2158462" y="3451085"/>
                  <a:pt x="2022732" y="3501367"/>
                  <a:pt x="2065867" y="3479800"/>
                </a:cubicBezTo>
                <a:cubicBezTo>
                  <a:pt x="2307416" y="3359026"/>
                  <a:pt x="2549317" y="3235808"/>
                  <a:pt x="2802467" y="3141134"/>
                </a:cubicBezTo>
                <a:lnTo>
                  <a:pt x="3843867" y="2751667"/>
                </a:lnTo>
                <a:cubicBezTo>
                  <a:pt x="4040197" y="2680459"/>
                  <a:pt x="4233925" y="2599119"/>
                  <a:pt x="4436534" y="2548467"/>
                </a:cubicBezTo>
                <a:cubicBezTo>
                  <a:pt x="4992694" y="2409427"/>
                  <a:pt x="4986505" y="2400633"/>
                  <a:pt x="5528734" y="2302934"/>
                </a:cubicBezTo>
                <a:cubicBezTo>
                  <a:pt x="5968962" y="2223613"/>
                  <a:pt x="5851831" y="2238433"/>
                  <a:pt x="6214534" y="2226734"/>
                </a:cubicBezTo>
                <a:lnTo>
                  <a:pt x="6316134" y="2243667"/>
                </a:lnTo>
                <a:cubicBezTo>
                  <a:pt x="6310575" y="2282581"/>
                  <a:pt x="6243135" y="2272917"/>
                  <a:pt x="6206067" y="2286000"/>
                </a:cubicBezTo>
                <a:cubicBezTo>
                  <a:pt x="6147156" y="2306792"/>
                  <a:pt x="6088771" y="2329709"/>
                  <a:pt x="6028267" y="2345267"/>
                </a:cubicBezTo>
                <a:cubicBezTo>
                  <a:pt x="5265329" y="2541451"/>
                  <a:pt x="5520712" y="2505746"/>
                  <a:pt x="4927600" y="2531534"/>
                </a:cubicBezTo>
                <a:lnTo>
                  <a:pt x="3632200" y="2506134"/>
                </a:lnTo>
                <a:cubicBezTo>
                  <a:pt x="3491591" y="2494242"/>
                  <a:pt x="3356466" y="2440881"/>
                  <a:pt x="3225800" y="2387600"/>
                </a:cubicBezTo>
                <a:cubicBezTo>
                  <a:pt x="3064514" y="2321833"/>
                  <a:pt x="2760134" y="2150534"/>
                  <a:pt x="2760134" y="2150534"/>
                </a:cubicBezTo>
                <a:cubicBezTo>
                  <a:pt x="2730097" y="2120497"/>
                  <a:pt x="2626723" y="2025046"/>
                  <a:pt x="2616200" y="1981200"/>
                </a:cubicBezTo>
                <a:cubicBezTo>
                  <a:pt x="2599908" y="1913318"/>
                  <a:pt x="2627654" y="1853305"/>
                  <a:pt x="2675467" y="1811867"/>
                </a:cubicBezTo>
                <a:cubicBezTo>
                  <a:pt x="2701500" y="1789305"/>
                  <a:pt x="2730512" y="1770188"/>
                  <a:pt x="2760134" y="1752600"/>
                </a:cubicBezTo>
                <a:cubicBezTo>
                  <a:pt x="2910638" y="1663238"/>
                  <a:pt x="2920135" y="1651886"/>
                  <a:pt x="3064934" y="1617134"/>
                </a:cubicBezTo>
                <a:cubicBezTo>
                  <a:pt x="3095616" y="1609770"/>
                  <a:pt x="3127023" y="1605845"/>
                  <a:pt x="3158067" y="1600200"/>
                </a:cubicBezTo>
                <a:cubicBezTo>
                  <a:pt x="3180645" y="1605845"/>
                  <a:pt x="3207627" y="1602596"/>
                  <a:pt x="3225800" y="1617134"/>
                </a:cubicBezTo>
                <a:cubicBezTo>
                  <a:pt x="3245510" y="1632902"/>
                  <a:pt x="3250800" y="1748595"/>
                  <a:pt x="3251200" y="1752600"/>
                </a:cubicBezTo>
                <a:cubicBezTo>
                  <a:pt x="3184948" y="2514500"/>
                  <a:pt x="3284356" y="2118353"/>
                  <a:pt x="3081867" y="2599267"/>
                </a:cubicBezTo>
                <a:cubicBezTo>
                  <a:pt x="3006212" y="2778947"/>
                  <a:pt x="2937389" y="2961454"/>
                  <a:pt x="2861734" y="3141134"/>
                </a:cubicBezTo>
                <a:cubicBezTo>
                  <a:pt x="2824482" y="3229608"/>
                  <a:pt x="2743200" y="3403600"/>
                  <a:pt x="2743200" y="3403600"/>
                </a:cubicBezTo>
                <a:cubicBezTo>
                  <a:pt x="2726267" y="3479800"/>
                  <a:pt x="2710081" y="3556170"/>
                  <a:pt x="2692400" y="3632200"/>
                </a:cubicBezTo>
                <a:cubicBezTo>
                  <a:pt x="2681857" y="3677536"/>
                  <a:pt x="2663674" y="3721406"/>
                  <a:pt x="2658534" y="3767667"/>
                </a:cubicBezTo>
                <a:cubicBezTo>
                  <a:pt x="2655092" y="3798649"/>
                  <a:pt x="2664178" y="3829756"/>
                  <a:pt x="2667000" y="3860800"/>
                </a:cubicBezTo>
                <a:cubicBezTo>
                  <a:pt x="2707361" y="3847347"/>
                  <a:pt x="2697360" y="3856456"/>
                  <a:pt x="2726267" y="3801534"/>
                </a:cubicBezTo>
                <a:cubicBezTo>
                  <a:pt x="2793747" y="3673322"/>
                  <a:pt x="2781051" y="3674734"/>
                  <a:pt x="2819400" y="3513667"/>
                </a:cubicBezTo>
                <a:cubicBezTo>
                  <a:pt x="2827867" y="3431823"/>
                  <a:pt x="2838677" y="3350187"/>
                  <a:pt x="2844800" y="3268134"/>
                </a:cubicBezTo>
                <a:cubicBezTo>
                  <a:pt x="2890429" y="2656708"/>
                  <a:pt x="2856225" y="1927298"/>
                  <a:pt x="2853267" y="1380067"/>
                </a:cubicBezTo>
                <a:cubicBezTo>
                  <a:pt x="2864556" y="1337734"/>
                  <a:pt x="2843486" y="1249272"/>
                  <a:pt x="2887134" y="1253067"/>
                </a:cubicBezTo>
                <a:cubicBezTo>
                  <a:pt x="2912017" y="1255231"/>
                  <a:pt x="3213979" y="1562452"/>
                  <a:pt x="3217334" y="1566334"/>
                </a:cubicBezTo>
                <a:cubicBezTo>
                  <a:pt x="3362883" y="1734754"/>
                  <a:pt x="3501152" y="1909349"/>
                  <a:pt x="3640667" y="2082800"/>
                </a:cubicBezTo>
                <a:cubicBezTo>
                  <a:pt x="3710014" y="2169015"/>
                  <a:pt x="3787912" y="2249814"/>
                  <a:pt x="3843867" y="2345267"/>
                </a:cubicBezTo>
                <a:cubicBezTo>
                  <a:pt x="3965503" y="2552763"/>
                  <a:pt x="4157922" y="2864551"/>
                  <a:pt x="4216400" y="3073400"/>
                </a:cubicBezTo>
                <a:lnTo>
                  <a:pt x="4275667" y="3285067"/>
                </a:lnTo>
                <a:cubicBezTo>
                  <a:pt x="4281311" y="3333045"/>
                  <a:pt x="4287454" y="3380966"/>
                  <a:pt x="4292600" y="3429000"/>
                </a:cubicBezTo>
                <a:cubicBezTo>
                  <a:pt x="4302259" y="3519148"/>
                  <a:pt x="4312999" y="3557535"/>
                  <a:pt x="4267200" y="3649134"/>
                </a:cubicBezTo>
                <a:cubicBezTo>
                  <a:pt x="4259841" y="3663853"/>
                  <a:pt x="4240057" y="3668205"/>
                  <a:pt x="4224867" y="3674534"/>
                </a:cubicBezTo>
                <a:cubicBezTo>
                  <a:pt x="4188787" y="3689567"/>
                  <a:pt x="4152701" y="3693617"/>
                  <a:pt x="4114800" y="3699934"/>
                </a:cubicBezTo>
                <a:cubicBezTo>
                  <a:pt x="4055533" y="3688645"/>
                  <a:pt x="3992243" y="3690320"/>
                  <a:pt x="3937000" y="3666067"/>
                </a:cubicBezTo>
                <a:cubicBezTo>
                  <a:pt x="3751554" y="3584652"/>
                  <a:pt x="3686999" y="3435474"/>
                  <a:pt x="3556000" y="3285067"/>
                </a:cubicBezTo>
                <a:cubicBezTo>
                  <a:pt x="3477316" y="3194726"/>
                  <a:pt x="3386918" y="3114839"/>
                  <a:pt x="3310467" y="3022600"/>
                </a:cubicBezTo>
                <a:cubicBezTo>
                  <a:pt x="3127078" y="2801338"/>
                  <a:pt x="2952218" y="2573106"/>
                  <a:pt x="2777067" y="2345267"/>
                </a:cubicBezTo>
                <a:cubicBezTo>
                  <a:pt x="2437837" y="1903993"/>
                  <a:pt x="2324000" y="1844939"/>
                  <a:pt x="2175934" y="1456267"/>
                </a:cubicBezTo>
                <a:cubicBezTo>
                  <a:pt x="2158131" y="1409533"/>
                  <a:pt x="2147711" y="1360312"/>
                  <a:pt x="2133600" y="1312334"/>
                </a:cubicBezTo>
                <a:cubicBezTo>
                  <a:pt x="2144889" y="1292578"/>
                  <a:pt x="2150461" y="1268184"/>
                  <a:pt x="2167467" y="1253067"/>
                </a:cubicBezTo>
                <a:cubicBezTo>
                  <a:pt x="2178223" y="1243506"/>
                  <a:pt x="2195622" y="1242134"/>
                  <a:pt x="2209800" y="1244600"/>
                </a:cubicBezTo>
                <a:cubicBezTo>
                  <a:pt x="2261744" y="1253634"/>
                  <a:pt x="2311400" y="1272823"/>
                  <a:pt x="2362200" y="1286934"/>
                </a:cubicBezTo>
                <a:cubicBezTo>
                  <a:pt x="2675412" y="1566101"/>
                  <a:pt x="3068569" y="1904854"/>
                  <a:pt x="3335867" y="2209800"/>
                </a:cubicBezTo>
                <a:lnTo>
                  <a:pt x="3937000" y="2895600"/>
                </a:lnTo>
                <a:cubicBezTo>
                  <a:pt x="4227869" y="3222481"/>
                  <a:pt x="4238971" y="3202598"/>
                  <a:pt x="4512734" y="3556000"/>
                </a:cubicBezTo>
                <a:cubicBezTo>
                  <a:pt x="4682881" y="3775644"/>
                  <a:pt x="4707116" y="3839478"/>
                  <a:pt x="4842934" y="4080934"/>
                </a:cubicBezTo>
                <a:cubicBezTo>
                  <a:pt x="4857045" y="4134556"/>
                  <a:pt x="4881579" y="4186475"/>
                  <a:pt x="4885267" y="4241800"/>
                </a:cubicBezTo>
                <a:cubicBezTo>
                  <a:pt x="4890162" y="4315232"/>
                  <a:pt x="4885673" y="4390411"/>
                  <a:pt x="4868334" y="4461934"/>
                </a:cubicBezTo>
                <a:cubicBezTo>
                  <a:pt x="4858183" y="4503808"/>
                  <a:pt x="4780273" y="4545892"/>
                  <a:pt x="4749800" y="4563534"/>
                </a:cubicBezTo>
                <a:cubicBezTo>
                  <a:pt x="4577645" y="4663203"/>
                  <a:pt x="4652666" y="4614767"/>
                  <a:pt x="4343400" y="4648200"/>
                </a:cubicBezTo>
                <a:cubicBezTo>
                  <a:pt x="4301067" y="4628445"/>
                  <a:pt x="4254998" y="4615251"/>
                  <a:pt x="4216400" y="4588934"/>
                </a:cubicBezTo>
                <a:cubicBezTo>
                  <a:pt x="4166902" y="4555185"/>
                  <a:pt x="4132539" y="4476110"/>
                  <a:pt x="4106334" y="4428067"/>
                </a:cubicBezTo>
                <a:cubicBezTo>
                  <a:pt x="4065424" y="4182617"/>
                  <a:pt x="4058149" y="4179718"/>
                  <a:pt x="4106334" y="3784600"/>
                </a:cubicBezTo>
                <a:cubicBezTo>
                  <a:pt x="4113064" y="3729418"/>
                  <a:pt x="4149854" y="3682241"/>
                  <a:pt x="4174067" y="3632200"/>
                </a:cubicBezTo>
                <a:cubicBezTo>
                  <a:pt x="4192217" y="3594691"/>
                  <a:pt x="4208986" y="3555950"/>
                  <a:pt x="4233334" y="3522134"/>
                </a:cubicBezTo>
                <a:cubicBezTo>
                  <a:pt x="4269661" y="3471680"/>
                  <a:pt x="4374267" y="3369684"/>
                  <a:pt x="4428067" y="3335867"/>
                </a:cubicBezTo>
                <a:cubicBezTo>
                  <a:pt x="4490053" y="3296904"/>
                  <a:pt x="4622800" y="3234267"/>
                  <a:pt x="4622800" y="3234267"/>
                </a:cubicBezTo>
                <a:cubicBezTo>
                  <a:pt x="4673600" y="3242734"/>
                  <a:pt x="4734778" y="3227755"/>
                  <a:pt x="4775200" y="3259667"/>
                </a:cubicBezTo>
                <a:cubicBezTo>
                  <a:pt x="4811054" y="3287973"/>
                  <a:pt x="4774589" y="3407791"/>
                  <a:pt x="4758267" y="3437467"/>
                </a:cubicBezTo>
                <a:cubicBezTo>
                  <a:pt x="4708714" y="3527563"/>
                  <a:pt x="4635842" y="3585919"/>
                  <a:pt x="4555067" y="3649134"/>
                </a:cubicBezTo>
                <a:cubicBezTo>
                  <a:pt x="4472385" y="3713842"/>
                  <a:pt x="4387754" y="3776164"/>
                  <a:pt x="4301067" y="3835400"/>
                </a:cubicBezTo>
                <a:cubicBezTo>
                  <a:pt x="4058737" y="4000992"/>
                  <a:pt x="4021496" y="4016319"/>
                  <a:pt x="3742267" y="4131734"/>
                </a:cubicBezTo>
                <a:cubicBezTo>
                  <a:pt x="3633283" y="4176781"/>
                  <a:pt x="3528047" y="4237394"/>
                  <a:pt x="3412067" y="4258734"/>
                </a:cubicBezTo>
                <a:cubicBezTo>
                  <a:pt x="3172333" y="4302845"/>
                  <a:pt x="2926645" y="4303889"/>
                  <a:pt x="2683934" y="4326467"/>
                </a:cubicBezTo>
                <a:cubicBezTo>
                  <a:pt x="2514559" y="4310076"/>
                  <a:pt x="2363139" y="4306899"/>
                  <a:pt x="2201334" y="4250267"/>
                </a:cubicBezTo>
                <a:cubicBezTo>
                  <a:pt x="2130677" y="4225537"/>
                  <a:pt x="2065112" y="4168776"/>
                  <a:pt x="2006600" y="4123267"/>
                </a:cubicBezTo>
                <a:cubicBezTo>
                  <a:pt x="2000956" y="4103511"/>
                  <a:pt x="1987119" y="4084388"/>
                  <a:pt x="1989667" y="4064000"/>
                </a:cubicBezTo>
                <a:cubicBezTo>
                  <a:pt x="1995870" y="4014376"/>
                  <a:pt x="2010305" y="3965126"/>
                  <a:pt x="2032000" y="3920067"/>
                </a:cubicBezTo>
                <a:cubicBezTo>
                  <a:pt x="2065997" y="3849457"/>
                  <a:pt x="2196620" y="3750741"/>
                  <a:pt x="2243667" y="3716867"/>
                </a:cubicBezTo>
                <a:cubicBezTo>
                  <a:pt x="2334504" y="3651464"/>
                  <a:pt x="2425154" y="3584839"/>
                  <a:pt x="2523067" y="3530600"/>
                </a:cubicBezTo>
                <a:cubicBezTo>
                  <a:pt x="3536881" y="2968991"/>
                  <a:pt x="3129846" y="3192252"/>
                  <a:pt x="3928534" y="2870200"/>
                </a:cubicBezTo>
                <a:cubicBezTo>
                  <a:pt x="5168849" y="2370072"/>
                  <a:pt x="3871503" y="2860944"/>
                  <a:pt x="4876800" y="2506134"/>
                </a:cubicBezTo>
                <a:cubicBezTo>
                  <a:pt x="4982083" y="2468975"/>
                  <a:pt x="5084149" y="2422906"/>
                  <a:pt x="5190067" y="2387600"/>
                </a:cubicBezTo>
                <a:cubicBezTo>
                  <a:pt x="5293813" y="2353018"/>
                  <a:pt x="5384474" y="2334051"/>
                  <a:pt x="5486400" y="2311400"/>
                </a:cubicBezTo>
                <a:cubicBezTo>
                  <a:pt x="4915965" y="2216335"/>
                  <a:pt x="5508900" y="2312381"/>
                  <a:pt x="3860800" y="2294467"/>
                </a:cubicBezTo>
                <a:cubicBezTo>
                  <a:pt x="3606752" y="2291706"/>
                  <a:pt x="3352800" y="2283178"/>
                  <a:pt x="3098800" y="2277534"/>
                </a:cubicBezTo>
                <a:cubicBezTo>
                  <a:pt x="2902536" y="2248671"/>
                  <a:pt x="2707385" y="2225006"/>
                  <a:pt x="2514600" y="2175934"/>
                </a:cubicBezTo>
                <a:cubicBezTo>
                  <a:pt x="2456646" y="2161182"/>
                  <a:pt x="2401711" y="2136423"/>
                  <a:pt x="2345267" y="2116667"/>
                </a:cubicBezTo>
                <a:cubicBezTo>
                  <a:pt x="2402067" y="2003066"/>
                  <a:pt x="2353731" y="2077510"/>
                  <a:pt x="2548467" y="1955800"/>
                </a:cubicBezTo>
                <a:cubicBezTo>
                  <a:pt x="2602248" y="1922187"/>
                  <a:pt x="2649661" y="1875682"/>
                  <a:pt x="2709334" y="1854200"/>
                </a:cubicBezTo>
                <a:cubicBezTo>
                  <a:pt x="2894139" y="1787670"/>
                  <a:pt x="2975613" y="1763065"/>
                  <a:pt x="3158067" y="1676400"/>
                </a:cubicBezTo>
                <a:cubicBezTo>
                  <a:pt x="3306275" y="1606001"/>
                  <a:pt x="3452422" y="1531308"/>
                  <a:pt x="3598334" y="1456267"/>
                </a:cubicBezTo>
                <a:cubicBezTo>
                  <a:pt x="3650013" y="1429689"/>
                  <a:pt x="3705039" y="1407504"/>
                  <a:pt x="3750734" y="1371600"/>
                </a:cubicBezTo>
                <a:lnTo>
                  <a:pt x="3869267" y="1278467"/>
                </a:lnTo>
                <a:cubicBezTo>
                  <a:pt x="3872089" y="1270000"/>
                  <a:pt x="3879484" y="1261818"/>
                  <a:pt x="3877734" y="1253067"/>
                </a:cubicBezTo>
                <a:cubicBezTo>
                  <a:pt x="3876168" y="1245240"/>
                  <a:pt x="3867940" y="1239704"/>
                  <a:pt x="3860800" y="1236134"/>
                </a:cubicBezTo>
                <a:cubicBezTo>
                  <a:pt x="3837938" y="1224703"/>
                  <a:pt x="3744620" y="1219281"/>
                  <a:pt x="3742267" y="1219200"/>
                </a:cubicBezTo>
                <a:cubicBezTo>
                  <a:pt x="3606851" y="1214531"/>
                  <a:pt x="3471334" y="1213556"/>
                  <a:pt x="3335867" y="1210734"/>
                </a:cubicBezTo>
                <a:cubicBezTo>
                  <a:pt x="3203223" y="1213556"/>
                  <a:pt x="3070218" y="1209024"/>
                  <a:pt x="2937934" y="1219200"/>
                </a:cubicBezTo>
                <a:cubicBezTo>
                  <a:pt x="2886048" y="1223191"/>
                  <a:pt x="2835139" y="1237338"/>
                  <a:pt x="2785534" y="1253067"/>
                </a:cubicBezTo>
                <a:cubicBezTo>
                  <a:pt x="2682691" y="1285676"/>
                  <a:pt x="2539923" y="1351879"/>
                  <a:pt x="2438400" y="1397000"/>
                </a:cubicBezTo>
                <a:cubicBezTo>
                  <a:pt x="2388678" y="1446722"/>
                  <a:pt x="2353581" y="1473468"/>
                  <a:pt x="2319867" y="1532467"/>
                </a:cubicBezTo>
                <a:cubicBezTo>
                  <a:pt x="2309203" y="1551129"/>
                  <a:pt x="2302934" y="1571978"/>
                  <a:pt x="2294467" y="1591734"/>
                </a:cubicBezTo>
                <a:cubicBezTo>
                  <a:pt x="2373366" y="1796871"/>
                  <a:pt x="2313144" y="1692036"/>
                  <a:pt x="2582334" y="1913467"/>
                </a:cubicBezTo>
                <a:cubicBezTo>
                  <a:pt x="3143985" y="2375469"/>
                  <a:pt x="2719080" y="1976975"/>
                  <a:pt x="3708400" y="2700867"/>
                </a:cubicBezTo>
                <a:cubicBezTo>
                  <a:pt x="4055533" y="2954867"/>
                  <a:pt x="4378721" y="3245339"/>
                  <a:pt x="4749800" y="3462867"/>
                </a:cubicBezTo>
                <a:cubicBezTo>
                  <a:pt x="5101041" y="3668766"/>
                  <a:pt x="4921040" y="3547802"/>
                  <a:pt x="5283200" y="3835400"/>
                </a:cubicBezTo>
                <a:cubicBezTo>
                  <a:pt x="5312482" y="3893964"/>
                  <a:pt x="5338370" y="3922255"/>
                  <a:pt x="5334000" y="3987800"/>
                </a:cubicBezTo>
                <a:cubicBezTo>
                  <a:pt x="5327126" y="4090909"/>
                  <a:pt x="5214193" y="4146449"/>
                  <a:pt x="5139267" y="4191000"/>
                </a:cubicBezTo>
                <a:cubicBezTo>
                  <a:pt x="5075178" y="4229107"/>
                  <a:pt x="5011485" y="4268248"/>
                  <a:pt x="4944534" y="4301067"/>
                </a:cubicBezTo>
                <a:cubicBezTo>
                  <a:pt x="4720357" y="4410958"/>
                  <a:pt x="4666325" y="4420780"/>
                  <a:pt x="4411134" y="4470400"/>
                </a:cubicBezTo>
                <a:cubicBezTo>
                  <a:pt x="4307292" y="4490591"/>
                  <a:pt x="4203208" y="4511498"/>
                  <a:pt x="4097867" y="4521200"/>
                </a:cubicBezTo>
                <a:cubicBezTo>
                  <a:pt x="3988228" y="4531298"/>
                  <a:pt x="3877734" y="4526845"/>
                  <a:pt x="3767667" y="4529667"/>
                </a:cubicBezTo>
                <a:cubicBezTo>
                  <a:pt x="3418782" y="4517636"/>
                  <a:pt x="3185388" y="4628725"/>
                  <a:pt x="2946400" y="4453467"/>
                </a:cubicBezTo>
                <a:cubicBezTo>
                  <a:pt x="2930307" y="4441666"/>
                  <a:pt x="2918178" y="4425245"/>
                  <a:pt x="2904067" y="4411134"/>
                </a:cubicBezTo>
                <a:cubicBezTo>
                  <a:pt x="2813130" y="4198945"/>
                  <a:pt x="2857809" y="4327927"/>
                  <a:pt x="2912534" y="3835400"/>
                </a:cubicBezTo>
                <a:cubicBezTo>
                  <a:pt x="2937363" y="3611942"/>
                  <a:pt x="3149054" y="3254426"/>
                  <a:pt x="3225800" y="3141134"/>
                </a:cubicBezTo>
                <a:cubicBezTo>
                  <a:pt x="3285067" y="3053645"/>
                  <a:pt x="3337032" y="2960737"/>
                  <a:pt x="3403600" y="2878667"/>
                </a:cubicBezTo>
                <a:cubicBezTo>
                  <a:pt x="3543418" y="2706289"/>
                  <a:pt x="3679958" y="2528790"/>
                  <a:pt x="3843867" y="2379134"/>
                </a:cubicBezTo>
                <a:cubicBezTo>
                  <a:pt x="3908778" y="2319867"/>
                  <a:pt x="3975498" y="2262524"/>
                  <a:pt x="4038600" y="2201334"/>
                </a:cubicBezTo>
                <a:cubicBezTo>
                  <a:pt x="4068720" y="2172127"/>
                  <a:pt x="4094916" y="2139128"/>
                  <a:pt x="4123267" y="2108200"/>
                </a:cubicBezTo>
                <a:cubicBezTo>
                  <a:pt x="4149915" y="2079130"/>
                  <a:pt x="4171762" y="2079965"/>
                  <a:pt x="4055534" y="2159000"/>
                </a:cubicBezTo>
                <a:cubicBezTo>
                  <a:pt x="4011500" y="2188943"/>
                  <a:pt x="3967128" y="2218752"/>
                  <a:pt x="3920067" y="2243667"/>
                </a:cubicBezTo>
                <a:cubicBezTo>
                  <a:pt x="3775057" y="2320437"/>
                  <a:pt x="3626192" y="2389700"/>
                  <a:pt x="3479800" y="2463800"/>
                </a:cubicBezTo>
                <a:cubicBezTo>
                  <a:pt x="3246871" y="2581702"/>
                  <a:pt x="3256502" y="2595030"/>
                  <a:pt x="3022600" y="2667000"/>
                </a:cubicBezTo>
                <a:cubicBezTo>
                  <a:pt x="2961048" y="2685939"/>
                  <a:pt x="2630272" y="2768605"/>
                  <a:pt x="2565400" y="2777067"/>
                </a:cubicBezTo>
                <a:cubicBezTo>
                  <a:pt x="2447563" y="2792437"/>
                  <a:pt x="2328298" y="2793524"/>
                  <a:pt x="2209800" y="2802467"/>
                </a:cubicBezTo>
                <a:cubicBezTo>
                  <a:pt x="2178716" y="2804813"/>
                  <a:pt x="2147711" y="2808112"/>
                  <a:pt x="2116667" y="2810934"/>
                </a:cubicBezTo>
                <a:cubicBezTo>
                  <a:pt x="2088779" y="2755157"/>
                  <a:pt x="2088435" y="2779712"/>
                  <a:pt x="2150534" y="2709334"/>
                </a:cubicBezTo>
                <a:cubicBezTo>
                  <a:pt x="2234696" y="2613951"/>
                  <a:pt x="2406074" y="2482055"/>
                  <a:pt x="2480734" y="2429934"/>
                </a:cubicBezTo>
                <a:cubicBezTo>
                  <a:pt x="3340853" y="1829473"/>
                  <a:pt x="2586232" y="2363857"/>
                  <a:pt x="3200400" y="1913467"/>
                </a:cubicBezTo>
                <a:cubicBezTo>
                  <a:pt x="3442312" y="1736065"/>
                  <a:pt x="3536897" y="1694801"/>
                  <a:pt x="3759200" y="1447800"/>
                </a:cubicBezTo>
                <a:cubicBezTo>
                  <a:pt x="3852287" y="1344371"/>
                  <a:pt x="3818420" y="1397094"/>
                  <a:pt x="3869267" y="1295400"/>
                </a:cubicBezTo>
                <a:cubicBezTo>
                  <a:pt x="3850388" y="1238761"/>
                  <a:pt x="3865124" y="1232485"/>
                  <a:pt x="3793067" y="1236134"/>
                </a:cubicBezTo>
                <a:cubicBezTo>
                  <a:pt x="3589638" y="1246434"/>
                  <a:pt x="3386667" y="1264356"/>
                  <a:pt x="3183467" y="1278467"/>
                </a:cubicBezTo>
                <a:cubicBezTo>
                  <a:pt x="3002845" y="1320800"/>
                  <a:pt x="2818402" y="1349274"/>
                  <a:pt x="2641600" y="1405467"/>
                </a:cubicBezTo>
                <a:cubicBezTo>
                  <a:pt x="2613726" y="1414326"/>
                  <a:pt x="2004412" y="1649832"/>
                  <a:pt x="1854200" y="1735667"/>
                </a:cubicBezTo>
                <a:lnTo>
                  <a:pt x="1676400" y="1837267"/>
                </a:lnTo>
                <a:cubicBezTo>
                  <a:pt x="1645356" y="1873956"/>
                  <a:pt x="1613290" y="1909805"/>
                  <a:pt x="1583267" y="1947334"/>
                </a:cubicBezTo>
                <a:cubicBezTo>
                  <a:pt x="1568101" y="1966292"/>
                  <a:pt x="1546201" y="1982901"/>
                  <a:pt x="1540934" y="2006600"/>
                </a:cubicBezTo>
                <a:cubicBezTo>
                  <a:pt x="1534172" y="2037030"/>
                  <a:pt x="1535459" y="2071852"/>
                  <a:pt x="1549400" y="2099734"/>
                </a:cubicBezTo>
                <a:cubicBezTo>
                  <a:pt x="1562817" y="2126567"/>
                  <a:pt x="1593976" y="2139928"/>
                  <a:pt x="1617134" y="2159000"/>
                </a:cubicBezTo>
                <a:cubicBezTo>
                  <a:pt x="1663733" y="2197375"/>
                  <a:pt x="1790886" y="2292905"/>
                  <a:pt x="1828800" y="2311400"/>
                </a:cubicBezTo>
                <a:cubicBezTo>
                  <a:pt x="2011659" y="2400599"/>
                  <a:pt x="2202133" y="2473292"/>
                  <a:pt x="2387600" y="2556934"/>
                </a:cubicBezTo>
                <a:cubicBezTo>
                  <a:pt x="2490024" y="2603125"/>
                  <a:pt x="2588980" y="2656949"/>
                  <a:pt x="2692400" y="2700867"/>
                </a:cubicBezTo>
                <a:cubicBezTo>
                  <a:pt x="2898422" y="2788356"/>
                  <a:pt x="3108492" y="2866868"/>
                  <a:pt x="3310467" y="2963334"/>
                </a:cubicBezTo>
                <a:cubicBezTo>
                  <a:pt x="3487089" y="3047691"/>
                  <a:pt x="3655833" y="3147678"/>
                  <a:pt x="3826934" y="3242734"/>
                </a:cubicBezTo>
                <a:cubicBezTo>
                  <a:pt x="4021077" y="3350591"/>
                  <a:pt x="4100977" y="3383241"/>
                  <a:pt x="4241800" y="3547534"/>
                </a:cubicBezTo>
                <a:cubicBezTo>
                  <a:pt x="4276454" y="3587964"/>
                  <a:pt x="4298245" y="3637845"/>
                  <a:pt x="4326467" y="3683000"/>
                </a:cubicBezTo>
                <a:cubicBezTo>
                  <a:pt x="4332111" y="3716867"/>
                  <a:pt x="4349367" y="3750789"/>
                  <a:pt x="4343400" y="3784600"/>
                </a:cubicBezTo>
                <a:cubicBezTo>
                  <a:pt x="4323526" y="3897221"/>
                  <a:pt x="4293060" y="4008747"/>
                  <a:pt x="4250267" y="4114800"/>
                </a:cubicBezTo>
                <a:cubicBezTo>
                  <a:pt x="4227421" y="4171418"/>
                  <a:pt x="4184577" y="4217823"/>
                  <a:pt x="4148667" y="4267200"/>
                </a:cubicBezTo>
                <a:cubicBezTo>
                  <a:pt x="4018337" y="4446403"/>
                  <a:pt x="3837672" y="4615943"/>
                  <a:pt x="3674534" y="4749800"/>
                </a:cubicBezTo>
                <a:lnTo>
                  <a:pt x="3344334" y="5020734"/>
                </a:lnTo>
                <a:cubicBezTo>
                  <a:pt x="3332028" y="5031031"/>
                  <a:pt x="3229650" y="5121755"/>
                  <a:pt x="3208867" y="5147734"/>
                </a:cubicBezTo>
                <a:cubicBezTo>
                  <a:pt x="3200983" y="5157589"/>
                  <a:pt x="3197578" y="5170311"/>
                  <a:pt x="3191934" y="5181600"/>
                </a:cubicBezTo>
                <a:cubicBezTo>
                  <a:pt x="3236322" y="5192698"/>
                  <a:pt x="3232246" y="5200554"/>
                  <a:pt x="3276600" y="5156200"/>
                </a:cubicBezTo>
                <a:cubicBezTo>
                  <a:pt x="3360263" y="5072537"/>
                  <a:pt x="3351099" y="5078325"/>
                  <a:pt x="3386667" y="4995334"/>
                </a:cubicBezTo>
                <a:cubicBezTo>
                  <a:pt x="3378200" y="4907845"/>
                  <a:pt x="3378505" y="4819058"/>
                  <a:pt x="3361267" y="4732867"/>
                </a:cubicBezTo>
                <a:cubicBezTo>
                  <a:pt x="3351752" y="4685290"/>
                  <a:pt x="3238643" y="4473839"/>
                  <a:pt x="3225800" y="4453467"/>
                </a:cubicBezTo>
                <a:cubicBezTo>
                  <a:pt x="3050152" y="4174852"/>
                  <a:pt x="2813131" y="3925553"/>
                  <a:pt x="2599267" y="3683000"/>
                </a:cubicBezTo>
                <a:cubicBezTo>
                  <a:pt x="2571684" y="3651717"/>
                  <a:pt x="2221637" y="3272960"/>
                  <a:pt x="2167467" y="3234267"/>
                </a:cubicBezTo>
                <a:cubicBezTo>
                  <a:pt x="2027761" y="3134476"/>
                  <a:pt x="2085800" y="3181199"/>
                  <a:pt x="1989667" y="3098800"/>
                </a:cubicBezTo>
                <a:cubicBezTo>
                  <a:pt x="1992489" y="3090333"/>
                  <a:pt x="1992655" y="3080445"/>
                  <a:pt x="1998134" y="3073400"/>
                </a:cubicBezTo>
                <a:cubicBezTo>
                  <a:pt x="2060445" y="2993286"/>
                  <a:pt x="2067298" y="3021414"/>
                  <a:pt x="2184400" y="2988734"/>
                </a:cubicBezTo>
                <a:cubicBezTo>
                  <a:pt x="2544516" y="2888236"/>
                  <a:pt x="2290918" y="2934564"/>
                  <a:pt x="2717800" y="2887134"/>
                </a:cubicBezTo>
                <a:lnTo>
                  <a:pt x="4580467" y="2895600"/>
                </a:lnTo>
                <a:cubicBezTo>
                  <a:pt x="4738932" y="2896904"/>
                  <a:pt x="4728144" y="2897345"/>
                  <a:pt x="4834467" y="2912534"/>
                </a:cubicBezTo>
                <a:cubicBezTo>
                  <a:pt x="4803423" y="2926645"/>
                  <a:pt x="4774083" y="2945359"/>
                  <a:pt x="4741334" y="2954867"/>
                </a:cubicBezTo>
                <a:cubicBezTo>
                  <a:pt x="4632405" y="2986491"/>
                  <a:pt x="4342137" y="3020659"/>
                  <a:pt x="4267200" y="3031067"/>
                </a:cubicBezTo>
                <a:lnTo>
                  <a:pt x="2175934" y="3022600"/>
                </a:lnTo>
                <a:cubicBezTo>
                  <a:pt x="1986769" y="3020793"/>
                  <a:pt x="1797427" y="3018158"/>
                  <a:pt x="1608667" y="3005667"/>
                </a:cubicBezTo>
                <a:cubicBezTo>
                  <a:pt x="1413361" y="2992742"/>
                  <a:pt x="1219566" y="2962134"/>
                  <a:pt x="1024467" y="2946400"/>
                </a:cubicBezTo>
                <a:cubicBezTo>
                  <a:pt x="869517" y="2933904"/>
                  <a:pt x="714022" y="2929467"/>
                  <a:pt x="558800" y="2921000"/>
                </a:cubicBezTo>
                <a:cubicBezTo>
                  <a:pt x="284652" y="2878823"/>
                  <a:pt x="264246" y="2893123"/>
                  <a:pt x="42334" y="2810934"/>
                </a:cubicBezTo>
                <a:cubicBezTo>
                  <a:pt x="26902" y="2805218"/>
                  <a:pt x="14111" y="2794001"/>
                  <a:pt x="0" y="2785534"/>
                </a:cubicBezTo>
                <a:cubicBezTo>
                  <a:pt x="90311" y="2734734"/>
                  <a:pt x="172633" y="2665901"/>
                  <a:pt x="270934" y="2633134"/>
                </a:cubicBezTo>
                <a:cubicBezTo>
                  <a:pt x="372534" y="2599267"/>
                  <a:pt x="471575" y="2556442"/>
                  <a:pt x="575734" y="2531534"/>
                </a:cubicBezTo>
                <a:cubicBezTo>
                  <a:pt x="1114704" y="2402650"/>
                  <a:pt x="1583061" y="2410670"/>
                  <a:pt x="2159000" y="2362200"/>
                </a:cubicBezTo>
                <a:cubicBezTo>
                  <a:pt x="2359640" y="2345314"/>
                  <a:pt x="2559964" y="2324692"/>
                  <a:pt x="2760134" y="2302934"/>
                </a:cubicBezTo>
                <a:cubicBezTo>
                  <a:pt x="3070934" y="2269151"/>
                  <a:pt x="3533112" y="2215956"/>
                  <a:pt x="3843867" y="2150534"/>
                </a:cubicBezTo>
                <a:cubicBezTo>
                  <a:pt x="3995257" y="2118662"/>
                  <a:pt x="4144153" y="2075566"/>
                  <a:pt x="4292600" y="2032000"/>
                </a:cubicBezTo>
                <a:cubicBezTo>
                  <a:pt x="4783704" y="1887872"/>
                  <a:pt x="4455544" y="1947022"/>
                  <a:pt x="4792134" y="1896534"/>
                </a:cubicBezTo>
                <a:cubicBezTo>
                  <a:pt x="4649057" y="1991919"/>
                  <a:pt x="4778282" y="1914893"/>
                  <a:pt x="4546600" y="2006600"/>
                </a:cubicBezTo>
                <a:cubicBezTo>
                  <a:pt x="4466661" y="2038242"/>
                  <a:pt x="4389684" y="2077097"/>
                  <a:pt x="4309534" y="2108200"/>
                </a:cubicBezTo>
                <a:cubicBezTo>
                  <a:pt x="4200512" y="2150507"/>
                  <a:pt x="4088158" y="2183918"/>
                  <a:pt x="3979334" y="2226734"/>
                </a:cubicBezTo>
                <a:cubicBezTo>
                  <a:pt x="3743774" y="2319413"/>
                  <a:pt x="3519219" y="2442392"/>
                  <a:pt x="3276600" y="2514600"/>
                </a:cubicBezTo>
                <a:cubicBezTo>
                  <a:pt x="2471502" y="2754213"/>
                  <a:pt x="2807662" y="2676389"/>
                  <a:pt x="2277534" y="2785534"/>
                </a:cubicBezTo>
                <a:cubicBezTo>
                  <a:pt x="2187223" y="2777067"/>
                  <a:pt x="2077669" y="2816499"/>
                  <a:pt x="2006600" y="2760134"/>
                </a:cubicBezTo>
                <a:cubicBezTo>
                  <a:pt x="1938262" y="2705935"/>
                  <a:pt x="2077660" y="2520354"/>
                  <a:pt x="2099734" y="2480734"/>
                </a:cubicBezTo>
                <a:cubicBezTo>
                  <a:pt x="2188858" y="2320768"/>
                  <a:pt x="2259498" y="2149741"/>
                  <a:pt x="2362200" y="1998134"/>
                </a:cubicBezTo>
                <a:cubicBezTo>
                  <a:pt x="2421467" y="1910645"/>
                  <a:pt x="2475760" y="1819572"/>
                  <a:pt x="2540000" y="1735667"/>
                </a:cubicBezTo>
                <a:cubicBezTo>
                  <a:pt x="2747726" y="1464351"/>
                  <a:pt x="2775146" y="1495788"/>
                  <a:pt x="2937934" y="1227667"/>
                </a:cubicBezTo>
                <a:cubicBezTo>
                  <a:pt x="2985755" y="1148903"/>
                  <a:pt x="3020421" y="1062814"/>
                  <a:pt x="3064934" y="982134"/>
                </a:cubicBezTo>
                <a:cubicBezTo>
                  <a:pt x="3110764" y="899067"/>
                  <a:pt x="3160889" y="818445"/>
                  <a:pt x="3208867" y="736600"/>
                </a:cubicBezTo>
                <a:cubicBezTo>
                  <a:pt x="3212510" y="696526"/>
                  <a:pt x="3226225" y="619130"/>
                  <a:pt x="3208867" y="575734"/>
                </a:cubicBezTo>
                <a:cubicBezTo>
                  <a:pt x="3200363" y="554473"/>
                  <a:pt x="3140904" y="551707"/>
                  <a:pt x="3132667" y="550334"/>
                </a:cubicBezTo>
                <a:cubicBezTo>
                  <a:pt x="3045178" y="558801"/>
                  <a:pt x="2955584" y="554862"/>
                  <a:pt x="2870200" y="575734"/>
                </a:cubicBezTo>
                <a:cubicBezTo>
                  <a:pt x="2825995" y="586540"/>
                  <a:pt x="2791937" y="622272"/>
                  <a:pt x="2751667" y="643467"/>
                </a:cubicBezTo>
                <a:cubicBezTo>
                  <a:pt x="2602321" y="722070"/>
                  <a:pt x="2480528" y="766864"/>
                  <a:pt x="2345267" y="872067"/>
                </a:cubicBezTo>
                <a:cubicBezTo>
                  <a:pt x="2280663" y="922315"/>
                  <a:pt x="2219863" y="978525"/>
                  <a:pt x="2167467" y="1041400"/>
                </a:cubicBezTo>
                <a:cubicBezTo>
                  <a:pt x="2061787" y="1168216"/>
                  <a:pt x="1962327" y="1346080"/>
                  <a:pt x="1896534" y="1498600"/>
                </a:cubicBezTo>
                <a:cubicBezTo>
                  <a:pt x="1866832" y="1567455"/>
                  <a:pt x="1845734" y="1639711"/>
                  <a:pt x="1820334" y="1710267"/>
                </a:cubicBezTo>
                <a:cubicBezTo>
                  <a:pt x="1859845" y="1938867"/>
                  <a:pt x="1872757" y="2173697"/>
                  <a:pt x="1938867" y="2396067"/>
                </a:cubicBezTo>
                <a:cubicBezTo>
                  <a:pt x="1967426" y="2492130"/>
                  <a:pt x="2033379" y="2574962"/>
                  <a:pt x="2099734" y="2650067"/>
                </a:cubicBezTo>
                <a:cubicBezTo>
                  <a:pt x="2291327" y="2866925"/>
                  <a:pt x="2499115" y="3069278"/>
                  <a:pt x="2709334" y="3268134"/>
                </a:cubicBezTo>
                <a:cubicBezTo>
                  <a:pt x="2813756" y="3366912"/>
                  <a:pt x="2911669" y="3473060"/>
                  <a:pt x="3022600" y="3564467"/>
                </a:cubicBezTo>
                <a:cubicBezTo>
                  <a:pt x="3362775" y="3844771"/>
                  <a:pt x="3799412" y="4188318"/>
                  <a:pt x="4199467" y="4419600"/>
                </a:cubicBezTo>
                <a:cubicBezTo>
                  <a:pt x="5014748" y="4890935"/>
                  <a:pt x="4592122" y="4645170"/>
                  <a:pt x="5105400" y="4868334"/>
                </a:cubicBezTo>
                <a:cubicBezTo>
                  <a:pt x="5294944" y="4950744"/>
                  <a:pt x="5179617" y="4923816"/>
                  <a:pt x="5283200" y="4944534"/>
                </a:cubicBezTo>
                <a:cubicBezTo>
                  <a:pt x="5162941" y="4964576"/>
                  <a:pt x="5156661" y="4971180"/>
                  <a:pt x="4969934" y="4910667"/>
                </a:cubicBezTo>
                <a:cubicBezTo>
                  <a:pt x="4223468" y="4668757"/>
                  <a:pt x="4507676" y="4717454"/>
                  <a:pt x="3937000" y="4478867"/>
                </a:cubicBezTo>
                <a:cubicBezTo>
                  <a:pt x="3647996" y="4358041"/>
                  <a:pt x="2753597" y="3986333"/>
                  <a:pt x="2311400" y="3852334"/>
                </a:cubicBezTo>
                <a:cubicBezTo>
                  <a:pt x="2017184" y="3763177"/>
                  <a:pt x="1722038" y="3675569"/>
                  <a:pt x="1422400" y="3606800"/>
                </a:cubicBezTo>
                <a:cubicBezTo>
                  <a:pt x="883757" y="3483177"/>
                  <a:pt x="1081201" y="3510176"/>
                  <a:pt x="838200" y="3479800"/>
                </a:cubicBezTo>
                <a:cubicBezTo>
                  <a:pt x="860778" y="3460045"/>
                  <a:pt x="879555" y="3434823"/>
                  <a:pt x="905934" y="3420534"/>
                </a:cubicBezTo>
                <a:cubicBezTo>
                  <a:pt x="982413" y="3379108"/>
                  <a:pt x="1280605" y="3300475"/>
                  <a:pt x="1312334" y="3293534"/>
                </a:cubicBezTo>
                <a:cubicBezTo>
                  <a:pt x="1582143" y="3234513"/>
                  <a:pt x="1852907" y="3179281"/>
                  <a:pt x="2125134" y="3132667"/>
                </a:cubicBezTo>
                <a:cubicBezTo>
                  <a:pt x="2265219" y="3108680"/>
                  <a:pt x="2407249" y="3097881"/>
                  <a:pt x="2548467" y="3081867"/>
                </a:cubicBezTo>
                <a:cubicBezTo>
                  <a:pt x="3025912" y="3027724"/>
                  <a:pt x="2865388" y="3042981"/>
                  <a:pt x="3344334" y="3022600"/>
                </a:cubicBezTo>
                <a:cubicBezTo>
                  <a:pt x="3423356" y="3014133"/>
                  <a:pt x="3502593" y="3007479"/>
                  <a:pt x="3581400" y="2997200"/>
                </a:cubicBezTo>
                <a:cubicBezTo>
                  <a:pt x="3632468" y="2990539"/>
                  <a:pt x="3683130" y="2981013"/>
                  <a:pt x="3733800" y="2971800"/>
                </a:cubicBezTo>
                <a:cubicBezTo>
                  <a:pt x="3745249" y="2969718"/>
                  <a:pt x="3779303" y="2963334"/>
                  <a:pt x="3767667" y="2963334"/>
                </a:cubicBezTo>
                <a:cubicBezTo>
                  <a:pt x="3747711" y="2963334"/>
                  <a:pt x="3728056" y="2968352"/>
                  <a:pt x="3708400" y="2971800"/>
                </a:cubicBezTo>
                <a:cubicBezTo>
                  <a:pt x="3567178" y="2996576"/>
                  <a:pt x="3427800" y="3034406"/>
                  <a:pt x="3285067" y="3048000"/>
                </a:cubicBezTo>
                <a:cubicBezTo>
                  <a:pt x="3166534" y="3059289"/>
                  <a:pt x="3048385" y="3075854"/>
                  <a:pt x="2929467" y="3081867"/>
                </a:cubicBezTo>
                <a:cubicBezTo>
                  <a:pt x="2545875" y="3101262"/>
                  <a:pt x="1778000" y="3124200"/>
                  <a:pt x="1778000" y="3124200"/>
                </a:cubicBezTo>
                <a:cubicBezTo>
                  <a:pt x="1687689" y="3110089"/>
                  <a:pt x="1543074" y="3165883"/>
                  <a:pt x="1507067" y="3081867"/>
                </a:cubicBezTo>
                <a:cubicBezTo>
                  <a:pt x="1476479" y="3010496"/>
                  <a:pt x="1652383" y="3026449"/>
                  <a:pt x="1727200" y="3005667"/>
                </a:cubicBezTo>
                <a:cubicBezTo>
                  <a:pt x="1855813" y="2969941"/>
                  <a:pt x="1985229" y="2935809"/>
                  <a:pt x="2116667" y="2912534"/>
                </a:cubicBezTo>
                <a:cubicBezTo>
                  <a:pt x="2490077" y="2846409"/>
                  <a:pt x="2722896" y="2855712"/>
                  <a:pt x="3115734" y="2844800"/>
                </a:cubicBezTo>
                <a:lnTo>
                  <a:pt x="3759200" y="2827867"/>
                </a:lnTo>
                <a:cubicBezTo>
                  <a:pt x="4250267" y="2833511"/>
                  <a:pt x="4741574" y="2828439"/>
                  <a:pt x="5232400" y="2844800"/>
                </a:cubicBezTo>
                <a:cubicBezTo>
                  <a:pt x="5252740" y="2845478"/>
                  <a:pt x="5274098" y="2860464"/>
                  <a:pt x="5283200" y="2878667"/>
                </a:cubicBezTo>
                <a:cubicBezTo>
                  <a:pt x="5304624" y="2921515"/>
                  <a:pt x="5215908" y="2998739"/>
                  <a:pt x="5207000" y="3005667"/>
                </a:cubicBezTo>
                <a:cubicBezTo>
                  <a:pt x="5082348" y="3102619"/>
                  <a:pt x="4883039" y="3184804"/>
                  <a:pt x="4758267" y="3259667"/>
                </a:cubicBezTo>
                <a:cubicBezTo>
                  <a:pt x="4138282" y="3631658"/>
                  <a:pt x="4440376" y="3590620"/>
                  <a:pt x="3403600" y="3953934"/>
                </a:cubicBezTo>
                <a:cubicBezTo>
                  <a:pt x="3073400" y="4069645"/>
                  <a:pt x="2735830" y="4166153"/>
                  <a:pt x="2413000" y="4301067"/>
                </a:cubicBezTo>
                <a:cubicBezTo>
                  <a:pt x="2223911" y="4380089"/>
                  <a:pt x="2025647" y="4440000"/>
                  <a:pt x="1845734" y="4538134"/>
                </a:cubicBezTo>
                <a:cubicBezTo>
                  <a:pt x="1814689" y="4555067"/>
                  <a:pt x="1784597" y="4573877"/>
                  <a:pt x="1752600" y="4588934"/>
                </a:cubicBezTo>
                <a:cubicBezTo>
                  <a:pt x="1736450" y="4596534"/>
                  <a:pt x="1714421" y="4618489"/>
                  <a:pt x="1701800" y="4605867"/>
                </a:cubicBezTo>
                <a:cubicBezTo>
                  <a:pt x="1690164" y="4594230"/>
                  <a:pt x="1731639" y="4591177"/>
                  <a:pt x="1744134" y="4580467"/>
                </a:cubicBezTo>
                <a:cubicBezTo>
                  <a:pt x="1791129" y="4540186"/>
                  <a:pt x="1831596" y="4492540"/>
                  <a:pt x="1879600" y="4453467"/>
                </a:cubicBezTo>
                <a:cubicBezTo>
                  <a:pt x="1953145" y="4393605"/>
                  <a:pt x="2038659" y="4348604"/>
                  <a:pt x="2108200" y="4284134"/>
                </a:cubicBezTo>
                <a:cubicBezTo>
                  <a:pt x="2310157" y="4096903"/>
                  <a:pt x="2476876" y="3871374"/>
                  <a:pt x="2692400" y="3699934"/>
                </a:cubicBezTo>
                <a:cubicBezTo>
                  <a:pt x="4390442" y="2349219"/>
                  <a:pt x="2490678" y="3870555"/>
                  <a:pt x="4165600" y="2497667"/>
                </a:cubicBezTo>
                <a:cubicBezTo>
                  <a:pt x="4277268" y="2406135"/>
                  <a:pt x="4602440" y="2152309"/>
                  <a:pt x="4741334" y="2074334"/>
                </a:cubicBezTo>
                <a:cubicBezTo>
                  <a:pt x="4807596" y="2037134"/>
                  <a:pt x="4953000" y="1989667"/>
                  <a:pt x="4953000" y="1989667"/>
                </a:cubicBezTo>
                <a:cubicBezTo>
                  <a:pt x="4965396" y="2126022"/>
                  <a:pt x="4971238" y="2068468"/>
                  <a:pt x="4919134" y="2235200"/>
                </a:cubicBezTo>
                <a:cubicBezTo>
                  <a:pt x="4849241" y="2458857"/>
                  <a:pt x="4807646" y="2573018"/>
                  <a:pt x="4707467" y="2794000"/>
                </a:cubicBezTo>
                <a:cubicBezTo>
                  <a:pt x="4580171" y="3074801"/>
                  <a:pt x="4527695" y="3181079"/>
                  <a:pt x="4343400" y="3429000"/>
                </a:cubicBezTo>
                <a:cubicBezTo>
                  <a:pt x="4056783" y="3814568"/>
                  <a:pt x="3896626" y="4049588"/>
                  <a:pt x="3572934" y="4343400"/>
                </a:cubicBezTo>
                <a:cubicBezTo>
                  <a:pt x="3480891" y="4426947"/>
                  <a:pt x="3379447" y="4499570"/>
                  <a:pt x="3285067" y="4580467"/>
                </a:cubicBezTo>
                <a:cubicBezTo>
                  <a:pt x="3221357" y="4635075"/>
                  <a:pt x="3166662" y="4700446"/>
                  <a:pt x="3098800" y="4749800"/>
                </a:cubicBezTo>
                <a:cubicBezTo>
                  <a:pt x="2959792" y="4850896"/>
                  <a:pt x="2938689" y="4845364"/>
                  <a:pt x="2802467" y="4876800"/>
                </a:cubicBezTo>
                <a:cubicBezTo>
                  <a:pt x="2734734" y="4862689"/>
                  <a:pt x="2664125" y="4858557"/>
                  <a:pt x="2599267" y="4834467"/>
                </a:cubicBezTo>
                <a:cubicBezTo>
                  <a:pt x="2512319" y="4802172"/>
                  <a:pt x="2420575" y="4662274"/>
                  <a:pt x="2379134" y="4605867"/>
                </a:cubicBezTo>
                <a:cubicBezTo>
                  <a:pt x="2267772" y="4454291"/>
                  <a:pt x="2142686" y="4280457"/>
                  <a:pt x="2065867" y="4106334"/>
                </a:cubicBezTo>
                <a:cubicBezTo>
                  <a:pt x="2018664" y="3999340"/>
                  <a:pt x="1986845" y="3886201"/>
                  <a:pt x="1947334" y="3776134"/>
                </a:cubicBezTo>
                <a:cubicBezTo>
                  <a:pt x="1916289" y="3561645"/>
                  <a:pt x="1879866" y="3347866"/>
                  <a:pt x="1854200" y="3132667"/>
                </a:cubicBezTo>
                <a:cubicBezTo>
                  <a:pt x="1825676" y="2893508"/>
                  <a:pt x="1839230" y="2621757"/>
                  <a:pt x="1845734" y="2387600"/>
                </a:cubicBezTo>
                <a:cubicBezTo>
                  <a:pt x="1847068" y="2339558"/>
                  <a:pt x="1843393" y="2290497"/>
                  <a:pt x="1854200" y="2243667"/>
                </a:cubicBezTo>
                <a:cubicBezTo>
                  <a:pt x="1858946" y="2223101"/>
                  <a:pt x="1893873" y="2160774"/>
                  <a:pt x="1921934" y="2142067"/>
                </a:cubicBezTo>
                <a:cubicBezTo>
                  <a:pt x="1929360" y="2137116"/>
                  <a:pt x="1938867" y="2136422"/>
                  <a:pt x="1947334" y="2133600"/>
                </a:cubicBezTo>
                <a:cubicBezTo>
                  <a:pt x="1967089" y="2139245"/>
                  <a:pt x="1989505" y="2139137"/>
                  <a:pt x="2006600" y="2150534"/>
                </a:cubicBezTo>
                <a:cubicBezTo>
                  <a:pt x="2033167" y="2168246"/>
                  <a:pt x="2052342" y="2195118"/>
                  <a:pt x="2074334" y="2218267"/>
                </a:cubicBezTo>
                <a:cubicBezTo>
                  <a:pt x="2159596" y="2308016"/>
                  <a:pt x="2242200" y="2400287"/>
                  <a:pt x="2328334" y="2489200"/>
                </a:cubicBezTo>
                <a:cubicBezTo>
                  <a:pt x="2417200" y="2580933"/>
                  <a:pt x="2518390" y="2661285"/>
                  <a:pt x="2599267" y="2760134"/>
                </a:cubicBezTo>
                <a:cubicBezTo>
                  <a:pt x="2802467" y="3008489"/>
                  <a:pt x="3019104" y="3246432"/>
                  <a:pt x="3208867" y="3505200"/>
                </a:cubicBezTo>
                <a:cubicBezTo>
                  <a:pt x="4403978" y="5134896"/>
                  <a:pt x="3194173" y="3538371"/>
                  <a:pt x="4224867" y="4775200"/>
                </a:cubicBezTo>
                <a:cubicBezTo>
                  <a:pt x="4323645" y="4893733"/>
                  <a:pt x="4275667" y="4848577"/>
                  <a:pt x="4360334" y="4919134"/>
                </a:cubicBezTo>
                <a:cubicBezTo>
                  <a:pt x="4337756" y="4924778"/>
                  <a:pt x="4315873" y="4936067"/>
                  <a:pt x="4292600" y="4936067"/>
                </a:cubicBezTo>
                <a:cubicBezTo>
                  <a:pt x="4211260" y="4936067"/>
                  <a:pt x="4114786" y="4893727"/>
                  <a:pt x="4047067" y="4859867"/>
                </a:cubicBezTo>
                <a:cubicBezTo>
                  <a:pt x="3980377" y="4826522"/>
                  <a:pt x="3914179" y="4791450"/>
                  <a:pt x="3852334" y="4749800"/>
                </a:cubicBezTo>
                <a:cubicBezTo>
                  <a:pt x="3735485" y="4671106"/>
                  <a:pt x="3450369" y="4435555"/>
                  <a:pt x="3369734" y="4343400"/>
                </a:cubicBezTo>
                <a:cubicBezTo>
                  <a:pt x="3229228" y="4182821"/>
                  <a:pt x="3110089" y="4004733"/>
                  <a:pt x="2980267" y="3835400"/>
                </a:cubicBezTo>
                <a:cubicBezTo>
                  <a:pt x="2923209" y="3645207"/>
                  <a:pt x="2876101" y="3564726"/>
                  <a:pt x="2895600" y="3369734"/>
                </a:cubicBezTo>
                <a:cubicBezTo>
                  <a:pt x="2908435" y="3241383"/>
                  <a:pt x="2923118" y="3111296"/>
                  <a:pt x="2963334" y="2988734"/>
                </a:cubicBezTo>
                <a:cubicBezTo>
                  <a:pt x="2999123" y="2879663"/>
                  <a:pt x="3203926" y="2691276"/>
                  <a:pt x="3276600" y="2641600"/>
                </a:cubicBezTo>
                <a:cubicBezTo>
                  <a:pt x="3424857" y="2540260"/>
                  <a:pt x="3578229" y="2443753"/>
                  <a:pt x="3742267" y="2370667"/>
                </a:cubicBezTo>
                <a:cubicBezTo>
                  <a:pt x="4007844" y="2252341"/>
                  <a:pt x="4245978" y="2244465"/>
                  <a:pt x="4529667" y="2226734"/>
                </a:cubicBezTo>
                <a:cubicBezTo>
                  <a:pt x="4667802" y="2218101"/>
                  <a:pt x="4806245" y="2215445"/>
                  <a:pt x="4944534" y="2209800"/>
                </a:cubicBezTo>
                <a:cubicBezTo>
                  <a:pt x="5071534" y="2218267"/>
                  <a:pt x="5200530" y="2211227"/>
                  <a:pt x="5325534" y="2235200"/>
                </a:cubicBezTo>
                <a:cubicBezTo>
                  <a:pt x="5496752" y="2268037"/>
                  <a:pt x="5568056" y="2332085"/>
                  <a:pt x="5698067" y="2421467"/>
                </a:cubicBezTo>
                <a:cubicBezTo>
                  <a:pt x="5845345" y="2647293"/>
                  <a:pt x="5813284" y="2539606"/>
                  <a:pt x="5842000" y="2726267"/>
                </a:cubicBezTo>
                <a:cubicBezTo>
                  <a:pt x="5827889" y="2816578"/>
                  <a:pt x="5831186" y="2911399"/>
                  <a:pt x="5799667" y="2997200"/>
                </a:cubicBezTo>
                <a:cubicBezTo>
                  <a:pt x="5778841" y="3053894"/>
                  <a:pt x="5733407" y="3099554"/>
                  <a:pt x="5689600" y="3141134"/>
                </a:cubicBezTo>
                <a:cubicBezTo>
                  <a:pt x="5522705" y="3299544"/>
                  <a:pt x="5297547" y="3520454"/>
                  <a:pt x="5054600" y="3589867"/>
                </a:cubicBezTo>
                <a:cubicBezTo>
                  <a:pt x="4863544" y="3644454"/>
                  <a:pt x="4665133" y="3668889"/>
                  <a:pt x="4470400" y="3708400"/>
                </a:cubicBezTo>
                <a:cubicBezTo>
                  <a:pt x="4343400" y="3688645"/>
                  <a:pt x="4213678" y="3681911"/>
                  <a:pt x="4089400" y="3649134"/>
                </a:cubicBezTo>
                <a:cubicBezTo>
                  <a:pt x="3822183" y="3578659"/>
                  <a:pt x="3537993" y="3438455"/>
                  <a:pt x="3310467" y="3285067"/>
                </a:cubicBezTo>
                <a:cubicBezTo>
                  <a:pt x="2972638" y="3057318"/>
                  <a:pt x="2527257" y="2605352"/>
                  <a:pt x="2277534" y="2362200"/>
                </a:cubicBezTo>
                <a:cubicBezTo>
                  <a:pt x="1939435" y="2032999"/>
                  <a:pt x="2031896" y="2138514"/>
                  <a:pt x="1811867" y="1786467"/>
                </a:cubicBezTo>
                <a:cubicBezTo>
                  <a:pt x="1794934" y="1701800"/>
                  <a:pt x="1754445" y="1618556"/>
                  <a:pt x="1761067" y="1532467"/>
                </a:cubicBezTo>
                <a:cubicBezTo>
                  <a:pt x="1769008" y="1429231"/>
                  <a:pt x="1808724" y="1329154"/>
                  <a:pt x="1854200" y="1236134"/>
                </a:cubicBezTo>
                <a:cubicBezTo>
                  <a:pt x="1872627" y="1198442"/>
                  <a:pt x="1909808" y="1170230"/>
                  <a:pt x="1947334" y="1151467"/>
                </a:cubicBezTo>
                <a:cubicBezTo>
                  <a:pt x="2057291" y="1096489"/>
                  <a:pt x="2192212" y="1084678"/>
                  <a:pt x="2311400" y="1066800"/>
                </a:cubicBezTo>
                <a:lnTo>
                  <a:pt x="2802467" y="1075267"/>
                </a:lnTo>
                <a:cubicBezTo>
                  <a:pt x="2889638" y="1084182"/>
                  <a:pt x="2976576" y="1107005"/>
                  <a:pt x="3056467" y="1143000"/>
                </a:cubicBezTo>
                <a:cubicBezTo>
                  <a:pt x="3331885" y="1267089"/>
                  <a:pt x="3595169" y="1387709"/>
                  <a:pt x="3784600" y="1625600"/>
                </a:cubicBezTo>
                <a:cubicBezTo>
                  <a:pt x="3899063" y="1769344"/>
                  <a:pt x="3957813" y="1926903"/>
                  <a:pt x="4030134" y="2091267"/>
                </a:cubicBezTo>
                <a:cubicBezTo>
                  <a:pt x="4045238" y="2483995"/>
                  <a:pt x="4070110" y="2496013"/>
                  <a:pt x="3818467" y="3022600"/>
                </a:cubicBezTo>
                <a:cubicBezTo>
                  <a:pt x="3769413" y="3125249"/>
                  <a:pt x="3663815" y="3189707"/>
                  <a:pt x="3581400" y="3268134"/>
                </a:cubicBezTo>
                <a:cubicBezTo>
                  <a:pt x="3443855" y="3399024"/>
                  <a:pt x="3184045" y="3626219"/>
                  <a:pt x="3014134" y="3725334"/>
                </a:cubicBezTo>
                <a:cubicBezTo>
                  <a:pt x="2909423" y="3786415"/>
                  <a:pt x="2798247" y="3837388"/>
                  <a:pt x="2683934" y="3877734"/>
                </a:cubicBezTo>
                <a:cubicBezTo>
                  <a:pt x="2377743" y="3985802"/>
                  <a:pt x="2250836" y="3984528"/>
                  <a:pt x="1938867" y="4021667"/>
                </a:cubicBezTo>
                <a:cubicBezTo>
                  <a:pt x="1746956" y="4001911"/>
                  <a:pt x="1551702" y="4003172"/>
                  <a:pt x="1363134" y="3962400"/>
                </a:cubicBezTo>
                <a:cubicBezTo>
                  <a:pt x="1333296" y="3955949"/>
                  <a:pt x="1309171" y="3916563"/>
                  <a:pt x="1312334" y="3886200"/>
                </a:cubicBezTo>
                <a:cubicBezTo>
                  <a:pt x="1324182" y="3772455"/>
                  <a:pt x="1363286" y="3662297"/>
                  <a:pt x="1405467" y="3556000"/>
                </a:cubicBezTo>
                <a:cubicBezTo>
                  <a:pt x="1508902" y="3295343"/>
                  <a:pt x="1930556" y="2886791"/>
                  <a:pt x="2057400" y="2810934"/>
                </a:cubicBezTo>
                <a:cubicBezTo>
                  <a:pt x="2345267" y="2638778"/>
                  <a:pt x="2619920" y="2442303"/>
                  <a:pt x="2921000" y="2294467"/>
                </a:cubicBezTo>
                <a:cubicBezTo>
                  <a:pt x="3094046" y="2209498"/>
                  <a:pt x="3285241" y="2167004"/>
                  <a:pt x="3471334" y="2116667"/>
                </a:cubicBezTo>
                <a:cubicBezTo>
                  <a:pt x="3906110" y="1999064"/>
                  <a:pt x="3903326" y="2017536"/>
                  <a:pt x="4301067" y="1998134"/>
                </a:cubicBezTo>
                <a:cubicBezTo>
                  <a:pt x="4466195" y="2019440"/>
                  <a:pt x="4568996" y="2003434"/>
                  <a:pt x="4699000" y="2099734"/>
                </a:cubicBezTo>
                <a:cubicBezTo>
                  <a:pt x="4735917" y="2127080"/>
                  <a:pt x="4761089" y="2167467"/>
                  <a:pt x="4792134" y="2201334"/>
                </a:cubicBezTo>
                <a:cubicBezTo>
                  <a:pt x="4817534" y="2266245"/>
                  <a:pt x="4851428" y="2328445"/>
                  <a:pt x="4868334" y="2396067"/>
                </a:cubicBezTo>
                <a:cubicBezTo>
                  <a:pt x="4936361" y="2668174"/>
                  <a:pt x="4785898" y="3092035"/>
                  <a:pt x="4707467" y="3268134"/>
                </a:cubicBezTo>
                <a:cubicBezTo>
                  <a:pt x="4666764" y="3359524"/>
                  <a:pt x="4243875" y="3778407"/>
                  <a:pt x="4165600" y="3852334"/>
                </a:cubicBezTo>
                <a:cubicBezTo>
                  <a:pt x="3953599" y="4052557"/>
                  <a:pt x="3766835" y="4286397"/>
                  <a:pt x="3522134" y="4445000"/>
                </a:cubicBezTo>
                <a:cubicBezTo>
                  <a:pt x="3354560" y="4553613"/>
                  <a:pt x="2844611" y="4898105"/>
                  <a:pt x="2641600" y="4978400"/>
                </a:cubicBezTo>
                <a:cubicBezTo>
                  <a:pt x="2159951" y="5168903"/>
                  <a:pt x="2125575" y="5165670"/>
                  <a:pt x="1794934" y="5207000"/>
                </a:cubicBezTo>
                <a:cubicBezTo>
                  <a:pt x="1728972" y="5180616"/>
                  <a:pt x="1719493" y="5192490"/>
                  <a:pt x="1820334" y="5105400"/>
                </a:cubicBezTo>
                <a:cubicBezTo>
                  <a:pt x="2041853" y="4914088"/>
                  <a:pt x="2278193" y="4740254"/>
                  <a:pt x="2497667" y="4546600"/>
                </a:cubicBezTo>
                <a:cubicBezTo>
                  <a:pt x="2593623" y="4461933"/>
                  <a:pt x="2684570" y="4371227"/>
                  <a:pt x="2785534" y="4292600"/>
                </a:cubicBezTo>
                <a:cubicBezTo>
                  <a:pt x="3003758" y="4122655"/>
                  <a:pt x="3250011" y="3987889"/>
                  <a:pt x="3454400" y="3801534"/>
                </a:cubicBezTo>
                <a:cubicBezTo>
                  <a:pt x="4078146" y="3232825"/>
                  <a:pt x="3815797" y="3423252"/>
                  <a:pt x="4191000" y="3166534"/>
                </a:cubicBezTo>
                <a:cubicBezTo>
                  <a:pt x="4210756" y="3138312"/>
                  <a:pt x="4250267" y="3116317"/>
                  <a:pt x="4250267" y="3081867"/>
                </a:cubicBezTo>
                <a:cubicBezTo>
                  <a:pt x="4250267" y="3061321"/>
                  <a:pt x="4211546" y="3064934"/>
                  <a:pt x="4191000" y="3064934"/>
                </a:cubicBezTo>
                <a:cubicBezTo>
                  <a:pt x="4117406" y="3064934"/>
                  <a:pt x="4044245" y="3076223"/>
                  <a:pt x="3970867" y="3081867"/>
                </a:cubicBezTo>
                <a:cubicBezTo>
                  <a:pt x="3556000" y="3062111"/>
                  <a:pt x="3140626" y="3051087"/>
                  <a:pt x="2726267" y="3022600"/>
                </a:cubicBezTo>
                <a:cubicBezTo>
                  <a:pt x="2687971" y="3019967"/>
                  <a:pt x="2652142" y="3002212"/>
                  <a:pt x="2616200" y="2988734"/>
                </a:cubicBezTo>
                <a:cubicBezTo>
                  <a:pt x="2560546" y="2967864"/>
                  <a:pt x="2529523" y="2955562"/>
                  <a:pt x="2489200" y="2921000"/>
                </a:cubicBezTo>
                <a:cubicBezTo>
                  <a:pt x="2480109" y="2913208"/>
                  <a:pt x="2472267" y="2904067"/>
                  <a:pt x="2463800" y="2895600"/>
                </a:cubicBezTo>
                <a:cubicBezTo>
                  <a:pt x="2475779" y="2787796"/>
                  <a:pt x="2456917" y="2821738"/>
                  <a:pt x="2556934" y="2726267"/>
                </a:cubicBezTo>
                <a:cubicBezTo>
                  <a:pt x="2650864" y="2636607"/>
                  <a:pt x="2740917" y="2541711"/>
                  <a:pt x="2844800" y="2463800"/>
                </a:cubicBezTo>
                <a:cubicBezTo>
                  <a:pt x="2883340" y="2434896"/>
                  <a:pt x="2937212" y="2396788"/>
                  <a:pt x="2971800" y="2362200"/>
                </a:cubicBezTo>
                <a:cubicBezTo>
                  <a:pt x="2978995" y="2355005"/>
                  <a:pt x="2983089" y="2345267"/>
                  <a:pt x="2988734" y="2336800"/>
                </a:cubicBezTo>
                <a:cubicBezTo>
                  <a:pt x="2748845" y="2331156"/>
                  <a:pt x="2508205" y="2339658"/>
                  <a:pt x="2269067" y="2319867"/>
                </a:cubicBezTo>
                <a:cubicBezTo>
                  <a:pt x="2097983" y="2305708"/>
                  <a:pt x="1761067" y="2235200"/>
                  <a:pt x="1761067" y="2235200"/>
                </a:cubicBezTo>
                <a:cubicBezTo>
                  <a:pt x="1701800" y="2212622"/>
                  <a:pt x="1634558" y="2204770"/>
                  <a:pt x="1583267" y="2167467"/>
                </a:cubicBezTo>
                <a:cubicBezTo>
                  <a:pt x="1558128" y="2149184"/>
                  <a:pt x="1581302" y="2058548"/>
                  <a:pt x="1591734" y="2040467"/>
                </a:cubicBezTo>
                <a:cubicBezTo>
                  <a:pt x="1631626" y="1971322"/>
                  <a:pt x="1717963" y="1852824"/>
                  <a:pt x="1778000" y="1786467"/>
                </a:cubicBezTo>
                <a:cubicBezTo>
                  <a:pt x="1847274" y="1709901"/>
                  <a:pt x="1914101" y="1655188"/>
                  <a:pt x="1998134" y="1591734"/>
                </a:cubicBezTo>
                <a:cubicBezTo>
                  <a:pt x="2090036" y="1522339"/>
                  <a:pt x="2177213" y="1445079"/>
                  <a:pt x="2277534" y="1388534"/>
                </a:cubicBezTo>
                <a:cubicBezTo>
                  <a:pt x="2334295" y="1356542"/>
                  <a:pt x="2401151" y="1347167"/>
                  <a:pt x="2463800" y="1329267"/>
                </a:cubicBezTo>
                <a:cubicBezTo>
                  <a:pt x="2549105" y="1304894"/>
                  <a:pt x="2596722" y="1300351"/>
                  <a:pt x="2683934" y="1286934"/>
                </a:cubicBezTo>
                <a:cubicBezTo>
                  <a:pt x="3031276" y="1356402"/>
                  <a:pt x="2897951" y="1308054"/>
                  <a:pt x="3369734" y="1794934"/>
                </a:cubicBezTo>
                <a:cubicBezTo>
                  <a:pt x="3696618" y="2132279"/>
                  <a:pt x="3902087" y="2425933"/>
                  <a:pt x="4123267" y="2819400"/>
                </a:cubicBezTo>
                <a:cubicBezTo>
                  <a:pt x="4312001" y="3155148"/>
                  <a:pt x="4505248" y="3488983"/>
                  <a:pt x="4673600" y="3835400"/>
                </a:cubicBezTo>
                <a:cubicBezTo>
                  <a:pt x="4799141" y="4093726"/>
                  <a:pt x="4893024" y="4366273"/>
                  <a:pt x="5003800" y="4631267"/>
                </a:cubicBezTo>
                <a:cubicBezTo>
                  <a:pt x="5036959" y="4710589"/>
                  <a:pt x="5072202" y="4789028"/>
                  <a:pt x="5105400" y="4868334"/>
                </a:cubicBezTo>
                <a:cubicBezTo>
                  <a:pt x="5123006" y="4910392"/>
                  <a:pt x="5147258" y="4950625"/>
                  <a:pt x="5156200" y="4995334"/>
                </a:cubicBezTo>
                <a:cubicBezTo>
                  <a:pt x="5161845" y="5023556"/>
                  <a:pt x="5201626" y="5075930"/>
                  <a:pt x="5173134" y="5080000"/>
                </a:cubicBezTo>
                <a:cubicBezTo>
                  <a:pt x="5123156" y="5087140"/>
                  <a:pt x="5082823" y="5034845"/>
                  <a:pt x="5037667" y="5012267"/>
                </a:cubicBezTo>
                <a:cubicBezTo>
                  <a:pt x="3707713" y="3431379"/>
                  <a:pt x="4548562" y="4515500"/>
                  <a:pt x="3505200" y="2980267"/>
                </a:cubicBezTo>
                <a:cubicBezTo>
                  <a:pt x="3326506" y="2717331"/>
                  <a:pt x="3083355" y="2492122"/>
                  <a:pt x="2954867" y="2201334"/>
                </a:cubicBezTo>
                <a:lnTo>
                  <a:pt x="2794000" y="1837267"/>
                </a:lnTo>
                <a:cubicBezTo>
                  <a:pt x="2791178" y="1817511"/>
                  <a:pt x="2771423" y="1792111"/>
                  <a:pt x="2785534" y="1778000"/>
                </a:cubicBezTo>
                <a:cubicBezTo>
                  <a:pt x="2798156" y="1765379"/>
                  <a:pt x="2822299" y="1783906"/>
                  <a:pt x="2836334" y="1794934"/>
                </a:cubicBezTo>
                <a:cubicBezTo>
                  <a:pt x="2863056" y="1815930"/>
                  <a:pt x="2880037" y="1847104"/>
                  <a:pt x="2904067" y="1871134"/>
                </a:cubicBezTo>
                <a:cubicBezTo>
                  <a:pt x="2950655" y="1917722"/>
                  <a:pt x="3002857" y="1958610"/>
                  <a:pt x="3048000" y="2006600"/>
                </a:cubicBezTo>
                <a:cubicBezTo>
                  <a:pt x="3316222" y="2291736"/>
                  <a:pt x="3579622" y="2581374"/>
                  <a:pt x="3843867" y="2870200"/>
                </a:cubicBezTo>
                <a:cubicBezTo>
                  <a:pt x="4088571" y="3137667"/>
                  <a:pt x="4145812" y="3215448"/>
                  <a:pt x="4385734" y="3462867"/>
                </a:cubicBezTo>
                <a:cubicBezTo>
                  <a:pt x="4482981" y="3563152"/>
                  <a:pt x="4594478" y="3650378"/>
                  <a:pt x="4682067" y="3759200"/>
                </a:cubicBezTo>
                <a:lnTo>
                  <a:pt x="4961467" y="4106334"/>
                </a:lnTo>
                <a:cubicBezTo>
                  <a:pt x="4936067" y="4109156"/>
                  <a:pt x="4909232" y="4123676"/>
                  <a:pt x="4885267" y="4114800"/>
                </a:cubicBezTo>
                <a:cubicBezTo>
                  <a:pt x="4829438" y="4094123"/>
                  <a:pt x="4782714" y="4054220"/>
                  <a:pt x="4732867" y="4021667"/>
                </a:cubicBezTo>
                <a:cubicBezTo>
                  <a:pt x="4644390" y="3963886"/>
                  <a:pt x="4553814" y="3908744"/>
                  <a:pt x="4470400" y="3843867"/>
                </a:cubicBezTo>
                <a:cubicBezTo>
                  <a:pt x="4070996" y="3533220"/>
                  <a:pt x="3703879" y="3179540"/>
                  <a:pt x="3285067" y="2895600"/>
                </a:cubicBezTo>
                <a:cubicBezTo>
                  <a:pt x="3118556" y="2782711"/>
                  <a:pt x="2940969" y="2684643"/>
                  <a:pt x="2785534" y="2556934"/>
                </a:cubicBezTo>
                <a:cubicBezTo>
                  <a:pt x="2417924" y="2254897"/>
                  <a:pt x="2075338" y="1923623"/>
                  <a:pt x="1718734" y="1608667"/>
                </a:cubicBezTo>
                <a:cubicBezTo>
                  <a:pt x="1688670" y="1582114"/>
                  <a:pt x="1653963" y="1560831"/>
                  <a:pt x="1625600" y="1532467"/>
                </a:cubicBezTo>
                <a:cubicBezTo>
                  <a:pt x="1614311" y="1521178"/>
                  <a:pt x="1606013" y="1505740"/>
                  <a:pt x="1591734" y="1498600"/>
                </a:cubicBezTo>
                <a:cubicBezTo>
                  <a:pt x="1582633" y="1494049"/>
                  <a:pt x="1601472" y="1516805"/>
                  <a:pt x="1608667" y="1524000"/>
                </a:cubicBezTo>
                <a:cubicBezTo>
                  <a:pt x="1683469" y="1598802"/>
                  <a:pt x="1769795" y="1662658"/>
                  <a:pt x="1837267" y="1744134"/>
                </a:cubicBezTo>
                <a:cubicBezTo>
                  <a:pt x="1930808" y="1857089"/>
                  <a:pt x="2712142" y="2789333"/>
                  <a:pt x="2760134" y="2895600"/>
                </a:cubicBezTo>
                <a:lnTo>
                  <a:pt x="2997200" y="3420534"/>
                </a:lnTo>
                <a:cubicBezTo>
                  <a:pt x="3039831" y="3664691"/>
                  <a:pt x="3146630" y="3875918"/>
                  <a:pt x="3056467" y="4106334"/>
                </a:cubicBezTo>
                <a:cubicBezTo>
                  <a:pt x="3049195" y="4124918"/>
                  <a:pt x="3028245" y="4134556"/>
                  <a:pt x="3014134" y="4148667"/>
                </a:cubicBezTo>
                <a:cubicBezTo>
                  <a:pt x="3029518" y="4102511"/>
                  <a:pt x="3030876" y="4092315"/>
                  <a:pt x="3073400" y="4038600"/>
                </a:cubicBezTo>
                <a:cubicBezTo>
                  <a:pt x="3106867" y="3996325"/>
                  <a:pt x="3148639" y="3961228"/>
                  <a:pt x="3183467" y="3920067"/>
                </a:cubicBezTo>
                <a:cubicBezTo>
                  <a:pt x="3241831" y="3851091"/>
                  <a:pt x="3291318" y="3774612"/>
                  <a:pt x="3352800" y="3708400"/>
                </a:cubicBezTo>
                <a:cubicBezTo>
                  <a:pt x="3562086" y="3483015"/>
                  <a:pt x="4124475" y="2908206"/>
                  <a:pt x="4385734" y="2743200"/>
                </a:cubicBezTo>
                <a:cubicBezTo>
                  <a:pt x="4897849" y="2419759"/>
                  <a:pt x="4683750" y="2484546"/>
                  <a:pt x="4969934" y="2413000"/>
                </a:cubicBezTo>
                <a:cubicBezTo>
                  <a:pt x="5097867" y="2540934"/>
                  <a:pt x="5113579" y="2513198"/>
                  <a:pt x="4876800" y="2768600"/>
                </a:cubicBezTo>
                <a:cubicBezTo>
                  <a:pt x="3983861" y="3731770"/>
                  <a:pt x="4369360" y="3345253"/>
                  <a:pt x="3589867" y="4097867"/>
                </a:cubicBezTo>
                <a:cubicBezTo>
                  <a:pt x="3522376" y="4163030"/>
                  <a:pt x="3468676" y="4247039"/>
                  <a:pt x="3386667" y="4292600"/>
                </a:cubicBezTo>
                <a:cubicBezTo>
                  <a:pt x="3361267" y="4306711"/>
                  <a:pt x="3335213" y="4319705"/>
                  <a:pt x="3310467" y="4334934"/>
                </a:cubicBezTo>
                <a:cubicBezTo>
                  <a:pt x="3298449" y="4342330"/>
                  <a:pt x="3272137" y="4373721"/>
                  <a:pt x="3276600" y="4360334"/>
                </a:cubicBezTo>
                <a:cubicBezTo>
                  <a:pt x="3283571" y="4339423"/>
                  <a:pt x="3303858" y="4325615"/>
                  <a:pt x="3318934" y="4309534"/>
                </a:cubicBezTo>
                <a:cubicBezTo>
                  <a:pt x="3473220" y="4144962"/>
                  <a:pt x="3628797" y="3981603"/>
                  <a:pt x="3784600" y="3818467"/>
                </a:cubicBezTo>
                <a:cubicBezTo>
                  <a:pt x="4159342" y="3426089"/>
                  <a:pt x="3914245" y="3686521"/>
                  <a:pt x="4284134" y="3310467"/>
                </a:cubicBezTo>
                <a:cubicBezTo>
                  <a:pt x="4372307" y="3220824"/>
                  <a:pt x="4459756" y="3130465"/>
                  <a:pt x="4546600" y="3039534"/>
                </a:cubicBezTo>
                <a:cubicBezTo>
                  <a:pt x="4699648" y="2879284"/>
                  <a:pt x="4839090" y="2705172"/>
                  <a:pt x="5003800" y="2556934"/>
                </a:cubicBezTo>
                <a:cubicBezTo>
                  <a:pt x="5106267" y="2464714"/>
                  <a:pt x="5061619" y="2507582"/>
                  <a:pt x="5139267" y="2429934"/>
                </a:cubicBezTo>
                <a:cubicBezTo>
                  <a:pt x="5098501" y="2389165"/>
                  <a:pt x="5118997" y="2400559"/>
                  <a:pt x="5012267" y="2429934"/>
                </a:cubicBezTo>
                <a:cubicBezTo>
                  <a:pt x="4740163" y="2504825"/>
                  <a:pt x="4470830" y="2589468"/>
                  <a:pt x="4199467" y="2667000"/>
                </a:cubicBezTo>
                <a:cubicBezTo>
                  <a:pt x="3704804" y="2808332"/>
                  <a:pt x="3583413" y="2839281"/>
                  <a:pt x="2997200" y="2929467"/>
                </a:cubicBezTo>
                <a:cubicBezTo>
                  <a:pt x="2888092" y="2946253"/>
                  <a:pt x="2777067" y="2946400"/>
                  <a:pt x="2667000" y="2954867"/>
                </a:cubicBezTo>
                <a:cubicBezTo>
                  <a:pt x="2510067" y="2981924"/>
                  <a:pt x="2345921" y="3027499"/>
                  <a:pt x="2184400" y="2988734"/>
                </a:cubicBezTo>
                <a:cubicBezTo>
                  <a:pt x="2168398" y="2984894"/>
                  <a:pt x="2199980" y="2959606"/>
                  <a:pt x="2209800" y="2946400"/>
                </a:cubicBezTo>
                <a:cubicBezTo>
                  <a:pt x="2363721" y="2739404"/>
                  <a:pt x="2521723" y="2535461"/>
                  <a:pt x="2675467" y="2328334"/>
                </a:cubicBezTo>
                <a:cubicBezTo>
                  <a:pt x="2753720" y="2222911"/>
                  <a:pt x="2882445" y="2044009"/>
                  <a:pt x="2937934" y="1921934"/>
                </a:cubicBezTo>
                <a:cubicBezTo>
                  <a:pt x="2976349" y="1837421"/>
                  <a:pt x="3031067" y="1659467"/>
                  <a:pt x="3031067" y="1659467"/>
                </a:cubicBezTo>
                <a:cubicBezTo>
                  <a:pt x="2967685" y="1574957"/>
                  <a:pt x="2996194" y="1589488"/>
                  <a:pt x="2844800" y="1761067"/>
                </a:cubicBezTo>
                <a:lnTo>
                  <a:pt x="2717800" y="1905000"/>
                </a:lnTo>
                <a:cubicBezTo>
                  <a:pt x="2695222" y="1972733"/>
                  <a:pt x="2648836" y="2036813"/>
                  <a:pt x="2650067" y="2108200"/>
                </a:cubicBezTo>
                <a:cubicBezTo>
                  <a:pt x="2651778" y="2207446"/>
                  <a:pt x="2688684" y="2304197"/>
                  <a:pt x="2726267" y="2396067"/>
                </a:cubicBezTo>
                <a:cubicBezTo>
                  <a:pt x="2740643" y="2431209"/>
                  <a:pt x="2771570" y="2458665"/>
                  <a:pt x="2802467" y="2480734"/>
                </a:cubicBezTo>
                <a:cubicBezTo>
                  <a:pt x="2893430" y="2545707"/>
                  <a:pt x="3133704" y="2636443"/>
                  <a:pt x="3217334" y="2667000"/>
                </a:cubicBezTo>
                <a:cubicBezTo>
                  <a:pt x="3425250" y="2742969"/>
                  <a:pt x="3631532" y="2824571"/>
                  <a:pt x="3843867" y="2887134"/>
                </a:cubicBezTo>
                <a:cubicBezTo>
                  <a:pt x="3948470" y="2917954"/>
                  <a:pt x="4058783" y="2924451"/>
                  <a:pt x="4165600" y="2946400"/>
                </a:cubicBezTo>
                <a:cubicBezTo>
                  <a:pt x="4446469" y="3004113"/>
                  <a:pt x="4661578" y="3063748"/>
                  <a:pt x="4944534" y="3158067"/>
                </a:cubicBezTo>
                <a:cubicBezTo>
                  <a:pt x="5056783" y="3195483"/>
                  <a:pt x="5057413" y="3205230"/>
                  <a:pt x="5130800" y="3268134"/>
                </a:cubicBezTo>
                <a:cubicBezTo>
                  <a:pt x="5144911" y="3299178"/>
                  <a:pt x="5165736" y="3327978"/>
                  <a:pt x="5173134" y="3361267"/>
                </a:cubicBezTo>
                <a:cubicBezTo>
                  <a:pt x="5177463" y="3380748"/>
                  <a:pt x="5176314" y="3404329"/>
                  <a:pt x="5164667" y="3420534"/>
                </a:cubicBezTo>
                <a:cubicBezTo>
                  <a:pt x="5109814" y="3496851"/>
                  <a:pt x="5046702" y="3567641"/>
                  <a:pt x="4978400" y="3632200"/>
                </a:cubicBezTo>
                <a:cubicBezTo>
                  <a:pt x="4840249" y="3762781"/>
                  <a:pt x="4698218" y="3890065"/>
                  <a:pt x="4546600" y="4004734"/>
                </a:cubicBezTo>
                <a:cubicBezTo>
                  <a:pt x="4361803" y="4144497"/>
                  <a:pt x="4174342" y="4283379"/>
                  <a:pt x="3970867" y="4394200"/>
                </a:cubicBezTo>
                <a:cubicBezTo>
                  <a:pt x="3728555" y="4526173"/>
                  <a:pt x="3465233" y="4541024"/>
                  <a:pt x="3200400" y="4580467"/>
                </a:cubicBezTo>
                <a:cubicBezTo>
                  <a:pt x="2867378" y="4574823"/>
                  <a:pt x="2533821" y="4583237"/>
                  <a:pt x="2201334" y="4563534"/>
                </a:cubicBezTo>
                <a:cubicBezTo>
                  <a:pt x="2150545" y="4560524"/>
                  <a:pt x="2101399" y="4538282"/>
                  <a:pt x="2057400" y="4512734"/>
                </a:cubicBezTo>
                <a:cubicBezTo>
                  <a:pt x="2012397" y="4486603"/>
                  <a:pt x="1978378" y="4445001"/>
                  <a:pt x="1938867" y="4411134"/>
                </a:cubicBezTo>
                <a:cubicBezTo>
                  <a:pt x="1995311" y="4250267"/>
                  <a:pt x="2028662" y="4079325"/>
                  <a:pt x="2108200" y="3928534"/>
                </a:cubicBezTo>
                <a:cubicBezTo>
                  <a:pt x="2149904" y="3849470"/>
                  <a:pt x="2525970" y="3433438"/>
                  <a:pt x="2599267" y="3378200"/>
                </a:cubicBezTo>
                <a:cubicBezTo>
                  <a:pt x="2817718" y="3213570"/>
                  <a:pt x="3436017" y="2737210"/>
                  <a:pt x="3843867" y="2616200"/>
                </a:cubicBezTo>
                <a:cubicBezTo>
                  <a:pt x="3987138" y="2573691"/>
                  <a:pt x="4137378" y="2559756"/>
                  <a:pt x="4284134" y="2531534"/>
                </a:cubicBezTo>
                <a:cubicBezTo>
                  <a:pt x="4315178" y="2534356"/>
                  <a:pt x="4347845" y="2529702"/>
                  <a:pt x="4377267" y="2540000"/>
                </a:cubicBezTo>
                <a:cubicBezTo>
                  <a:pt x="4457358" y="2568032"/>
                  <a:pt x="4490935" y="2613352"/>
                  <a:pt x="4436534" y="2700867"/>
                </a:cubicBezTo>
                <a:cubicBezTo>
                  <a:pt x="4321442" y="2886015"/>
                  <a:pt x="4225162" y="2936090"/>
                  <a:pt x="4038600" y="3031067"/>
                </a:cubicBezTo>
                <a:cubicBezTo>
                  <a:pt x="3732004" y="3187152"/>
                  <a:pt x="3509240" y="3237795"/>
                  <a:pt x="3132667" y="3310467"/>
                </a:cubicBezTo>
                <a:cubicBezTo>
                  <a:pt x="3032754" y="3329748"/>
                  <a:pt x="2929467" y="3321756"/>
                  <a:pt x="2827867" y="3327400"/>
                </a:cubicBezTo>
                <a:cubicBezTo>
                  <a:pt x="2542823" y="3276600"/>
                  <a:pt x="2255439" y="3237521"/>
                  <a:pt x="1972734" y="3175000"/>
                </a:cubicBezTo>
                <a:cubicBezTo>
                  <a:pt x="1956666" y="3171447"/>
                  <a:pt x="1945228" y="3148988"/>
                  <a:pt x="1947334" y="3132667"/>
                </a:cubicBezTo>
                <a:cubicBezTo>
                  <a:pt x="1956156" y="3064299"/>
                  <a:pt x="2019062" y="2839664"/>
                  <a:pt x="2074334" y="2768600"/>
                </a:cubicBezTo>
                <a:cubicBezTo>
                  <a:pt x="2220548" y="2580611"/>
                  <a:pt x="2379242" y="2402447"/>
                  <a:pt x="2540000" y="2226734"/>
                </a:cubicBezTo>
                <a:cubicBezTo>
                  <a:pt x="2622182" y="2136907"/>
                  <a:pt x="2711712" y="2053890"/>
                  <a:pt x="2802467" y="1972734"/>
                </a:cubicBezTo>
                <a:cubicBezTo>
                  <a:pt x="3015282" y="1782429"/>
                  <a:pt x="3381207" y="1439454"/>
                  <a:pt x="3674534" y="1261534"/>
                </a:cubicBezTo>
                <a:cubicBezTo>
                  <a:pt x="3774466" y="1200920"/>
                  <a:pt x="4027766" y="1079434"/>
                  <a:pt x="4148667" y="1032934"/>
                </a:cubicBezTo>
                <a:cubicBezTo>
                  <a:pt x="4184007" y="1019342"/>
                  <a:pt x="4083990" y="1075343"/>
                  <a:pt x="4047067" y="1083734"/>
                </a:cubicBezTo>
                <a:cubicBezTo>
                  <a:pt x="3260569" y="1262483"/>
                  <a:pt x="3417011" y="1236103"/>
                  <a:pt x="2819400" y="1261534"/>
                </a:cubicBezTo>
                <a:cubicBezTo>
                  <a:pt x="2695222" y="1258712"/>
                  <a:pt x="2570767" y="1261839"/>
                  <a:pt x="2446867" y="1253067"/>
                </a:cubicBezTo>
                <a:cubicBezTo>
                  <a:pt x="2002989" y="1221642"/>
                  <a:pt x="1982542" y="1213779"/>
                  <a:pt x="1659467" y="1159934"/>
                </a:cubicBezTo>
                <a:cubicBezTo>
                  <a:pt x="1603023" y="1134534"/>
                  <a:pt x="1540501" y="1119710"/>
                  <a:pt x="1490134" y="1083734"/>
                </a:cubicBezTo>
                <a:cubicBezTo>
                  <a:pt x="1439784" y="1047770"/>
                  <a:pt x="1500454" y="1019598"/>
                  <a:pt x="1515534" y="1007534"/>
                </a:cubicBezTo>
                <a:cubicBezTo>
                  <a:pt x="1532746" y="993764"/>
                  <a:pt x="1546474" y="974762"/>
                  <a:pt x="1566334" y="965200"/>
                </a:cubicBezTo>
                <a:cubicBezTo>
                  <a:pt x="1623477" y="937687"/>
                  <a:pt x="1684867" y="920045"/>
                  <a:pt x="1744134" y="897467"/>
                </a:cubicBezTo>
                <a:cubicBezTo>
                  <a:pt x="1868312" y="911578"/>
                  <a:pt x="2000491" y="893730"/>
                  <a:pt x="2116667" y="939800"/>
                </a:cubicBezTo>
                <a:cubicBezTo>
                  <a:pt x="2334036" y="1025998"/>
                  <a:pt x="2537155" y="1149399"/>
                  <a:pt x="2726267" y="1286934"/>
                </a:cubicBezTo>
                <a:cubicBezTo>
                  <a:pt x="2788356" y="1332089"/>
                  <a:pt x="2861684" y="1364882"/>
                  <a:pt x="2912534" y="1422400"/>
                </a:cubicBezTo>
                <a:cubicBezTo>
                  <a:pt x="3035537" y="1561535"/>
                  <a:pt x="3152246" y="1708961"/>
                  <a:pt x="3242734" y="1871134"/>
                </a:cubicBezTo>
                <a:cubicBezTo>
                  <a:pt x="3370770" y="2100600"/>
                  <a:pt x="3455416" y="2351727"/>
                  <a:pt x="3564467" y="2590800"/>
                </a:cubicBezTo>
                <a:cubicBezTo>
                  <a:pt x="3602184" y="2673487"/>
                  <a:pt x="3648485" y="2752260"/>
                  <a:pt x="3683000" y="2836334"/>
                </a:cubicBezTo>
                <a:cubicBezTo>
                  <a:pt x="3793067" y="3104445"/>
                  <a:pt x="3900499" y="3373653"/>
                  <a:pt x="4013200" y="3640667"/>
                </a:cubicBezTo>
                <a:cubicBezTo>
                  <a:pt x="4411910" y="4585300"/>
                  <a:pt x="4099453" y="3799410"/>
                  <a:pt x="4326467" y="4377267"/>
                </a:cubicBezTo>
                <a:cubicBezTo>
                  <a:pt x="4356613" y="4558141"/>
                  <a:pt x="4360334" y="4540883"/>
                  <a:pt x="4360334" y="4749800"/>
                </a:cubicBezTo>
                <a:cubicBezTo>
                  <a:pt x="4360334" y="4769756"/>
                  <a:pt x="4363375" y="4792763"/>
                  <a:pt x="4351867" y="4809067"/>
                </a:cubicBezTo>
                <a:cubicBezTo>
                  <a:pt x="4327672" y="4843343"/>
                  <a:pt x="4292746" y="4869169"/>
                  <a:pt x="4258734" y="4893734"/>
                </a:cubicBezTo>
                <a:cubicBezTo>
                  <a:pt x="4241310" y="4906318"/>
                  <a:pt x="4220614" y="4915289"/>
                  <a:pt x="4199467" y="4919134"/>
                </a:cubicBezTo>
                <a:cubicBezTo>
                  <a:pt x="4157724" y="4926723"/>
                  <a:pt x="4114800" y="4924778"/>
                  <a:pt x="4072467" y="4927600"/>
                </a:cubicBezTo>
                <a:cubicBezTo>
                  <a:pt x="4049889" y="4921956"/>
                  <a:pt x="4024793" y="4922467"/>
                  <a:pt x="4004734" y="4910667"/>
                </a:cubicBezTo>
                <a:cubicBezTo>
                  <a:pt x="3975442" y="4893437"/>
                  <a:pt x="3952233" y="4867291"/>
                  <a:pt x="3928534" y="4842934"/>
                </a:cubicBezTo>
                <a:cubicBezTo>
                  <a:pt x="3850552" y="4762786"/>
                  <a:pt x="3770506" y="4684145"/>
                  <a:pt x="3699934" y="4597400"/>
                </a:cubicBezTo>
                <a:cubicBezTo>
                  <a:pt x="3574235" y="4442895"/>
                  <a:pt x="3283314" y="3967262"/>
                  <a:pt x="3225800" y="3860800"/>
                </a:cubicBezTo>
                <a:cubicBezTo>
                  <a:pt x="3182457" y="3780570"/>
                  <a:pt x="3158067" y="3691467"/>
                  <a:pt x="3124200" y="3606800"/>
                </a:cubicBezTo>
                <a:cubicBezTo>
                  <a:pt x="3110089" y="3499556"/>
                  <a:pt x="3063221" y="3391616"/>
                  <a:pt x="3081867" y="3285067"/>
                </a:cubicBezTo>
                <a:cubicBezTo>
                  <a:pt x="3157602" y="2852297"/>
                  <a:pt x="3428757" y="2775125"/>
                  <a:pt x="3835400" y="2624667"/>
                </a:cubicBezTo>
                <a:cubicBezTo>
                  <a:pt x="3914850" y="2595271"/>
                  <a:pt x="4004733" y="2619022"/>
                  <a:pt x="4089400" y="2616200"/>
                </a:cubicBezTo>
                <a:cubicBezTo>
                  <a:pt x="4109156" y="2621845"/>
                  <a:pt x="4135514" y="2617350"/>
                  <a:pt x="4148667" y="2633134"/>
                </a:cubicBezTo>
                <a:cubicBezTo>
                  <a:pt x="4167530" y="2655769"/>
                  <a:pt x="4170983" y="2688497"/>
                  <a:pt x="4174067" y="2717800"/>
                </a:cubicBezTo>
                <a:cubicBezTo>
                  <a:pt x="4180672" y="2780546"/>
                  <a:pt x="4142544" y="2870288"/>
                  <a:pt x="4106334" y="2912534"/>
                </a:cubicBezTo>
                <a:cubicBezTo>
                  <a:pt x="3998532" y="3038303"/>
                  <a:pt x="3880298" y="3155109"/>
                  <a:pt x="3759200" y="3268134"/>
                </a:cubicBezTo>
                <a:cubicBezTo>
                  <a:pt x="3495509" y="3514245"/>
                  <a:pt x="3245588" y="3665607"/>
                  <a:pt x="2912534" y="3835400"/>
                </a:cubicBezTo>
                <a:cubicBezTo>
                  <a:pt x="2816297" y="3884462"/>
                  <a:pt x="2712257" y="3918200"/>
                  <a:pt x="2607734" y="3945467"/>
                </a:cubicBezTo>
                <a:cubicBezTo>
                  <a:pt x="2451885" y="3986123"/>
                  <a:pt x="2291645" y="4007556"/>
                  <a:pt x="2133600" y="4038600"/>
                </a:cubicBezTo>
                <a:cubicBezTo>
                  <a:pt x="1994010" y="3968805"/>
                  <a:pt x="1960215" y="3998763"/>
                  <a:pt x="2116667" y="3877734"/>
                </a:cubicBezTo>
                <a:cubicBezTo>
                  <a:pt x="2378289" y="3675347"/>
                  <a:pt x="2637320" y="3468543"/>
                  <a:pt x="2912534" y="3285067"/>
                </a:cubicBezTo>
                <a:cubicBezTo>
                  <a:pt x="3242734" y="3064934"/>
                  <a:pt x="3544172" y="2793892"/>
                  <a:pt x="3903134" y="2624667"/>
                </a:cubicBezTo>
                <a:lnTo>
                  <a:pt x="4495800" y="2345267"/>
                </a:lnTo>
                <a:cubicBezTo>
                  <a:pt x="4356230" y="2484837"/>
                  <a:pt x="4622777" y="2221790"/>
                  <a:pt x="4106334" y="2607734"/>
                </a:cubicBezTo>
                <a:cubicBezTo>
                  <a:pt x="3581401" y="3000023"/>
                  <a:pt x="3099030" y="3456891"/>
                  <a:pt x="2531534" y="3784600"/>
                </a:cubicBezTo>
                <a:cubicBezTo>
                  <a:pt x="2331156" y="3900311"/>
                  <a:pt x="2115509" y="3992899"/>
                  <a:pt x="1930400" y="4131734"/>
                </a:cubicBezTo>
                <a:cubicBezTo>
                  <a:pt x="1919111" y="4140201"/>
                  <a:pt x="1886555" y="4147157"/>
                  <a:pt x="1896534" y="4157134"/>
                </a:cubicBezTo>
                <a:cubicBezTo>
                  <a:pt x="1907281" y="4167880"/>
                  <a:pt x="1925979" y="4148255"/>
                  <a:pt x="1938867" y="4140200"/>
                </a:cubicBezTo>
                <a:cubicBezTo>
                  <a:pt x="1971418" y="4119855"/>
                  <a:pt x="1999802" y="4093367"/>
                  <a:pt x="2032000" y="4072467"/>
                </a:cubicBezTo>
                <a:cubicBezTo>
                  <a:pt x="2352479" y="3864437"/>
                  <a:pt x="2422161" y="3851910"/>
                  <a:pt x="2683934" y="3615267"/>
                </a:cubicBezTo>
                <a:cubicBezTo>
                  <a:pt x="2953509" y="3371571"/>
                  <a:pt x="3215546" y="3119656"/>
                  <a:pt x="3479800" y="2870200"/>
                </a:cubicBezTo>
                <a:cubicBezTo>
                  <a:pt x="3852538" y="2518336"/>
                  <a:pt x="3626157" y="2684306"/>
                  <a:pt x="4089400" y="2396067"/>
                </a:cubicBezTo>
                <a:cubicBezTo>
                  <a:pt x="4100116" y="2389399"/>
                  <a:pt x="4111978" y="2384778"/>
                  <a:pt x="4123267" y="2379134"/>
                </a:cubicBezTo>
                <a:cubicBezTo>
                  <a:pt x="4037057" y="2637769"/>
                  <a:pt x="4118945" y="2408700"/>
                  <a:pt x="3725334" y="2963334"/>
                </a:cubicBezTo>
                <a:cubicBezTo>
                  <a:pt x="3665521" y="3047616"/>
                  <a:pt x="3598643" y="3127507"/>
                  <a:pt x="3547534" y="3217334"/>
                </a:cubicBezTo>
                <a:cubicBezTo>
                  <a:pt x="3235672" y="3765455"/>
                  <a:pt x="3349103" y="3538365"/>
                  <a:pt x="3183467" y="3886200"/>
                </a:cubicBezTo>
                <a:cubicBezTo>
                  <a:pt x="3177823" y="3925711"/>
                  <a:pt x="3159972" y="3965365"/>
                  <a:pt x="3166534" y="4004734"/>
                </a:cubicBezTo>
                <a:cubicBezTo>
                  <a:pt x="3170498" y="4028519"/>
                  <a:pt x="3186086" y="3960393"/>
                  <a:pt x="3191934" y="3937000"/>
                </a:cubicBezTo>
                <a:cubicBezTo>
                  <a:pt x="3200261" y="3903691"/>
                  <a:pt x="3203223" y="3869267"/>
                  <a:pt x="3208867" y="3835400"/>
                </a:cubicBezTo>
                <a:cubicBezTo>
                  <a:pt x="3244964" y="2993133"/>
                  <a:pt x="3188415" y="3292730"/>
                  <a:pt x="3496734" y="2277534"/>
                </a:cubicBezTo>
                <a:cubicBezTo>
                  <a:pt x="3540448" y="2133598"/>
                  <a:pt x="3609270" y="2055906"/>
                  <a:pt x="3708400" y="1947334"/>
                </a:cubicBezTo>
                <a:cubicBezTo>
                  <a:pt x="3723262" y="1931056"/>
                  <a:pt x="3738289" y="1911970"/>
                  <a:pt x="3759200" y="1905000"/>
                </a:cubicBezTo>
                <a:cubicBezTo>
                  <a:pt x="3799716" y="1891494"/>
                  <a:pt x="3843867" y="1893711"/>
                  <a:pt x="3886200" y="1888067"/>
                </a:cubicBezTo>
                <a:cubicBezTo>
                  <a:pt x="3946349" y="1910296"/>
                  <a:pt x="4370927" y="2051058"/>
                  <a:pt x="4478867" y="2133600"/>
                </a:cubicBezTo>
                <a:cubicBezTo>
                  <a:pt x="4717527" y="2316105"/>
                  <a:pt x="5024851" y="2552692"/>
                  <a:pt x="5181600" y="2836334"/>
                </a:cubicBezTo>
                <a:cubicBezTo>
                  <a:pt x="5250072" y="2960235"/>
                  <a:pt x="5294489" y="3095978"/>
                  <a:pt x="5350934" y="3225800"/>
                </a:cubicBezTo>
                <a:cubicBezTo>
                  <a:pt x="5356578" y="3276600"/>
                  <a:pt x="5366679" y="3327101"/>
                  <a:pt x="5367867" y="3378200"/>
                </a:cubicBezTo>
                <a:cubicBezTo>
                  <a:pt x="5371333" y="3527268"/>
                  <a:pt x="5393720" y="3640862"/>
                  <a:pt x="5240867" y="3725334"/>
                </a:cubicBezTo>
                <a:cubicBezTo>
                  <a:pt x="5180311" y="3758799"/>
                  <a:pt x="5105400" y="3753556"/>
                  <a:pt x="5037667" y="3767667"/>
                </a:cubicBezTo>
                <a:cubicBezTo>
                  <a:pt x="4933245" y="3733800"/>
                  <a:pt x="4821929" y="3716457"/>
                  <a:pt x="4724400" y="3666067"/>
                </a:cubicBezTo>
                <a:cubicBezTo>
                  <a:pt x="4649599" y="3627420"/>
                  <a:pt x="4584052" y="3569473"/>
                  <a:pt x="4529667" y="3505200"/>
                </a:cubicBezTo>
                <a:cubicBezTo>
                  <a:pt x="4365598" y="3311300"/>
                  <a:pt x="4206562" y="3111318"/>
                  <a:pt x="4072467" y="2895600"/>
                </a:cubicBezTo>
                <a:cubicBezTo>
                  <a:pt x="3933182" y="2671532"/>
                  <a:pt x="3765691" y="1815028"/>
                  <a:pt x="3750734" y="1752600"/>
                </a:cubicBezTo>
                <a:cubicBezTo>
                  <a:pt x="3720035" y="1414911"/>
                  <a:pt x="3682061" y="1209944"/>
                  <a:pt x="3750734" y="855134"/>
                </a:cubicBezTo>
                <a:cubicBezTo>
                  <a:pt x="3768976" y="760886"/>
                  <a:pt x="3817406" y="673450"/>
                  <a:pt x="3869267" y="592667"/>
                </a:cubicBezTo>
                <a:cubicBezTo>
                  <a:pt x="3988401" y="407093"/>
                  <a:pt x="4133404" y="163297"/>
                  <a:pt x="4351867" y="59267"/>
                </a:cubicBezTo>
                <a:cubicBezTo>
                  <a:pt x="4413127" y="30096"/>
                  <a:pt x="4481689" y="19756"/>
                  <a:pt x="4546600" y="0"/>
                </a:cubicBezTo>
                <a:cubicBezTo>
                  <a:pt x="4583289" y="11289"/>
                  <a:pt x="4633818" y="3021"/>
                  <a:pt x="4656667" y="33867"/>
                </a:cubicBezTo>
                <a:cubicBezTo>
                  <a:pt x="4697054" y="88389"/>
                  <a:pt x="4710220" y="160990"/>
                  <a:pt x="4715934" y="228600"/>
                </a:cubicBezTo>
                <a:cubicBezTo>
                  <a:pt x="4734467" y="447913"/>
                  <a:pt x="4714865" y="744953"/>
                  <a:pt x="4631267" y="956734"/>
                </a:cubicBezTo>
                <a:cubicBezTo>
                  <a:pt x="4471262" y="1362079"/>
                  <a:pt x="4352710" y="1630754"/>
                  <a:pt x="4064000" y="1930400"/>
                </a:cubicBezTo>
                <a:cubicBezTo>
                  <a:pt x="3788425" y="2216414"/>
                  <a:pt x="3439719" y="2436942"/>
                  <a:pt x="3208867" y="2760134"/>
                </a:cubicBezTo>
                <a:cubicBezTo>
                  <a:pt x="3194756" y="2779889"/>
                  <a:pt x="3143191" y="2826070"/>
                  <a:pt x="3166534" y="2819400"/>
                </a:cubicBezTo>
                <a:cubicBezTo>
                  <a:pt x="3226110" y="2802378"/>
                  <a:pt x="3274998" y="2759330"/>
                  <a:pt x="3327400" y="2726267"/>
                </a:cubicBezTo>
                <a:lnTo>
                  <a:pt x="4588934" y="1921934"/>
                </a:lnTo>
                <a:cubicBezTo>
                  <a:pt x="4865552" y="1749436"/>
                  <a:pt x="4898173" y="1764365"/>
                  <a:pt x="5249334" y="1642534"/>
                </a:cubicBezTo>
                <a:cubicBezTo>
                  <a:pt x="5286023" y="1645356"/>
                  <a:pt x="5345390" y="1616975"/>
                  <a:pt x="5359400" y="1651000"/>
                </a:cubicBezTo>
                <a:cubicBezTo>
                  <a:pt x="5383887" y="1710468"/>
                  <a:pt x="5241569" y="1876752"/>
                  <a:pt x="5215467" y="1905000"/>
                </a:cubicBezTo>
                <a:cubicBezTo>
                  <a:pt x="5043416" y="2091192"/>
                  <a:pt x="4869795" y="2276073"/>
                  <a:pt x="4690534" y="2455334"/>
                </a:cubicBezTo>
                <a:cubicBezTo>
                  <a:pt x="4350180" y="2795688"/>
                  <a:pt x="4079963" y="2961976"/>
                  <a:pt x="3606800" y="3217334"/>
                </a:cubicBezTo>
                <a:cubicBezTo>
                  <a:pt x="3351096" y="3355333"/>
                  <a:pt x="3078492" y="3459615"/>
                  <a:pt x="2810934" y="3572934"/>
                </a:cubicBezTo>
                <a:cubicBezTo>
                  <a:pt x="2598598" y="3662864"/>
                  <a:pt x="2381194" y="3740361"/>
                  <a:pt x="2167467" y="3826934"/>
                </a:cubicBezTo>
                <a:cubicBezTo>
                  <a:pt x="2158036" y="3830754"/>
                  <a:pt x="2131891" y="3843867"/>
                  <a:pt x="2142067" y="3843867"/>
                </a:cubicBezTo>
                <a:cubicBezTo>
                  <a:pt x="2157265" y="3843867"/>
                  <a:pt x="2171432" y="3834859"/>
                  <a:pt x="2184400" y="3826934"/>
                </a:cubicBezTo>
                <a:cubicBezTo>
                  <a:pt x="2222476" y="3803665"/>
                  <a:pt x="2256259" y="3773785"/>
                  <a:pt x="2294467" y="3750734"/>
                </a:cubicBezTo>
                <a:cubicBezTo>
                  <a:pt x="2597832" y="3567712"/>
                  <a:pt x="2883450" y="3348977"/>
                  <a:pt x="3208867" y="3208867"/>
                </a:cubicBezTo>
                <a:cubicBezTo>
                  <a:pt x="3925030" y="2900519"/>
                  <a:pt x="3608586" y="3016360"/>
                  <a:pt x="4148667" y="2836334"/>
                </a:cubicBezTo>
                <a:cubicBezTo>
                  <a:pt x="4116018" y="2917958"/>
                  <a:pt x="4139176" y="2883803"/>
                  <a:pt x="4013200" y="2954867"/>
                </a:cubicBezTo>
                <a:cubicBezTo>
                  <a:pt x="3833894" y="3056014"/>
                  <a:pt x="3662311" y="3174329"/>
                  <a:pt x="3471334" y="3251200"/>
                </a:cubicBezTo>
                <a:cubicBezTo>
                  <a:pt x="3269140" y="3332586"/>
                  <a:pt x="2609155" y="3540530"/>
                  <a:pt x="2286000" y="3564467"/>
                </a:cubicBezTo>
                <a:cubicBezTo>
                  <a:pt x="2032631" y="3583235"/>
                  <a:pt x="1778000" y="3575756"/>
                  <a:pt x="1524000" y="3581400"/>
                </a:cubicBezTo>
                <a:cubicBezTo>
                  <a:pt x="1498810" y="3574979"/>
                  <a:pt x="1100727" y="3536733"/>
                  <a:pt x="1007534" y="3403600"/>
                </a:cubicBezTo>
                <a:cubicBezTo>
                  <a:pt x="967726" y="3346731"/>
                  <a:pt x="945445" y="3279423"/>
                  <a:pt x="914400" y="3217334"/>
                </a:cubicBezTo>
                <a:cubicBezTo>
                  <a:pt x="928511" y="3062112"/>
                  <a:pt x="910897" y="2900637"/>
                  <a:pt x="956734" y="2751667"/>
                </a:cubicBezTo>
                <a:cubicBezTo>
                  <a:pt x="1014266" y="2564687"/>
                  <a:pt x="1114340" y="2391888"/>
                  <a:pt x="1219200" y="2226734"/>
                </a:cubicBezTo>
                <a:cubicBezTo>
                  <a:pt x="1301337" y="2097369"/>
                  <a:pt x="1676037" y="1604936"/>
                  <a:pt x="1862667" y="1439334"/>
                </a:cubicBezTo>
                <a:cubicBezTo>
                  <a:pt x="1980050" y="1335177"/>
                  <a:pt x="2096457" y="1224802"/>
                  <a:pt x="2235200" y="1151467"/>
                </a:cubicBezTo>
                <a:cubicBezTo>
                  <a:pt x="2300504" y="1116949"/>
                  <a:pt x="2381956" y="1134534"/>
                  <a:pt x="2455334" y="1126067"/>
                </a:cubicBezTo>
                <a:cubicBezTo>
                  <a:pt x="2469445" y="1140178"/>
                  <a:pt x="2485616" y="1152493"/>
                  <a:pt x="2497667" y="1168400"/>
                </a:cubicBezTo>
                <a:cubicBezTo>
                  <a:pt x="2800286" y="1567858"/>
                  <a:pt x="2741052" y="1555304"/>
                  <a:pt x="3056467" y="2201334"/>
                </a:cubicBezTo>
                <a:cubicBezTo>
                  <a:pt x="3818529" y="3762182"/>
                  <a:pt x="2933893" y="1896436"/>
                  <a:pt x="3623734" y="3547534"/>
                </a:cubicBezTo>
                <a:cubicBezTo>
                  <a:pt x="3700127" y="3730376"/>
                  <a:pt x="3795215" y="3904898"/>
                  <a:pt x="3886200" y="4080934"/>
                </a:cubicBezTo>
                <a:cubicBezTo>
                  <a:pt x="3990428" y="4282593"/>
                  <a:pt x="4057477" y="4373482"/>
                  <a:pt x="4207934" y="4555067"/>
                </a:cubicBezTo>
                <a:cubicBezTo>
                  <a:pt x="4221997" y="4572040"/>
                  <a:pt x="4241801" y="4583289"/>
                  <a:pt x="4258734" y="4597400"/>
                </a:cubicBezTo>
                <a:cubicBezTo>
                  <a:pt x="4130594" y="4353935"/>
                  <a:pt x="3982856" y="4118075"/>
                  <a:pt x="3903134" y="3852334"/>
                </a:cubicBezTo>
                <a:cubicBezTo>
                  <a:pt x="3853765" y="3687771"/>
                  <a:pt x="3818467" y="3519311"/>
                  <a:pt x="3776134" y="3352800"/>
                </a:cubicBezTo>
                <a:cubicBezTo>
                  <a:pt x="3770489" y="3285067"/>
                  <a:pt x="3714166" y="3098692"/>
                  <a:pt x="3759200" y="3149600"/>
                </a:cubicBezTo>
                <a:cubicBezTo>
                  <a:pt x="3863732" y="3267767"/>
                  <a:pt x="3902244" y="3430873"/>
                  <a:pt x="3970867" y="3572934"/>
                </a:cubicBezTo>
                <a:cubicBezTo>
                  <a:pt x="4063122" y="3763918"/>
                  <a:pt x="4152426" y="3956318"/>
                  <a:pt x="4241800" y="4148667"/>
                </a:cubicBezTo>
                <a:cubicBezTo>
                  <a:pt x="4282251" y="4235725"/>
                  <a:pt x="4332234" y="4319341"/>
                  <a:pt x="4360334" y="4411134"/>
                </a:cubicBezTo>
                <a:lnTo>
                  <a:pt x="4487334" y="4826000"/>
                </a:lnTo>
                <a:cubicBezTo>
                  <a:pt x="4490156" y="4871156"/>
                  <a:pt x="4535636" y="4940017"/>
                  <a:pt x="4495800" y="4961467"/>
                </a:cubicBezTo>
                <a:cubicBezTo>
                  <a:pt x="4454443" y="4983736"/>
                  <a:pt x="4409228" y="4919687"/>
                  <a:pt x="4377267" y="4885267"/>
                </a:cubicBezTo>
                <a:cubicBezTo>
                  <a:pt x="4297762" y="4799646"/>
                  <a:pt x="4225252" y="4706334"/>
                  <a:pt x="4165600" y="4605867"/>
                </a:cubicBezTo>
                <a:cubicBezTo>
                  <a:pt x="4117165" y="4524292"/>
                  <a:pt x="4101834" y="4426205"/>
                  <a:pt x="4055534" y="4343400"/>
                </a:cubicBezTo>
                <a:cubicBezTo>
                  <a:pt x="3954650" y="4162972"/>
                  <a:pt x="3826872" y="3998528"/>
                  <a:pt x="3725334" y="3818467"/>
                </a:cubicBezTo>
                <a:cubicBezTo>
                  <a:pt x="3614981" y="3622774"/>
                  <a:pt x="3420534" y="3217334"/>
                  <a:pt x="3420534" y="3217334"/>
                </a:cubicBezTo>
                <a:cubicBezTo>
                  <a:pt x="3429001" y="3214512"/>
                  <a:pt x="3437131" y="3207400"/>
                  <a:pt x="3445934" y="3208867"/>
                </a:cubicBezTo>
                <a:cubicBezTo>
                  <a:pt x="3455971" y="3210540"/>
                  <a:pt x="3462439" y="3220858"/>
                  <a:pt x="3471334" y="3225800"/>
                </a:cubicBezTo>
                <a:cubicBezTo>
                  <a:pt x="3513274" y="3249100"/>
                  <a:pt x="3557193" y="3268850"/>
                  <a:pt x="3598334" y="3293534"/>
                </a:cubicBezTo>
                <a:cubicBezTo>
                  <a:pt x="3627874" y="3311258"/>
                  <a:pt x="3653460" y="3335076"/>
                  <a:pt x="3683000" y="3352800"/>
                </a:cubicBezTo>
                <a:cubicBezTo>
                  <a:pt x="3710850" y="3369510"/>
                  <a:pt x="3736796" y="3372026"/>
                  <a:pt x="3767667" y="3378200"/>
                </a:cubicBezTo>
                <a:lnTo>
                  <a:pt x="3810000" y="3369734"/>
                </a:lnTo>
              </a:path>
            </a:pathLst>
          </a:custGeom>
          <a:solidFill>
            <a:schemeClr val="tx1">
              <a:lumMod val="95000"/>
              <a:lumOff val="5000"/>
            </a:schemeClr>
          </a:solidFill>
          <a:ln>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63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32" name="Picture 31"/>
          <p:cNvPicPr>
            <a:picLocks noChangeAspect="1"/>
          </p:cNvPicPr>
          <p:nvPr/>
        </p:nvPicPr>
        <p:blipFill>
          <a:blip r:embed="rId3" cstate="print">
            <a:clrChange>
              <a:clrFrom>
                <a:srgbClr val="FFFFFF"/>
              </a:clrFrom>
              <a:clrTo>
                <a:srgbClr val="FFFFFF">
                  <a:alpha val="0"/>
                </a:srgbClr>
              </a:clrTo>
            </a:clrChange>
            <a:biLevel thresh="25000"/>
            <a:extLst>
              <a:ext uri="{28A0092B-C50C-407E-A947-70E740481C1C}">
                <a14:useLocalDpi xmlns:a14="http://schemas.microsoft.com/office/drawing/2010/main" val="0"/>
              </a:ext>
            </a:extLst>
          </a:blip>
          <a:stretch>
            <a:fillRect/>
          </a:stretch>
        </p:blipFill>
        <p:spPr>
          <a:xfrm flipH="1">
            <a:off x="2807498" y="1584128"/>
            <a:ext cx="766009" cy="835404"/>
          </a:xfrm>
          <a:prstGeom prst="rect">
            <a:avLst/>
          </a:prstGeom>
        </p:spPr>
      </p:pic>
      <p:sp>
        <p:nvSpPr>
          <p:cNvPr id="33" name="Freeform 32"/>
          <p:cNvSpPr/>
          <p:nvPr/>
        </p:nvSpPr>
        <p:spPr>
          <a:xfrm>
            <a:off x="657044" y="5041715"/>
            <a:ext cx="748457" cy="633697"/>
          </a:xfrm>
          <a:custGeom>
            <a:avLst/>
            <a:gdLst>
              <a:gd name="connsiteX0" fmla="*/ 3877734 w 6316134"/>
              <a:gd name="connsiteY0" fmla="*/ 1464734 h 5207000"/>
              <a:gd name="connsiteX1" fmla="*/ 3742267 w 6316134"/>
              <a:gd name="connsiteY1" fmla="*/ 1473200 h 5207000"/>
              <a:gd name="connsiteX2" fmla="*/ 3699934 w 6316134"/>
              <a:gd name="connsiteY2" fmla="*/ 1507067 h 5207000"/>
              <a:gd name="connsiteX3" fmla="*/ 3496734 w 6316134"/>
              <a:gd name="connsiteY3" fmla="*/ 1667934 h 5207000"/>
              <a:gd name="connsiteX4" fmla="*/ 3429000 w 6316134"/>
              <a:gd name="connsiteY4" fmla="*/ 1752600 h 5207000"/>
              <a:gd name="connsiteX5" fmla="*/ 3378200 w 6316134"/>
              <a:gd name="connsiteY5" fmla="*/ 1828800 h 5207000"/>
              <a:gd name="connsiteX6" fmla="*/ 3318934 w 6316134"/>
              <a:gd name="connsiteY6" fmla="*/ 1896534 h 5207000"/>
              <a:gd name="connsiteX7" fmla="*/ 3302000 w 6316134"/>
              <a:gd name="connsiteY7" fmla="*/ 1972734 h 5207000"/>
              <a:gd name="connsiteX8" fmla="*/ 3310467 w 6316134"/>
              <a:gd name="connsiteY8" fmla="*/ 2082800 h 5207000"/>
              <a:gd name="connsiteX9" fmla="*/ 3335867 w 6316134"/>
              <a:gd name="connsiteY9" fmla="*/ 2116667 h 5207000"/>
              <a:gd name="connsiteX10" fmla="*/ 3386667 w 6316134"/>
              <a:gd name="connsiteY10" fmla="*/ 2150534 h 5207000"/>
              <a:gd name="connsiteX11" fmla="*/ 3539067 w 6316134"/>
              <a:gd name="connsiteY11" fmla="*/ 2175934 h 5207000"/>
              <a:gd name="connsiteX12" fmla="*/ 3970867 w 6316134"/>
              <a:gd name="connsiteY12" fmla="*/ 2150534 h 5207000"/>
              <a:gd name="connsiteX13" fmla="*/ 4461934 w 6316134"/>
              <a:gd name="connsiteY13" fmla="*/ 1998134 h 5207000"/>
              <a:gd name="connsiteX14" fmla="*/ 4986867 w 6316134"/>
              <a:gd name="connsiteY14" fmla="*/ 1752600 h 5207000"/>
              <a:gd name="connsiteX15" fmla="*/ 5046134 w 6316134"/>
              <a:gd name="connsiteY15" fmla="*/ 1684867 h 5207000"/>
              <a:gd name="connsiteX16" fmla="*/ 5088467 w 6316134"/>
              <a:gd name="connsiteY16" fmla="*/ 1625600 h 5207000"/>
              <a:gd name="connsiteX17" fmla="*/ 4842934 w 6316134"/>
              <a:gd name="connsiteY17" fmla="*/ 1617134 h 5207000"/>
              <a:gd name="connsiteX18" fmla="*/ 4461934 w 6316134"/>
              <a:gd name="connsiteY18" fmla="*/ 1727200 h 5207000"/>
              <a:gd name="connsiteX19" fmla="*/ 3937000 w 6316134"/>
              <a:gd name="connsiteY19" fmla="*/ 1964267 h 5207000"/>
              <a:gd name="connsiteX20" fmla="*/ 3699934 w 6316134"/>
              <a:gd name="connsiteY20" fmla="*/ 2057400 h 5207000"/>
              <a:gd name="connsiteX21" fmla="*/ 3268134 w 6316134"/>
              <a:gd name="connsiteY21" fmla="*/ 2252134 h 5207000"/>
              <a:gd name="connsiteX22" fmla="*/ 3158067 w 6316134"/>
              <a:gd name="connsiteY22" fmla="*/ 2277534 h 5207000"/>
              <a:gd name="connsiteX23" fmla="*/ 3073400 w 6316134"/>
              <a:gd name="connsiteY23" fmla="*/ 2269067 h 5207000"/>
              <a:gd name="connsiteX24" fmla="*/ 3081867 w 6316134"/>
              <a:gd name="connsiteY24" fmla="*/ 2209800 h 5207000"/>
              <a:gd name="connsiteX25" fmla="*/ 3132667 w 6316134"/>
              <a:gd name="connsiteY25" fmla="*/ 2133600 h 5207000"/>
              <a:gd name="connsiteX26" fmla="*/ 3285067 w 6316134"/>
              <a:gd name="connsiteY26" fmla="*/ 1862667 h 5207000"/>
              <a:gd name="connsiteX27" fmla="*/ 3496734 w 6316134"/>
              <a:gd name="connsiteY27" fmla="*/ 1574800 h 5207000"/>
              <a:gd name="connsiteX28" fmla="*/ 3581400 w 6316134"/>
              <a:gd name="connsiteY28" fmla="*/ 1422400 h 5207000"/>
              <a:gd name="connsiteX29" fmla="*/ 3623734 w 6316134"/>
              <a:gd name="connsiteY29" fmla="*/ 1337734 h 5207000"/>
              <a:gd name="connsiteX30" fmla="*/ 3657600 w 6316134"/>
              <a:gd name="connsiteY30" fmla="*/ 1286934 h 5207000"/>
              <a:gd name="connsiteX31" fmla="*/ 3632200 w 6316134"/>
              <a:gd name="connsiteY31" fmla="*/ 1337734 h 5207000"/>
              <a:gd name="connsiteX32" fmla="*/ 3589867 w 6316134"/>
              <a:gd name="connsiteY32" fmla="*/ 1439334 h 5207000"/>
              <a:gd name="connsiteX33" fmla="*/ 3522134 w 6316134"/>
              <a:gd name="connsiteY33" fmla="*/ 1625600 h 5207000"/>
              <a:gd name="connsiteX34" fmla="*/ 3429000 w 6316134"/>
              <a:gd name="connsiteY34" fmla="*/ 2142067 h 5207000"/>
              <a:gd name="connsiteX35" fmla="*/ 3344334 w 6316134"/>
              <a:gd name="connsiteY35" fmla="*/ 2506134 h 5207000"/>
              <a:gd name="connsiteX36" fmla="*/ 3318934 w 6316134"/>
              <a:gd name="connsiteY36" fmla="*/ 3158067 h 5207000"/>
              <a:gd name="connsiteX37" fmla="*/ 3403600 w 6316134"/>
              <a:gd name="connsiteY37" fmla="*/ 3589867 h 5207000"/>
              <a:gd name="connsiteX38" fmla="*/ 3471334 w 6316134"/>
              <a:gd name="connsiteY38" fmla="*/ 3632200 h 5207000"/>
              <a:gd name="connsiteX39" fmla="*/ 3589867 w 6316134"/>
              <a:gd name="connsiteY39" fmla="*/ 3640667 h 5207000"/>
              <a:gd name="connsiteX40" fmla="*/ 3877734 w 6316134"/>
              <a:gd name="connsiteY40" fmla="*/ 3623734 h 5207000"/>
              <a:gd name="connsiteX41" fmla="*/ 4089400 w 6316134"/>
              <a:gd name="connsiteY41" fmla="*/ 3547534 h 5207000"/>
              <a:gd name="connsiteX42" fmla="*/ 4580467 w 6316134"/>
              <a:gd name="connsiteY42" fmla="*/ 3285067 h 5207000"/>
              <a:gd name="connsiteX43" fmla="*/ 4766734 w 6316134"/>
              <a:gd name="connsiteY43" fmla="*/ 3141134 h 5207000"/>
              <a:gd name="connsiteX44" fmla="*/ 5088467 w 6316134"/>
              <a:gd name="connsiteY44" fmla="*/ 2700867 h 5207000"/>
              <a:gd name="connsiteX45" fmla="*/ 5164667 w 6316134"/>
              <a:gd name="connsiteY45" fmla="*/ 2565400 h 5207000"/>
              <a:gd name="connsiteX46" fmla="*/ 5207000 w 6316134"/>
              <a:gd name="connsiteY46" fmla="*/ 2472267 h 5207000"/>
              <a:gd name="connsiteX47" fmla="*/ 5215467 w 6316134"/>
              <a:gd name="connsiteY47" fmla="*/ 2455334 h 5207000"/>
              <a:gd name="connsiteX48" fmla="*/ 5164667 w 6316134"/>
              <a:gd name="connsiteY48" fmla="*/ 2523067 h 5207000"/>
              <a:gd name="connsiteX49" fmla="*/ 4986867 w 6316134"/>
              <a:gd name="connsiteY49" fmla="*/ 2768600 h 5207000"/>
              <a:gd name="connsiteX50" fmla="*/ 4461934 w 6316134"/>
              <a:gd name="connsiteY50" fmla="*/ 3234267 h 5207000"/>
              <a:gd name="connsiteX51" fmla="*/ 3623734 w 6316134"/>
              <a:gd name="connsiteY51" fmla="*/ 3564467 h 5207000"/>
              <a:gd name="connsiteX52" fmla="*/ 3048000 w 6316134"/>
              <a:gd name="connsiteY52" fmla="*/ 3598334 h 5207000"/>
              <a:gd name="connsiteX53" fmla="*/ 1845734 w 6316134"/>
              <a:gd name="connsiteY53" fmla="*/ 3496734 h 5207000"/>
              <a:gd name="connsiteX54" fmla="*/ 1261534 w 6316134"/>
              <a:gd name="connsiteY54" fmla="*/ 3268134 h 5207000"/>
              <a:gd name="connsiteX55" fmla="*/ 719667 w 6316134"/>
              <a:gd name="connsiteY55" fmla="*/ 2937934 h 5207000"/>
              <a:gd name="connsiteX56" fmla="*/ 677334 w 6316134"/>
              <a:gd name="connsiteY56" fmla="*/ 2810934 h 5207000"/>
              <a:gd name="connsiteX57" fmla="*/ 719667 w 6316134"/>
              <a:gd name="connsiteY57" fmla="*/ 2556934 h 5207000"/>
              <a:gd name="connsiteX58" fmla="*/ 1126067 w 6316134"/>
              <a:gd name="connsiteY58" fmla="*/ 2116667 h 5207000"/>
              <a:gd name="connsiteX59" fmla="*/ 2057400 w 6316134"/>
              <a:gd name="connsiteY59" fmla="*/ 1532467 h 5207000"/>
              <a:gd name="connsiteX60" fmla="*/ 2429934 w 6316134"/>
              <a:gd name="connsiteY60" fmla="*/ 1422400 h 5207000"/>
              <a:gd name="connsiteX61" fmla="*/ 3251200 w 6316134"/>
              <a:gd name="connsiteY61" fmla="*/ 1329267 h 5207000"/>
              <a:gd name="connsiteX62" fmla="*/ 3530600 w 6316134"/>
              <a:gd name="connsiteY62" fmla="*/ 1388534 h 5207000"/>
              <a:gd name="connsiteX63" fmla="*/ 3572934 w 6316134"/>
              <a:gd name="connsiteY63" fmla="*/ 1456267 h 5207000"/>
              <a:gd name="connsiteX64" fmla="*/ 3589867 w 6316134"/>
              <a:gd name="connsiteY64" fmla="*/ 1515534 h 5207000"/>
              <a:gd name="connsiteX65" fmla="*/ 3564467 w 6316134"/>
              <a:gd name="connsiteY65" fmla="*/ 1879600 h 5207000"/>
              <a:gd name="connsiteX66" fmla="*/ 3293534 w 6316134"/>
              <a:gd name="connsiteY66" fmla="*/ 2353734 h 5207000"/>
              <a:gd name="connsiteX67" fmla="*/ 3073400 w 6316134"/>
              <a:gd name="connsiteY67" fmla="*/ 2633134 h 5207000"/>
              <a:gd name="connsiteX68" fmla="*/ 2827867 w 6316134"/>
              <a:gd name="connsiteY68" fmla="*/ 2895600 h 5207000"/>
              <a:gd name="connsiteX69" fmla="*/ 2345267 w 6316134"/>
              <a:gd name="connsiteY69" fmla="*/ 3335867 h 5207000"/>
              <a:gd name="connsiteX70" fmla="*/ 2201334 w 6316134"/>
              <a:gd name="connsiteY70" fmla="*/ 3429000 h 5207000"/>
              <a:gd name="connsiteX71" fmla="*/ 2065867 w 6316134"/>
              <a:gd name="connsiteY71" fmla="*/ 3479800 h 5207000"/>
              <a:gd name="connsiteX72" fmla="*/ 2802467 w 6316134"/>
              <a:gd name="connsiteY72" fmla="*/ 3141134 h 5207000"/>
              <a:gd name="connsiteX73" fmla="*/ 3843867 w 6316134"/>
              <a:gd name="connsiteY73" fmla="*/ 2751667 h 5207000"/>
              <a:gd name="connsiteX74" fmla="*/ 4436534 w 6316134"/>
              <a:gd name="connsiteY74" fmla="*/ 2548467 h 5207000"/>
              <a:gd name="connsiteX75" fmla="*/ 5528734 w 6316134"/>
              <a:gd name="connsiteY75" fmla="*/ 2302934 h 5207000"/>
              <a:gd name="connsiteX76" fmla="*/ 6214534 w 6316134"/>
              <a:gd name="connsiteY76" fmla="*/ 2226734 h 5207000"/>
              <a:gd name="connsiteX77" fmla="*/ 6316134 w 6316134"/>
              <a:gd name="connsiteY77" fmla="*/ 2243667 h 5207000"/>
              <a:gd name="connsiteX78" fmla="*/ 6206067 w 6316134"/>
              <a:gd name="connsiteY78" fmla="*/ 2286000 h 5207000"/>
              <a:gd name="connsiteX79" fmla="*/ 6028267 w 6316134"/>
              <a:gd name="connsiteY79" fmla="*/ 2345267 h 5207000"/>
              <a:gd name="connsiteX80" fmla="*/ 4927600 w 6316134"/>
              <a:gd name="connsiteY80" fmla="*/ 2531534 h 5207000"/>
              <a:gd name="connsiteX81" fmla="*/ 3632200 w 6316134"/>
              <a:gd name="connsiteY81" fmla="*/ 2506134 h 5207000"/>
              <a:gd name="connsiteX82" fmla="*/ 3225800 w 6316134"/>
              <a:gd name="connsiteY82" fmla="*/ 2387600 h 5207000"/>
              <a:gd name="connsiteX83" fmla="*/ 2760134 w 6316134"/>
              <a:gd name="connsiteY83" fmla="*/ 2150534 h 5207000"/>
              <a:gd name="connsiteX84" fmla="*/ 2616200 w 6316134"/>
              <a:gd name="connsiteY84" fmla="*/ 1981200 h 5207000"/>
              <a:gd name="connsiteX85" fmla="*/ 2675467 w 6316134"/>
              <a:gd name="connsiteY85" fmla="*/ 1811867 h 5207000"/>
              <a:gd name="connsiteX86" fmla="*/ 2760134 w 6316134"/>
              <a:gd name="connsiteY86" fmla="*/ 1752600 h 5207000"/>
              <a:gd name="connsiteX87" fmla="*/ 3064934 w 6316134"/>
              <a:gd name="connsiteY87" fmla="*/ 1617134 h 5207000"/>
              <a:gd name="connsiteX88" fmla="*/ 3158067 w 6316134"/>
              <a:gd name="connsiteY88" fmla="*/ 1600200 h 5207000"/>
              <a:gd name="connsiteX89" fmla="*/ 3225800 w 6316134"/>
              <a:gd name="connsiteY89" fmla="*/ 1617134 h 5207000"/>
              <a:gd name="connsiteX90" fmla="*/ 3251200 w 6316134"/>
              <a:gd name="connsiteY90" fmla="*/ 1752600 h 5207000"/>
              <a:gd name="connsiteX91" fmla="*/ 3081867 w 6316134"/>
              <a:gd name="connsiteY91" fmla="*/ 2599267 h 5207000"/>
              <a:gd name="connsiteX92" fmla="*/ 2861734 w 6316134"/>
              <a:gd name="connsiteY92" fmla="*/ 3141134 h 5207000"/>
              <a:gd name="connsiteX93" fmla="*/ 2743200 w 6316134"/>
              <a:gd name="connsiteY93" fmla="*/ 3403600 h 5207000"/>
              <a:gd name="connsiteX94" fmla="*/ 2692400 w 6316134"/>
              <a:gd name="connsiteY94" fmla="*/ 3632200 h 5207000"/>
              <a:gd name="connsiteX95" fmla="*/ 2658534 w 6316134"/>
              <a:gd name="connsiteY95" fmla="*/ 3767667 h 5207000"/>
              <a:gd name="connsiteX96" fmla="*/ 2667000 w 6316134"/>
              <a:gd name="connsiteY96" fmla="*/ 3860800 h 5207000"/>
              <a:gd name="connsiteX97" fmla="*/ 2726267 w 6316134"/>
              <a:gd name="connsiteY97" fmla="*/ 3801534 h 5207000"/>
              <a:gd name="connsiteX98" fmla="*/ 2819400 w 6316134"/>
              <a:gd name="connsiteY98" fmla="*/ 3513667 h 5207000"/>
              <a:gd name="connsiteX99" fmla="*/ 2844800 w 6316134"/>
              <a:gd name="connsiteY99" fmla="*/ 3268134 h 5207000"/>
              <a:gd name="connsiteX100" fmla="*/ 2853267 w 6316134"/>
              <a:gd name="connsiteY100" fmla="*/ 1380067 h 5207000"/>
              <a:gd name="connsiteX101" fmla="*/ 2887134 w 6316134"/>
              <a:gd name="connsiteY101" fmla="*/ 1253067 h 5207000"/>
              <a:gd name="connsiteX102" fmla="*/ 3217334 w 6316134"/>
              <a:gd name="connsiteY102" fmla="*/ 1566334 h 5207000"/>
              <a:gd name="connsiteX103" fmla="*/ 3640667 w 6316134"/>
              <a:gd name="connsiteY103" fmla="*/ 2082800 h 5207000"/>
              <a:gd name="connsiteX104" fmla="*/ 3843867 w 6316134"/>
              <a:gd name="connsiteY104" fmla="*/ 2345267 h 5207000"/>
              <a:gd name="connsiteX105" fmla="*/ 4216400 w 6316134"/>
              <a:gd name="connsiteY105" fmla="*/ 3073400 h 5207000"/>
              <a:gd name="connsiteX106" fmla="*/ 4275667 w 6316134"/>
              <a:gd name="connsiteY106" fmla="*/ 3285067 h 5207000"/>
              <a:gd name="connsiteX107" fmla="*/ 4292600 w 6316134"/>
              <a:gd name="connsiteY107" fmla="*/ 3429000 h 5207000"/>
              <a:gd name="connsiteX108" fmla="*/ 4267200 w 6316134"/>
              <a:gd name="connsiteY108" fmla="*/ 3649134 h 5207000"/>
              <a:gd name="connsiteX109" fmla="*/ 4224867 w 6316134"/>
              <a:gd name="connsiteY109" fmla="*/ 3674534 h 5207000"/>
              <a:gd name="connsiteX110" fmla="*/ 4114800 w 6316134"/>
              <a:gd name="connsiteY110" fmla="*/ 3699934 h 5207000"/>
              <a:gd name="connsiteX111" fmla="*/ 3937000 w 6316134"/>
              <a:gd name="connsiteY111" fmla="*/ 3666067 h 5207000"/>
              <a:gd name="connsiteX112" fmla="*/ 3556000 w 6316134"/>
              <a:gd name="connsiteY112" fmla="*/ 3285067 h 5207000"/>
              <a:gd name="connsiteX113" fmla="*/ 3310467 w 6316134"/>
              <a:gd name="connsiteY113" fmla="*/ 3022600 h 5207000"/>
              <a:gd name="connsiteX114" fmla="*/ 2777067 w 6316134"/>
              <a:gd name="connsiteY114" fmla="*/ 2345267 h 5207000"/>
              <a:gd name="connsiteX115" fmla="*/ 2175934 w 6316134"/>
              <a:gd name="connsiteY115" fmla="*/ 1456267 h 5207000"/>
              <a:gd name="connsiteX116" fmla="*/ 2133600 w 6316134"/>
              <a:gd name="connsiteY116" fmla="*/ 1312334 h 5207000"/>
              <a:gd name="connsiteX117" fmla="*/ 2167467 w 6316134"/>
              <a:gd name="connsiteY117" fmla="*/ 1253067 h 5207000"/>
              <a:gd name="connsiteX118" fmla="*/ 2209800 w 6316134"/>
              <a:gd name="connsiteY118" fmla="*/ 1244600 h 5207000"/>
              <a:gd name="connsiteX119" fmla="*/ 2362200 w 6316134"/>
              <a:gd name="connsiteY119" fmla="*/ 1286934 h 5207000"/>
              <a:gd name="connsiteX120" fmla="*/ 3335867 w 6316134"/>
              <a:gd name="connsiteY120" fmla="*/ 2209800 h 5207000"/>
              <a:gd name="connsiteX121" fmla="*/ 3937000 w 6316134"/>
              <a:gd name="connsiteY121" fmla="*/ 2895600 h 5207000"/>
              <a:gd name="connsiteX122" fmla="*/ 4512734 w 6316134"/>
              <a:gd name="connsiteY122" fmla="*/ 3556000 h 5207000"/>
              <a:gd name="connsiteX123" fmla="*/ 4842934 w 6316134"/>
              <a:gd name="connsiteY123" fmla="*/ 4080934 h 5207000"/>
              <a:gd name="connsiteX124" fmla="*/ 4885267 w 6316134"/>
              <a:gd name="connsiteY124" fmla="*/ 4241800 h 5207000"/>
              <a:gd name="connsiteX125" fmla="*/ 4868334 w 6316134"/>
              <a:gd name="connsiteY125" fmla="*/ 4461934 h 5207000"/>
              <a:gd name="connsiteX126" fmla="*/ 4749800 w 6316134"/>
              <a:gd name="connsiteY126" fmla="*/ 4563534 h 5207000"/>
              <a:gd name="connsiteX127" fmla="*/ 4343400 w 6316134"/>
              <a:gd name="connsiteY127" fmla="*/ 4648200 h 5207000"/>
              <a:gd name="connsiteX128" fmla="*/ 4216400 w 6316134"/>
              <a:gd name="connsiteY128" fmla="*/ 4588934 h 5207000"/>
              <a:gd name="connsiteX129" fmla="*/ 4106334 w 6316134"/>
              <a:gd name="connsiteY129" fmla="*/ 4428067 h 5207000"/>
              <a:gd name="connsiteX130" fmla="*/ 4106334 w 6316134"/>
              <a:gd name="connsiteY130" fmla="*/ 3784600 h 5207000"/>
              <a:gd name="connsiteX131" fmla="*/ 4174067 w 6316134"/>
              <a:gd name="connsiteY131" fmla="*/ 3632200 h 5207000"/>
              <a:gd name="connsiteX132" fmla="*/ 4233334 w 6316134"/>
              <a:gd name="connsiteY132" fmla="*/ 3522134 h 5207000"/>
              <a:gd name="connsiteX133" fmla="*/ 4428067 w 6316134"/>
              <a:gd name="connsiteY133" fmla="*/ 3335867 h 5207000"/>
              <a:gd name="connsiteX134" fmla="*/ 4622800 w 6316134"/>
              <a:gd name="connsiteY134" fmla="*/ 3234267 h 5207000"/>
              <a:gd name="connsiteX135" fmla="*/ 4775200 w 6316134"/>
              <a:gd name="connsiteY135" fmla="*/ 3259667 h 5207000"/>
              <a:gd name="connsiteX136" fmla="*/ 4758267 w 6316134"/>
              <a:gd name="connsiteY136" fmla="*/ 3437467 h 5207000"/>
              <a:gd name="connsiteX137" fmla="*/ 4555067 w 6316134"/>
              <a:gd name="connsiteY137" fmla="*/ 3649134 h 5207000"/>
              <a:gd name="connsiteX138" fmla="*/ 4301067 w 6316134"/>
              <a:gd name="connsiteY138" fmla="*/ 3835400 h 5207000"/>
              <a:gd name="connsiteX139" fmla="*/ 3742267 w 6316134"/>
              <a:gd name="connsiteY139" fmla="*/ 4131734 h 5207000"/>
              <a:gd name="connsiteX140" fmla="*/ 3412067 w 6316134"/>
              <a:gd name="connsiteY140" fmla="*/ 4258734 h 5207000"/>
              <a:gd name="connsiteX141" fmla="*/ 2683934 w 6316134"/>
              <a:gd name="connsiteY141" fmla="*/ 4326467 h 5207000"/>
              <a:gd name="connsiteX142" fmla="*/ 2201334 w 6316134"/>
              <a:gd name="connsiteY142" fmla="*/ 4250267 h 5207000"/>
              <a:gd name="connsiteX143" fmla="*/ 2006600 w 6316134"/>
              <a:gd name="connsiteY143" fmla="*/ 4123267 h 5207000"/>
              <a:gd name="connsiteX144" fmla="*/ 1989667 w 6316134"/>
              <a:gd name="connsiteY144" fmla="*/ 4064000 h 5207000"/>
              <a:gd name="connsiteX145" fmla="*/ 2032000 w 6316134"/>
              <a:gd name="connsiteY145" fmla="*/ 3920067 h 5207000"/>
              <a:gd name="connsiteX146" fmla="*/ 2243667 w 6316134"/>
              <a:gd name="connsiteY146" fmla="*/ 3716867 h 5207000"/>
              <a:gd name="connsiteX147" fmla="*/ 2523067 w 6316134"/>
              <a:gd name="connsiteY147" fmla="*/ 3530600 h 5207000"/>
              <a:gd name="connsiteX148" fmla="*/ 3928534 w 6316134"/>
              <a:gd name="connsiteY148" fmla="*/ 2870200 h 5207000"/>
              <a:gd name="connsiteX149" fmla="*/ 4876800 w 6316134"/>
              <a:gd name="connsiteY149" fmla="*/ 2506134 h 5207000"/>
              <a:gd name="connsiteX150" fmla="*/ 5190067 w 6316134"/>
              <a:gd name="connsiteY150" fmla="*/ 2387600 h 5207000"/>
              <a:gd name="connsiteX151" fmla="*/ 5486400 w 6316134"/>
              <a:gd name="connsiteY151" fmla="*/ 2311400 h 5207000"/>
              <a:gd name="connsiteX152" fmla="*/ 3860800 w 6316134"/>
              <a:gd name="connsiteY152" fmla="*/ 2294467 h 5207000"/>
              <a:gd name="connsiteX153" fmla="*/ 3098800 w 6316134"/>
              <a:gd name="connsiteY153" fmla="*/ 2277534 h 5207000"/>
              <a:gd name="connsiteX154" fmla="*/ 2514600 w 6316134"/>
              <a:gd name="connsiteY154" fmla="*/ 2175934 h 5207000"/>
              <a:gd name="connsiteX155" fmla="*/ 2345267 w 6316134"/>
              <a:gd name="connsiteY155" fmla="*/ 2116667 h 5207000"/>
              <a:gd name="connsiteX156" fmla="*/ 2548467 w 6316134"/>
              <a:gd name="connsiteY156" fmla="*/ 1955800 h 5207000"/>
              <a:gd name="connsiteX157" fmla="*/ 2709334 w 6316134"/>
              <a:gd name="connsiteY157" fmla="*/ 1854200 h 5207000"/>
              <a:gd name="connsiteX158" fmla="*/ 3158067 w 6316134"/>
              <a:gd name="connsiteY158" fmla="*/ 1676400 h 5207000"/>
              <a:gd name="connsiteX159" fmla="*/ 3598334 w 6316134"/>
              <a:gd name="connsiteY159" fmla="*/ 1456267 h 5207000"/>
              <a:gd name="connsiteX160" fmla="*/ 3750734 w 6316134"/>
              <a:gd name="connsiteY160" fmla="*/ 1371600 h 5207000"/>
              <a:gd name="connsiteX161" fmla="*/ 3869267 w 6316134"/>
              <a:gd name="connsiteY161" fmla="*/ 1278467 h 5207000"/>
              <a:gd name="connsiteX162" fmla="*/ 3877734 w 6316134"/>
              <a:gd name="connsiteY162" fmla="*/ 1253067 h 5207000"/>
              <a:gd name="connsiteX163" fmla="*/ 3860800 w 6316134"/>
              <a:gd name="connsiteY163" fmla="*/ 1236134 h 5207000"/>
              <a:gd name="connsiteX164" fmla="*/ 3742267 w 6316134"/>
              <a:gd name="connsiteY164" fmla="*/ 1219200 h 5207000"/>
              <a:gd name="connsiteX165" fmla="*/ 3335867 w 6316134"/>
              <a:gd name="connsiteY165" fmla="*/ 1210734 h 5207000"/>
              <a:gd name="connsiteX166" fmla="*/ 2937934 w 6316134"/>
              <a:gd name="connsiteY166" fmla="*/ 1219200 h 5207000"/>
              <a:gd name="connsiteX167" fmla="*/ 2785534 w 6316134"/>
              <a:gd name="connsiteY167" fmla="*/ 1253067 h 5207000"/>
              <a:gd name="connsiteX168" fmla="*/ 2438400 w 6316134"/>
              <a:gd name="connsiteY168" fmla="*/ 1397000 h 5207000"/>
              <a:gd name="connsiteX169" fmla="*/ 2319867 w 6316134"/>
              <a:gd name="connsiteY169" fmla="*/ 1532467 h 5207000"/>
              <a:gd name="connsiteX170" fmla="*/ 2294467 w 6316134"/>
              <a:gd name="connsiteY170" fmla="*/ 1591734 h 5207000"/>
              <a:gd name="connsiteX171" fmla="*/ 2582334 w 6316134"/>
              <a:gd name="connsiteY171" fmla="*/ 1913467 h 5207000"/>
              <a:gd name="connsiteX172" fmla="*/ 3708400 w 6316134"/>
              <a:gd name="connsiteY172" fmla="*/ 2700867 h 5207000"/>
              <a:gd name="connsiteX173" fmla="*/ 4749800 w 6316134"/>
              <a:gd name="connsiteY173" fmla="*/ 3462867 h 5207000"/>
              <a:gd name="connsiteX174" fmla="*/ 5283200 w 6316134"/>
              <a:gd name="connsiteY174" fmla="*/ 3835400 h 5207000"/>
              <a:gd name="connsiteX175" fmla="*/ 5334000 w 6316134"/>
              <a:gd name="connsiteY175" fmla="*/ 3987800 h 5207000"/>
              <a:gd name="connsiteX176" fmla="*/ 5139267 w 6316134"/>
              <a:gd name="connsiteY176" fmla="*/ 4191000 h 5207000"/>
              <a:gd name="connsiteX177" fmla="*/ 4944534 w 6316134"/>
              <a:gd name="connsiteY177" fmla="*/ 4301067 h 5207000"/>
              <a:gd name="connsiteX178" fmla="*/ 4411134 w 6316134"/>
              <a:gd name="connsiteY178" fmla="*/ 4470400 h 5207000"/>
              <a:gd name="connsiteX179" fmla="*/ 4097867 w 6316134"/>
              <a:gd name="connsiteY179" fmla="*/ 4521200 h 5207000"/>
              <a:gd name="connsiteX180" fmla="*/ 3767667 w 6316134"/>
              <a:gd name="connsiteY180" fmla="*/ 4529667 h 5207000"/>
              <a:gd name="connsiteX181" fmla="*/ 2946400 w 6316134"/>
              <a:gd name="connsiteY181" fmla="*/ 4453467 h 5207000"/>
              <a:gd name="connsiteX182" fmla="*/ 2904067 w 6316134"/>
              <a:gd name="connsiteY182" fmla="*/ 4411134 h 5207000"/>
              <a:gd name="connsiteX183" fmla="*/ 2912534 w 6316134"/>
              <a:gd name="connsiteY183" fmla="*/ 3835400 h 5207000"/>
              <a:gd name="connsiteX184" fmla="*/ 3225800 w 6316134"/>
              <a:gd name="connsiteY184" fmla="*/ 3141134 h 5207000"/>
              <a:gd name="connsiteX185" fmla="*/ 3403600 w 6316134"/>
              <a:gd name="connsiteY185" fmla="*/ 2878667 h 5207000"/>
              <a:gd name="connsiteX186" fmla="*/ 3843867 w 6316134"/>
              <a:gd name="connsiteY186" fmla="*/ 2379134 h 5207000"/>
              <a:gd name="connsiteX187" fmla="*/ 4038600 w 6316134"/>
              <a:gd name="connsiteY187" fmla="*/ 2201334 h 5207000"/>
              <a:gd name="connsiteX188" fmla="*/ 4123267 w 6316134"/>
              <a:gd name="connsiteY188" fmla="*/ 2108200 h 5207000"/>
              <a:gd name="connsiteX189" fmla="*/ 4055534 w 6316134"/>
              <a:gd name="connsiteY189" fmla="*/ 2159000 h 5207000"/>
              <a:gd name="connsiteX190" fmla="*/ 3920067 w 6316134"/>
              <a:gd name="connsiteY190" fmla="*/ 2243667 h 5207000"/>
              <a:gd name="connsiteX191" fmla="*/ 3479800 w 6316134"/>
              <a:gd name="connsiteY191" fmla="*/ 2463800 h 5207000"/>
              <a:gd name="connsiteX192" fmla="*/ 3022600 w 6316134"/>
              <a:gd name="connsiteY192" fmla="*/ 2667000 h 5207000"/>
              <a:gd name="connsiteX193" fmla="*/ 2565400 w 6316134"/>
              <a:gd name="connsiteY193" fmla="*/ 2777067 h 5207000"/>
              <a:gd name="connsiteX194" fmla="*/ 2209800 w 6316134"/>
              <a:gd name="connsiteY194" fmla="*/ 2802467 h 5207000"/>
              <a:gd name="connsiteX195" fmla="*/ 2116667 w 6316134"/>
              <a:gd name="connsiteY195" fmla="*/ 2810934 h 5207000"/>
              <a:gd name="connsiteX196" fmla="*/ 2150534 w 6316134"/>
              <a:gd name="connsiteY196" fmla="*/ 2709334 h 5207000"/>
              <a:gd name="connsiteX197" fmla="*/ 2480734 w 6316134"/>
              <a:gd name="connsiteY197" fmla="*/ 2429934 h 5207000"/>
              <a:gd name="connsiteX198" fmla="*/ 3200400 w 6316134"/>
              <a:gd name="connsiteY198" fmla="*/ 1913467 h 5207000"/>
              <a:gd name="connsiteX199" fmla="*/ 3759200 w 6316134"/>
              <a:gd name="connsiteY199" fmla="*/ 1447800 h 5207000"/>
              <a:gd name="connsiteX200" fmla="*/ 3869267 w 6316134"/>
              <a:gd name="connsiteY200" fmla="*/ 1295400 h 5207000"/>
              <a:gd name="connsiteX201" fmla="*/ 3793067 w 6316134"/>
              <a:gd name="connsiteY201" fmla="*/ 1236134 h 5207000"/>
              <a:gd name="connsiteX202" fmla="*/ 3183467 w 6316134"/>
              <a:gd name="connsiteY202" fmla="*/ 1278467 h 5207000"/>
              <a:gd name="connsiteX203" fmla="*/ 2641600 w 6316134"/>
              <a:gd name="connsiteY203" fmla="*/ 1405467 h 5207000"/>
              <a:gd name="connsiteX204" fmla="*/ 1854200 w 6316134"/>
              <a:gd name="connsiteY204" fmla="*/ 1735667 h 5207000"/>
              <a:gd name="connsiteX205" fmla="*/ 1676400 w 6316134"/>
              <a:gd name="connsiteY205" fmla="*/ 1837267 h 5207000"/>
              <a:gd name="connsiteX206" fmla="*/ 1583267 w 6316134"/>
              <a:gd name="connsiteY206" fmla="*/ 1947334 h 5207000"/>
              <a:gd name="connsiteX207" fmla="*/ 1540934 w 6316134"/>
              <a:gd name="connsiteY207" fmla="*/ 2006600 h 5207000"/>
              <a:gd name="connsiteX208" fmla="*/ 1549400 w 6316134"/>
              <a:gd name="connsiteY208" fmla="*/ 2099734 h 5207000"/>
              <a:gd name="connsiteX209" fmla="*/ 1617134 w 6316134"/>
              <a:gd name="connsiteY209" fmla="*/ 2159000 h 5207000"/>
              <a:gd name="connsiteX210" fmla="*/ 1828800 w 6316134"/>
              <a:gd name="connsiteY210" fmla="*/ 2311400 h 5207000"/>
              <a:gd name="connsiteX211" fmla="*/ 2387600 w 6316134"/>
              <a:gd name="connsiteY211" fmla="*/ 2556934 h 5207000"/>
              <a:gd name="connsiteX212" fmla="*/ 2692400 w 6316134"/>
              <a:gd name="connsiteY212" fmla="*/ 2700867 h 5207000"/>
              <a:gd name="connsiteX213" fmla="*/ 3310467 w 6316134"/>
              <a:gd name="connsiteY213" fmla="*/ 2963334 h 5207000"/>
              <a:gd name="connsiteX214" fmla="*/ 3826934 w 6316134"/>
              <a:gd name="connsiteY214" fmla="*/ 3242734 h 5207000"/>
              <a:gd name="connsiteX215" fmla="*/ 4241800 w 6316134"/>
              <a:gd name="connsiteY215" fmla="*/ 3547534 h 5207000"/>
              <a:gd name="connsiteX216" fmla="*/ 4326467 w 6316134"/>
              <a:gd name="connsiteY216" fmla="*/ 3683000 h 5207000"/>
              <a:gd name="connsiteX217" fmla="*/ 4343400 w 6316134"/>
              <a:gd name="connsiteY217" fmla="*/ 3784600 h 5207000"/>
              <a:gd name="connsiteX218" fmla="*/ 4250267 w 6316134"/>
              <a:gd name="connsiteY218" fmla="*/ 4114800 h 5207000"/>
              <a:gd name="connsiteX219" fmla="*/ 4148667 w 6316134"/>
              <a:gd name="connsiteY219" fmla="*/ 4267200 h 5207000"/>
              <a:gd name="connsiteX220" fmla="*/ 3674534 w 6316134"/>
              <a:gd name="connsiteY220" fmla="*/ 4749800 h 5207000"/>
              <a:gd name="connsiteX221" fmla="*/ 3344334 w 6316134"/>
              <a:gd name="connsiteY221" fmla="*/ 5020734 h 5207000"/>
              <a:gd name="connsiteX222" fmla="*/ 3208867 w 6316134"/>
              <a:gd name="connsiteY222" fmla="*/ 5147734 h 5207000"/>
              <a:gd name="connsiteX223" fmla="*/ 3191934 w 6316134"/>
              <a:gd name="connsiteY223" fmla="*/ 5181600 h 5207000"/>
              <a:gd name="connsiteX224" fmla="*/ 3276600 w 6316134"/>
              <a:gd name="connsiteY224" fmla="*/ 5156200 h 5207000"/>
              <a:gd name="connsiteX225" fmla="*/ 3386667 w 6316134"/>
              <a:gd name="connsiteY225" fmla="*/ 4995334 h 5207000"/>
              <a:gd name="connsiteX226" fmla="*/ 3361267 w 6316134"/>
              <a:gd name="connsiteY226" fmla="*/ 4732867 h 5207000"/>
              <a:gd name="connsiteX227" fmla="*/ 3225800 w 6316134"/>
              <a:gd name="connsiteY227" fmla="*/ 4453467 h 5207000"/>
              <a:gd name="connsiteX228" fmla="*/ 2599267 w 6316134"/>
              <a:gd name="connsiteY228" fmla="*/ 3683000 h 5207000"/>
              <a:gd name="connsiteX229" fmla="*/ 2167467 w 6316134"/>
              <a:gd name="connsiteY229" fmla="*/ 3234267 h 5207000"/>
              <a:gd name="connsiteX230" fmla="*/ 1989667 w 6316134"/>
              <a:gd name="connsiteY230" fmla="*/ 3098800 h 5207000"/>
              <a:gd name="connsiteX231" fmla="*/ 1998134 w 6316134"/>
              <a:gd name="connsiteY231" fmla="*/ 3073400 h 5207000"/>
              <a:gd name="connsiteX232" fmla="*/ 2184400 w 6316134"/>
              <a:gd name="connsiteY232" fmla="*/ 2988734 h 5207000"/>
              <a:gd name="connsiteX233" fmla="*/ 2717800 w 6316134"/>
              <a:gd name="connsiteY233" fmla="*/ 2887134 h 5207000"/>
              <a:gd name="connsiteX234" fmla="*/ 4580467 w 6316134"/>
              <a:gd name="connsiteY234" fmla="*/ 2895600 h 5207000"/>
              <a:gd name="connsiteX235" fmla="*/ 4834467 w 6316134"/>
              <a:gd name="connsiteY235" fmla="*/ 2912534 h 5207000"/>
              <a:gd name="connsiteX236" fmla="*/ 4741334 w 6316134"/>
              <a:gd name="connsiteY236" fmla="*/ 2954867 h 5207000"/>
              <a:gd name="connsiteX237" fmla="*/ 4267200 w 6316134"/>
              <a:gd name="connsiteY237" fmla="*/ 3031067 h 5207000"/>
              <a:gd name="connsiteX238" fmla="*/ 2175934 w 6316134"/>
              <a:gd name="connsiteY238" fmla="*/ 3022600 h 5207000"/>
              <a:gd name="connsiteX239" fmla="*/ 1608667 w 6316134"/>
              <a:gd name="connsiteY239" fmla="*/ 3005667 h 5207000"/>
              <a:gd name="connsiteX240" fmla="*/ 1024467 w 6316134"/>
              <a:gd name="connsiteY240" fmla="*/ 2946400 h 5207000"/>
              <a:gd name="connsiteX241" fmla="*/ 558800 w 6316134"/>
              <a:gd name="connsiteY241" fmla="*/ 2921000 h 5207000"/>
              <a:gd name="connsiteX242" fmla="*/ 42334 w 6316134"/>
              <a:gd name="connsiteY242" fmla="*/ 2810934 h 5207000"/>
              <a:gd name="connsiteX243" fmla="*/ 0 w 6316134"/>
              <a:gd name="connsiteY243" fmla="*/ 2785534 h 5207000"/>
              <a:gd name="connsiteX244" fmla="*/ 270934 w 6316134"/>
              <a:gd name="connsiteY244" fmla="*/ 2633134 h 5207000"/>
              <a:gd name="connsiteX245" fmla="*/ 575734 w 6316134"/>
              <a:gd name="connsiteY245" fmla="*/ 2531534 h 5207000"/>
              <a:gd name="connsiteX246" fmla="*/ 2159000 w 6316134"/>
              <a:gd name="connsiteY246" fmla="*/ 2362200 h 5207000"/>
              <a:gd name="connsiteX247" fmla="*/ 2760134 w 6316134"/>
              <a:gd name="connsiteY247" fmla="*/ 2302934 h 5207000"/>
              <a:gd name="connsiteX248" fmla="*/ 3843867 w 6316134"/>
              <a:gd name="connsiteY248" fmla="*/ 2150534 h 5207000"/>
              <a:gd name="connsiteX249" fmla="*/ 4292600 w 6316134"/>
              <a:gd name="connsiteY249" fmla="*/ 2032000 h 5207000"/>
              <a:gd name="connsiteX250" fmla="*/ 4792134 w 6316134"/>
              <a:gd name="connsiteY250" fmla="*/ 1896534 h 5207000"/>
              <a:gd name="connsiteX251" fmla="*/ 4546600 w 6316134"/>
              <a:gd name="connsiteY251" fmla="*/ 2006600 h 5207000"/>
              <a:gd name="connsiteX252" fmla="*/ 4309534 w 6316134"/>
              <a:gd name="connsiteY252" fmla="*/ 2108200 h 5207000"/>
              <a:gd name="connsiteX253" fmla="*/ 3979334 w 6316134"/>
              <a:gd name="connsiteY253" fmla="*/ 2226734 h 5207000"/>
              <a:gd name="connsiteX254" fmla="*/ 3276600 w 6316134"/>
              <a:gd name="connsiteY254" fmla="*/ 2514600 h 5207000"/>
              <a:gd name="connsiteX255" fmla="*/ 2277534 w 6316134"/>
              <a:gd name="connsiteY255" fmla="*/ 2785534 h 5207000"/>
              <a:gd name="connsiteX256" fmla="*/ 2006600 w 6316134"/>
              <a:gd name="connsiteY256" fmla="*/ 2760134 h 5207000"/>
              <a:gd name="connsiteX257" fmla="*/ 2099734 w 6316134"/>
              <a:gd name="connsiteY257" fmla="*/ 2480734 h 5207000"/>
              <a:gd name="connsiteX258" fmla="*/ 2362200 w 6316134"/>
              <a:gd name="connsiteY258" fmla="*/ 1998134 h 5207000"/>
              <a:gd name="connsiteX259" fmla="*/ 2540000 w 6316134"/>
              <a:gd name="connsiteY259" fmla="*/ 1735667 h 5207000"/>
              <a:gd name="connsiteX260" fmla="*/ 2937934 w 6316134"/>
              <a:gd name="connsiteY260" fmla="*/ 1227667 h 5207000"/>
              <a:gd name="connsiteX261" fmla="*/ 3064934 w 6316134"/>
              <a:gd name="connsiteY261" fmla="*/ 982134 h 5207000"/>
              <a:gd name="connsiteX262" fmla="*/ 3208867 w 6316134"/>
              <a:gd name="connsiteY262" fmla="*/ 736600 h 5207000"/>
              <a:gd name="connsiteX263" fmla="*/ 3208867 w 6316134"/>
              <a:gd name="connsiteY263" fmla="*/ 575734 h 5207000"/>
              <a:gd name="connsiteX264" fmla="*/ 3132667 w 6316134"/>
              <a:gd name="connsiteY264" fmla="*/ 550334 h 5207000"/>
              <a:gd name="connsiteX265" fmla="*/ 2870200 w 6316134"/>
              <a:gd name="connsiteY265" fmla="*/ 575734 h 5207000"/>
              <a:gd name="connsiteX266" fmla="*/ 2751667 w 6316134"/>
              <a:gd name="connsiteY266" fmla="*/ 643467 h 5207000"/>
              <a:gd name="connsiteX267" fmla="*/ 2345267 w 6316134"/>
              <a:gd name="connsiteY267" fmla="*/ 872067 h 5207000"/>
              <a:gd name="connsiteX268" fmla="*/ 2167467 w 6316134"/>
              <a:gd name="connsiteY268" fmla="*/ 1041400 h 5207000"/>
              <a:gd name="connsiteX269" fmla="*/ 1896534 w 6316134"/>
              <a:gd name="connsiteY269" fmla="*/ 1498600 h 5207000"/>
              <a:gd name="connsiteX270" fmla="*/ 1820334 w 6316134"/>
              <a:gd name="connsiteY270" fmla="*/ 1710267 h 5207000"/>
              <a:gd name="connsiteX271" fmla="*/ 1938867 w 6316134"/>
              <a:gd name="connsiteY271" fmla="*/ 2396067 h 5207000"/>
              <a:gd name="connsiteX272" fmla="*/ 2099734 w 6316134"/>
              <a:gd name="connsiteY272" fmla="*/ 2650067 h 5207000"/>
              <a:gd name="connsiteX273" fmla="*/ 2709334 w 6316134"/>
              <a:gd name="connsiteY273" fmla="*/ 3268134 h 5207000"/>
              <a:gd name="connsiteX274" fmla="*/ 3022600 w 6316134"/>
              <a:gd name="connsiteY274" fmla="*/ 3564467 h 5207000"/>
              <a:gd name="connsiteX275" fmla="*/ 4199467 w 6316134"/>
              <a:gd name="connsiteY275" fmla="*/ 4419600 h 5207000"/>
              <a:gd name="connsiteX276" fmla="*/ 5105400 w 6316134"/>
              <a:gd name="connsiteY276" fmla="*/ 4868334 h 5207000"/>
              <a:gd name="connsiteX277" fmla="*/ 5283200 w 6316134"/>
              <a:gd name="connsiteY277" fmla="*/ 4944534 h 5207000"/>
              <a:gd name="connsiteX278" fmla="*/ 4969934 w 6316134"/>
              <a:gd name="connsiteY278" fmla="*/ 4910667 h 5207000"/>
              <a:gd name="connsiteX279" fmla="*/ 3937000 w 6316134"/>
              <a:gd name="connsiteY279" fmla="*/ 4478867 h 5207000"/>
              <a:gd name="connsiteX280" fmla="*/ 2311400 w 6316134"/>
              <a:gd name="connsiteY280" fmla="*/ 3852334 h 5207000"/>
              <a:gd name="connsiteX281" fmla="*/ 1422400 w 6316134"/>
              <a:gd name="connsiteY281" fmla="*/ 3606800 h 5207000"/>
              <a:gd name="connsiteX282" fmla="*/ 838200 w 6316134"/>
              <a:gd name="connsiteY282" fmla="*/ 3479800 h 5207000"/>
              <a:gd name="connsiteX283" fmla="*/ 905934 w 6316134"/>
              <a:gd name="connsiteY283" fmla="*/ 3420534 h 5207000"/>
              <a:gd name="connsiteX284" fmla="*/ 1312334 w 6316134"/>
              <a:gd name="connsiteY284" fmla="*/ 3293534 h 5207000"/>
              <a:gd name="connsiteX285" fmla="*/ 2125134 w 6316134"/>
              <a:gd name="connsiteY285" fmla="*/ 3132667 h 5207000"/>
              <a:gd name="connsiteX286" fmla="*/ 2548467 w 6316134"/>
              <a:gd name="connsiteY286" fmla="*/ 3081867 h 5207000"/>
              <a:gd name="connsiteX287" fmla="*/ 3344334 w 6316134"/>
              <a:gd name="connsiteY287" fmla="*/ 3022600 h 5207000"/>
              <a:gd name="connsiteX288" fmla="*/ 3581400 w 6316134"/>
              <a:gd name="connsiteY288" fmla="*/ 2997200 h 5207000"/>
              <a:gd name="connsiteX289" fmla="*/ 3733800 w 6316134"/>
              <a:gd name="connsiteY289" fmla="*/ 2971800 h 5207000"/>
              <a:gd name="connsiteX290" fmla="*/ 3767667 w 6316134"/>
              <a:gd name="connsiteY290" fmla="*/ 2963334 h 5207000"/>
              <a:gd name="connsiteX291" fmla="*/ 3708400 w 6316134"/>
              <a:gd name="connsiteY291" fmla="*/ 2971800 h 5207000"/>
              <a:gd name="connsiteX292" fmla="*/ 3285067 w 6316134"/>
              <a:gd name="connsiteY292" fmla="*/ 3048000 h 5207000"/>
              <a:gd name="connsiteX293" fmla="*/ 2929467 w 6316134"/>
              <a:gd name="connsiteY293" fmla="*/ 3081867 h 5207000"/>
              <a:gd name="connsiteX294" fmla="*/ 1778000 w 6316134"/>
              <a:gd name="connsiteY294" fmla="*/ 3124200 h 5207000"/>
              <a:gd name="connsiteX295" fmla="*/ 1507067 w 6316134"/>
              <a:gd name="connsiteY295" fmla="*/ 3081867 h 5207000"/>
              <a:gd name="connsiteX296" fmla="*/ 1727200 w 6316134"/>
              <a:gd name="connsiteY296" fmla="*/ 3005667 h 5207000"/>
              <a:gd name="connsiteX297" fmla="*/ 2116667 w 6316134"/>
              <a:gd name="connsiteY297" fmla="*/ 2912534 h 5207000"/>
              <a:gd name="connsiteX298" fmla="*/ 3115734 w 6316134"/>
              <a:gd name="connsiteY298" fmla="*/ 2844800 h 5207000"/>
              <a:gd name="connsiteX299" fmla="*/ 3759200 w 6316134"/>
              <a:gd name="connsiteY299" fmla="*/ 2827867 h 5207000"/>
              <a:gd name="connsiteX300" fmla="*/ 5232400 w 6316134"/>
              <a:gd name="connsiteY300" fmla="*/ 2844800 h 5207000"/>
              <a:gd name="connsiteX301" fmla="*/ 5283200 w 6316134"/>
              <a:gd name="connsiteY301" fmla="*/ 2878667 h 5207000"/>
              <a:gd name="connsiteX302" fmla="*/ 5207000 w 6316134"/>
              <a:gd name="connsiteY302" fmla="*/ 3005667 h 5207000"/>
              <a:gd name="connsiteX303" fmla="*/ 4758267 w 6316134"/>
              <a:gd name="connsiteY303" fmla="*/ 3259667 h 5207000"/>
              <a:gd name="connsiteX304" fmla="*/ 3403600 w 6316134"/>
              <a:gd name="connsiteY304" fmla="*/ 3953934 h 5207000"/>
              <a:gd name="connsiteX305" fmla="*/ 2413000 w 6316134"/>
              <a:gd name="connsiteY305" fmla="*/ 4301067 h 5207000"/>
              <a:gd name="connsiteX306" fmla="*/ 1845734 w 6316134"/>
              <a:gd name="connsiteY306" fmla="*/ 4538134 h 5207000"/>
              <a:gd name="connsiteX307" fmla="*/ 1752600 w 6316134"/>
              <a:gd name="connsiteY307" fmla="*/ 4588934 h 5207000"/>
              <a:gd name="connsiteX308" fmla="*/ 1701800 w 6316134"/>
              <a:gd name="connsiteY308" fmla="*/ 4605867 h 5207000"/>
              <a:gd name="connsiteX309" fmla="*/ 1744134 w 6316134"/>
              <a:gd name="connsiteY309" fmla="*/ 4580467 h 5207000"/>
              <a:gd name="connsiteX310" fmla="*/ 1879600 w 6316134"/>
              <a:gd name="connsiteY310" fmla="*/ 4453467 h 5207000"/>
              <a:gd name="connsiteX311" fmla="*/ 2108200 w 6316134"/>
              <a:gd name="connsiteY311" fmla="*/ 4284134 h 5207000"/>
              <a:gd name="connsiteX312" fmla="*/ 2692400 w 6316134"/>
              <a:gd name="connsiteY312" fmla="*/ 3699934 h 5207000"/>
              <a:gd name="connsiteX313" fmla="*/ 4165600 w 6316134"/>
              <a:gd name="connsiteY313" fmla="*/ 2497667 h 5207000"/>
              <a:gd name="connsiteX314" fmla="*/ 4741334 w 6316134"/>
              <a:gd name="connsiteY314" fmla="*/ 2074334 h 5207000"/>
              <a:gd name="connsiteX315" fmla="*/ 4953000 w 6316134"/>
              <a:gd name="connsiteY315" fmla="*/ 1989667 h 5207000"/>
              <a:gd name="connsiteX316" fmla="*/ 4919134 w 6316134"/>
              <a:gd name="connsiteY316" fmla="*/ 2235200 h 5207000"/>
              <a:gd name="connsiteX317" fmla="*/ 4707467 w 6316134"/>
              <a:gd name="connsiteY317" fmla="*/ 2794000 h 5207000"/>
              <a:gd name="connsiteX318" fmla="*/ 4343400 w 6316134"/>
              <a:gd name="connsiteY318" fmla="*/ 3429000 h 5207000"/>
              <a:gd name="connsiteX319" fmla="*/ 3572934 w 6316134"/>
              <a:gd name="connsiteY319" fmla="*/ 4343400 h 5207000"/>
              <a:gd name="connsiteX320" fmla="*/ 3285067 w 6316134"/>
              <a:gd name="connsiteY320" fmla="*/ 4580467 h 5207000"/>
              <a:gd name="connsiteX321" fmla="*/ 3098800 w 6316134"/>
              <a:gd name="connsiteY321" fmla="*/ 4749800 h 5207000"/>
              <a:gd name="connsiteX322" fmla="*/ 2802467 w 6316134"/>
              <a:gd name="connsiteY322" fmla="*/ 4876800 h 5207000"/>
              <a:gd name="connsiteX323" fmla="*/ 2599267 w 6316134"/>
              <a:gd name="connsiteY323" fmla="*/ 4834467 h 5207000"/>
              <a:gd name="connsiteX324" fmla="*/ 2379134 w 6316134"/>
              <a:gd name="connsiteY324" fmla="*/ 4605867 h 5207000"/>
              <a:gd name="connsiteX325" fmla="*/ 2065867 w 6316134"/>
              <a:gd name="connsiteY325" fmla="*/ 4106334 h 5207000"/>
              <a:gd name="connsiteX326" fmla="*/ 1947334 w 6316134"/>
              <a:gd name="connsiteY326" fmla="*/ 3776134 h 5207000"/>
              <a:gd name="connsiteX327" fmla="*/ 1854200 w 6316134"/>
              <a:gd name="connsiteY327" fmla="*/ 3132667 h 5207000"/>
              <a:gd name="connsiteX328" fmla="*/ 1845734 w 6316134"/>
              <a:gd name="connsiteY328" fmla="*/ 2387600 h 5207000"/>
              <a:gd name="connsiteX329" fmla="*/ 1854200 w 6316134"/>
              <a:gd name="connsiteY329" fmla="*/ 2243667 h 5207000"/>
              <a:gd name="connsiteX330" fmla="*/ 1921934 w 6316134"/>
              <a:gd name="connsiteY330" fmla="*/ 2142067 h 5207000"/>
              <a:gd name="connsiteX331" fmla="*/ 1947334 w 6316134"/>
              <a:gd name="connsiteY331" fmla="*/ 2133600 h 5207000"/>
              <a:gd name="connsiteX332" fmla="*/ 2006600 w 6316134"/>
              <a:gd name="connsiteY332" fmla="*/ 2150534 h 5207000"/>
              <a:gd name="connsiteX333" fmla="*/ 2074334 w 6316134"/>
              <a:gd name="connsiteY333" fmla="*/ 2218267 h 5207000"/>
              <a:gd name="connsiteX334" fmla="*/ 2328334 w 6316134"/>
              <a:gd name="connsiteY334" fmla="*/ 2489200 h 5207000"/>
              <a:gd name="connsiteX335" fmla="*/ 2599267 w 6316134"/>
              <a:gd name="connsiteY335" fmla="*/ 2760134 h 5207000"/>
              <a:gd name="connsiteX336" fmla="*/ 3208867 w 6316134"/>
              <a:gd name="connsiteY336" fmla="*/ 3505200 h 5207000"/>
              <a:gd name="connsiteX337" fmla="*/ 4224867 w 6316134"/>
              <a:gd name="connsiteY337" fmla="*/ 4775200 h 5207000"/>
              <a:gd name="connsiteX338" fmla="*/ 4360334 w 6316134"/>
              <a:gd name="connsiteY338" fmla="*/ 4919134 h 5207000"/>
              <a:gd name="connsiteX339" fmla="*/ 4292600 w 6316134"/>
              <a:gd name="connsiteY339" fmla="*/ 4936067 h 5207000"/>
              <a:gd name="connsiteX340" fmla="*/ 4047067 w 6316134"/>
              <a:gd name="connsiteY340" fmla="*/ 4859867 h 5207000"/>
              <a:gd name="connsiteX341" fmla="*/ 3852334 w 6316134"/>
              <a:gd name="connsiteY341" fmla="*/ 4749800 h 5207000"/>
              <a:gd name="connsiteX342" fmla="*/ 3369734 w 6316134"/>
              <a:gd name="connsiteY342" fmla="*/ 4343400 h 5207000"/>
              <a:gd name="connsiteX343" fmla="*/ 2980267 w 6316134"/>
              <a:gd name="connsiteY343" fmla="*/ 3835400 h 5207000"/>
              <a:gd name="connsiteX344" fmla="*/ 2895600 w 6316134"/>
              <a:gd name="connsiteY344" fmla="*/ 3369734 h 5207000"/>
              <a:gd name="connsiteX345" fmla="*/ 2963334 w 6316134"/>
              <a:gd name="connsiteY345" fmla="*/ 2988734 h 5207000"/>
              <a:gd name="connsiteX346" fmla="*/ 3276600 w 6316134"/>
              <a:gd name="connsiteY346" fmla="*/ 2641600 h 5207000"/>
              <a:gd name="connsiteX347" fmla="*/ 3742267 w 6316134"/>
              <a:gd name="connsiteY347" fmla="*/ 2370667 h 5207000"/>
              <a:gd name="connsiteX348" fmla="*/ 4529667 w 6316134"/>
              <a:gd name="connsiteY348" fmla="*/ 2226734 h 5207000"/>
              <a:gd name="connsiteX349" fmla="*/ 4944534 w 6316134"/>
              <a:gd name="connsiteY349" fmla="*/ 2209800 h 5207000"/>
              <a:gd name="connsiteX350" fmla="*/ 5325534 w 6316134"/>
              <a:gd name="connsiteY350" fmla="*/ 2235200 h 5207000"/>
              <a:gd name="connsiteX351" fmla="*/ 5698067 w 6316134"/>
              <a:gd name="connsiteY351" fmla="*/ 2421467 h 5207000"/>
              <a:gd name="connsiteX352" fmla="*/ 5842000 w 6316134"/>
              <a:gd name="connsiteY352" fmla="*/ 2726267 h 5207000"/>
              <a:gd name="connsiteX353" fmla="*/ 5799667 w 6316134"/>
              <a:gd name="connsiteY353" fmla="*/ 2997200 h 5207000"/>
              <a:gd name="connsiteX354" fmla="*/ 5689600 w 6316134"/>
              <a:gd name="connsiteY354" fmla="*/ 3141134 h 5207000"/>
              <a:gd name="connsiteX355" fmla="*/ 5054600 w 6316134"/>
              <a:gd name="connsiteY355" fmla="*/ 3589867 h 5207000"/>
              <a:gd name="connsiteX356" fmla="*/ 4470400 w 6316134"/>
              <a:gd name="connsiteY356" fmla="*/ 3708400 h 5207000"/>
              <a:gd name="connsiteX357" fmla="*/ 4089400 w 6316134"/>
              <a:gd name="connsiteY357" fmla="*/ 3649134 h 5207000"/>
              <a:gd name="connsiteX358" fmla="*/ 3310467 w 6316134"/>
              <a:gd name="connsiteY358" fmla="*/ 3285067 h 5207000"/>
              <a:gd name="connsiteX359" fmla="*/ 2277534 w 6316134"/>
              <a:gd name="connsiteY359" fmla="*/ 2362200 h 5207000"/>
              <a:gd name="connsiteX360" fmla="*/ 1811867 w 6316134"/>
              <a:gd name="connsiteY360" fmla="*/ 1786467 h 5207000"/>
              <a:gd name="connsiteX361" fmla="*/ 1761067 w 6316134"/>
              <a:gd name="connsiteY361" fmla="*/ 1532467 h 5207000"/>
              <a:gd name="connsiteX362" fmla="*/ 1854200 w 6316134"/>
              <a:gd name="connsiteY362" fmla="*/ 1236134 h 5207000"/>
              <a:gd name="connsiteX363" fmla="*/ 1947334 w 6316134"/>
              <a:gd name="connsiteY363" fmla="*/ 1151467 h 5207000"/>
              <a:gd name="connsiteX364" fmla="*/ 2311400 w 6316134"/>
              <a:gd name="connsiteY364" fmla="*/ 1066800 h 5207000"/>
              <a:gd name="connsiteX365" fmla="*/ 2802467 w 6316134"/>
              <a:gd name="connsiteY365" fmla="*/ 1075267 h 5207000"/>
              <a:gd name="connsiteX366" fmla="*/ 3056467 w 6316134"/>
              <a:gd name="connsiteY366" fmla="*/ 1143000 h 5207000"/>
              <a:gd name="connsiteX367" fmla="*/ 3784600 w 6316134"/>
              <a:gd name="connsiteY367" fmla="*/ 1625600 h 5207000"/>
              <a:gd name="connsiteX368" fmla="*/ 4030134 w 6316134"/>
              <a:gd name="connsiteY368" fmla="*/ 2091267 h 5207000"/>
              <a:gd name="connsiteX369" fmla="*/ 3818467 w 6316134"/>
              <a:gd name="connsiteY369" fmla="*/ 3022600 h 5207000"/>
              <a:gd name="connsiteX370" fmla="*/ 3581400 w 6316134"/>
              <a:gd name="connsiteY370" fmla="*/ 3268134 h 5207000"/>
              <a:gd name="connsiteX371" fmla="*/ 3014134 w 6316134"/>
              <a:gd name="connsiteY371" fmla="*/ 3725334 h 5207000"/>
              <a:gd name="connsiteX372" fmla="*/ 2683934 w 6316134"/>
              <a:gd name="connsiteY372" fmla="*/ 3877734 h 5207000"/>
              <a:gd name="connsiteX373" fmla="*/ 1938867 w 6316134"/>
              <a:gd name="connsiteY373" fmla="*/ 4021667 h 5207000"/>
              <a:gd name="connsiteX374" fmla="*/ 1363134 w 6316134"/>
              <a:gd name="connsiteY374" fmla="*/ 3962400 h 5207000"/>
              <a:gd name="connsiteX375" fmla="*/ 1312334 w 6316134"/>
              <a:gd name="connsiteY375" fmla="*/ 3886200 h 5207000"/>
              <a:gd name="connsiteX376" fmla="*/ 1405467 w 6316134"/>
              <a:gd name="connsiteY376" fmla="*/ 3556000 h 5207000"/>
              <a:gd name="connsiteX377" fmla="*/ 2057400 w 6316134"/>
              <a:gd name="connsiteY377" fmla="*/ 2810934 h 5207000"/>
              <a:gd name="connsiteX378" fmla="*/ 2921000 w 6316134"/>
              <a:gd name="connsiteY378" fmla="*/ 2294467 h 5207000"/>
              <a:gd name="connsiteX379" fmla="*/ 3471334 w 6316134"/>
              <a:gd name="connsiteY379" fmla="*/ 2116667 h 5207000"/>
              <a:gd name="connsiteX380" fmla="*/ 4301067 w 6316134"/>
              <a:gd name="connsiteY380" fmla="*/ 1998134 h 5207000"/>
              <a:gd name="connsiteX381" fmla="*/ 4699000 w 6316134"/>
              <a:gd name="connsiteY381" fmla="*/ 2099734 h 5207000"/>
              <a:gd name="connsiteX382" fmla="*/ 4792134 w 6316134"/>
              <a:gd name="connsiteY382" fmla="*/ 2201334 h 5207000"/>
              <a:gd name="connsiteX383" fmla="*/ 4868334 w 6316134"/>
              <a:gd name="connsiteY383" fmla="*/ 2396067 h 5207000"/>
              <a:gd name="connsiteX384" fmla="*/ 4707467 w 6316134"/>
              <a:gd name="connsiteY384" fmla="*/ 3268134 h 5207000"/>
              <a:gd name="connsiteX385" fmla="*/ 4165600 w 6316134"/>
              <a:gd name="connsiteY385" fmla="*/ 3852334 h 5207000"/>
              <a:gd name="connsiteX386" fmla="*/ 3522134 w 6316134"/>
              <a:gd name="connsiteY386" fmla="*/ 4445000 h 5207000"/>
              <a:gd name="connsiteX387" fmla="*/ 2641600 w 6316134"/>
              <a:gd name="connsiteY387" fmla="*/ 4978400 h 5207000"/>
              <a:gd name="connsiteX388" fmla="*/ 1794934 w 6316134"/>
              <a:gd name="connsiteY388" fmla="*/ 5207000 h 5207000"/>
              <a:gd name="connsiteX389" fmla="*/ 1820334 w 6316134"/>
              <a:gd name="connsiteY389" fmla="*/ 5105400 h 5207000"/>
              <a:gd name="connsiteX390" fmla="*/ 2497667 w 6316134"/>
              <a:gd name="connsiteY390" fmla="*/ 4546600 h 5207000"/>
              <a:gd name="connsiteX391" fmla="*/ 2785534 w 6316134"/>
              <a:gd name="connsiteY391" fmla="*/ 4292600 h 5207000"/>
              <a:gd name="connsiteX392" fmla="*/ 3454400 w 6316134"/>
              <a:gd name="connsiteY392" fmla="*/ 3801534 h 5207000"/>
              <a:gd name="connsiteX393" fmla="*/ 4191000 w 6316134"/>
              <a:gd name="connsiteY393" fmla="*/ 3166534 h 5207000"/>
              <a:gd name="connsiteX394" fmla="*/ 4250267 w 6316134"/>
              <a:gd name="connsiteY394" fmla="*/ 3081867 h 5207000"/>
              <a:gd name="connsiteX395" fmla="*/ 4191000 w 6316134"/>
              <a:gd name="connsiteY395" fmla="*/ 3064934 h 5207000"/>
              <a:gd name="connsiteX396" fmla="*/ 3970867 w 6316134"/>
              <a:gd name="connsiteY396" fmla="*/ 3081867 h 5207000"/>
              <a:gd name="connsiteX397" fmla="*/ 2726267 w 6316134"/>
              <a:gd name="connsiteY397" fmla="*/ 3022600 h 5207000"/>
              <a:gd name="connsiteX398" fmla="*/ 2616200 w 6316134"/>
              <a:gd name="connsiteY398" fmla="*/ 2988734 h 5207000"/>
              <a:gd name="connsiteX399" fmla="*/ 2489200 w 6316134"/>
              <a:gd name="connsiteY399" fmla="*/ 2921000 h 5207000"/>
              <a:gd name="connsiteX400" fmla="*/ 2463800 w 6316134"/>
              <a:gd name="connsiteY400" fmla="*/ 2895600 h 5207000"/>
              <a:gd name="connsiteX401" fmla="*/ 2556934 w 6316134"/>
              <a:gd name="connsiteY401" fmla="*/ 2726267 h 5207000"/>
              <a:gd name="connsiteX402" fmla="*/ 2844800 w 6316134"/>
              <a:gd name="connsiteY402" fmla="*/ 2463800 h 5207000"/>
              <a:gd name="connsiteX403" fmla="*/ 2971800 w 6316134"/>
              <a:gd name="connsiteY403" fmla="*/ 2362200 h 5207000"/>
              <a:gd name="connsiteX404" fmla="*/ 2988734 w 6316134"/>
              <a:gd name="connsiteY404" fmla="*/ 2336800 h 5207000"/>
              <a:gd name="connsiteX405" fmla="*/ 2269067 w 6316134"/>
              <a:gd name="connsiteY405" fmla="*/ 2319867 h 5207000"/>
              <a:gd name="connsiteX406" fmla="*/ 1761067 w 6316134"/>
              <a:gd name="connsiteY406" fmla="*/ 2235200 h 5207000"/>
              <a:gd name="connsiteX407" fmla="*/ 1583267 w 6316134"/>
              <a:gd name="connsiteY407" fmla="*/ 2167467 h 5207000"/>
              <a:gd name="connsiteX408" fmla="*/ 1591734 w 6316134"/>
              <a:gd name="connsiteY408" fmla="*/ 2040467 h 5207000"/>
              <a:gd name="connsiteX409" fmla="*/ 1778000 w 6316134"/>
              <a:gd name="connsiteY409" fmla="*/ 1786467 h 5207000"/>
              <a:gd name="connsiteX410" fmla="*/ 1998134 w 6316134"/>
              <a:gd name="connsiteY410" fmla="*/ 1591734 h 5207000"/>
              <a:gd name="connsiteX411" fmla="*/ 2277534 w 6316134"/>
              <a:gd name="connsiteY411" fmla="*/ 1388534 h 5207000"/>
              <a:gd name="connsiteX412" fmla="*/ 2463800 w 6316134"/>
              <a:gd name="connsiteY412" fmla="*/ 1329267 h 5207000"/>
              <a:gd name="connsiteX413" fmla="*/ 2683934 w 6316134"/>
              <a:gd name="connsiteY413" fmla="*/ 1286934 h 5207000"/>
              <a:gd name="connsiteX414" fmla="*/ 3369734 w 6316134"/>
              <a:gd name="connsiteY414" fmla="*/ 1794934 h 5207000"/>
              <a:gd name="connsiteX415" fmla="*/ 4123267 w 6316134"/>
              <a:gd name="connsiteY415" fmla="*/ 2819400 h 5207000"/>
              <a:gd name="connsiteX416" fmla="*/ 4673600 w 6316134"/>
              <a:gd name="connsiteY416" fmla="*/ 3835400 h 5207000"/>
              <a:gd name="connsiteX417" fmla="*/ 5003800 w 6316134"/>
              <a:gd name="connsiteY417" fmla="*/ 4631267 h 5207000"/>
              <a:gd name="connsiteX418" fmla="*/ 5105400 w 6316134"/>
              <a:gd name="connsiteY418" fmla="*/ 4868334 h 5207000"/>
              <a:gd name="connsiteX419" fmla="*/ 5156200 w 6316134"/>
              <a:gd name="connsiteY419" fmla="*/ 4995334 h 5207000"/>
              <a:gd name="connsiteX420" fmla="*/ 5173134 w 6316134"/>
              <a:gd name="connsiteY420" fmla="*/ 5080000 h 5207000"/>
              <a:gd name="connsiteX421" fmla="*/ 5037667 w 6316134"/>
              <a:gd name="connsiteY421" fmla="*/ 5012267 h 5207000"/>
              <a:gd name="connsiteX422" fmla="*/ 3505200 w 6316134"/>
              <a:gd name="connsiteY422" fmla="*/ 2980267 h 5207000"/>
              <a:gd name="connsiteX423" fmla="*/ 2954867 w 6316134"/>
              <a:gd name="connsiteY423" fmla="*/ 2201334 h 5207000"/>
              <a:gd name="connsiteX424" fmla="*/ 2794000 w 6316134"/>
              <a:gd name="connsiteY424" fmla="*/ 1837267 h 5207000"/>
              <a:gd name="connsiteX425" fmla="*/ 2785534 w 6316134"/>
              <a:gd name="connsiteY425" fmla="*/ 1778000 h 5207000"/>
              <a:gd name="connsiteX426" fmla="*/ 2836334 w 6316134"/>
              <a:gd name="connsiteY426" fmla="*/ 1794934 h 5207000"/>
              <a:gd name="connsiteX427" fmla="*/ 2904067 w 6316134"/>
              <a:gd name="connsiteY427" fmla="*/ 1871134 h 5207000"/>
              <a:gd name="connsiteX428" fmla="*/ 3048000 w 6316134"/>
              <a:gd name="connsiteY428" fmla="*/ 2006600 h 5207000"/>
              <a:gd name="connsiteX429" fmla="*/ 3843867 w 6316134"/>
              <a:gd name="connsiteY429" fmla="*/ 2870200 h 5207000"/>
              <a:gd name="connsiteX430" fmla="*/ 4385734 w 6316134"/>
              <a:gd name="connsiteY430" fmla="*/ 3462867 h 5207000"/>
              <a:gd name="connsiteX431" fmla="*/ 4682067 w 6316134"/>
              <a:gd name="connsiteY431" fmla="*/ 3759200 h 5207000"/>
              <a:gd name="connsiteX432" fmla="*/ 4961467 w 6316134"/>
              <a:gd name="connsiteY432" fmla="*/ 4106334 h 5207000"/>
              <a:gd name="connsiteX433" fmla="*/ 4885267 w 6316134"/>
              <a:gd name="connsiteY433" fmla="*/ 4114800 h 5207000"/>
              <a:gd name="connsiteX434" fmla="*/ 4732867 w 6316134"/>
              <a:gd name="connsiteY434" fmla="*/ 4021667 h 5207000"/>
              <a:gd name="connsiteX435" fmla="*/ 4470400 w 6316134"/>
              <a:gd name="connsiteY435" fmla="*/ 3843867 h 5207000"/>
              <a:gd name="connsiteX436" fmla="*/ 3285067 w 6316134"/>
              <a:gd name="connsiteY436" fmla="*/ 2895600 h 5207000"/>
              <a:gd name="connsiteX437" fmla="*/ 2785534 w 6316134"/>
              <a:gd name="connsiteY437" fmla="*/ 2556934 h 5207000"/>
              <a:gd name="connsiteX438" fmla="*/ 1718734 w 6316134"/>
              <a:gd name="connsiteY438" fmla="*/ 1608667 h 5207000"/>
              <a:gd name="connsiteX439" fmla="*/ 1625600 w 6316134"/>
              <a:gd name="connsiteY439" fmla="*/ 1532467 h 5207000"/>
              <a:gd name="connsiteX440" fmla="*/ 1591734 w 6316134"/>
              <a:gd name="connsiteY440" fmla="*/ 1498600 h 5207000"/>
              <a:gd name="connsiteX441" fmla="*/ 1608667 w 6316134"/>
              <a:gd name="connsiteY441" fmla="*/ 1524000 h 5207000"/>
              <a:gd name="connsiteX442" fmla="*/ 1837267 w 6316134"/>
              <a:gd name="connsiteY442" fmla="*/ 1744134 h 5207000"/>
              <a:gd name="connsiteX443" fmla="*/ 2760134 w 6316134"/>
              <a:gd name="connsiteY443" fmla="*/ 2895600 h 5207000"/>
              <a:gd name="connsiteX444" fmla="*/ 2997200 w 6316134"/>
              <a:gd name="connsiteY444" fmla="*/ 3420534 h 5207000"/>
              <a:gd name="connsiteX445" fmla="*/ 3056467 w 6316134"/>
              <a:gd name="connsiteY445" fmla="*/ 4106334 h 5207000"/>
              <a:gd name="connsiteX446" fmla="*/ 3014134 w 6316134"/>
              <a:gd name="connsiteY446" fmla="*/ 4148667 h 5207000"/>
              <a:gd name="connsiteX447" fmla="*/ 3073400 w 6316134"/>
              <a:gd name="connsiteY447" fmla="*/ 4038600 h 5207000"/>
              <a:gd name="connsiteX448" fmla="*/ 3183467 w 6316134"/>
              <a:gd name="connsiteY448" fmla="*/ 3920067 h 5207000"/>
              <a:gd name="connsiteX449" fmla="*/ 3352800 w 6316134"/>
              <a:gd name="connsiteY449" fmla="*/ 3708400 h 5207000"/>
              <a:gd name="connsiteX450" fmla="*/ 4385734 w 6316134"/>
              <a:gd name="connsiteY450" fmla="*/ 2743200 h 5207000"/>
              <a:gd name="connsiteX451" fmla="*/ 4969934 w 6316134"/>
              <a:gd name="connsiteY451" fmla="*/ 2413000 h 5207000"/>
              <a:gd name="connsiteX452" fmla="*/ 4876800 w 6316134"/>
              <a:gd name="connsiteY452" fmla="*/ 2768600 h 5207000"/>
              <a:gd name="connsiteX453" fmla="*/ 3589867 w 6316134"/>
              <a:gd name="connsiteY453" fmla="*/ 4097867 h 5207000"/>
              <a:gd name="connsiteX454" fmla="*/ 3386667 w 6316134"/>
              <a:gd name="connsiteY454" fmla="*/ 4292600 h 5207000"/>
              <a:gd name="connsiteX455" fmla="*/ 3310467 w 6316134"/>
              <a:gd name="connsiteY455" fmla="*/ 4334934 h 5207000"/>
              <a:gd name="connsiteX456" fmla="*/ 3276600 w 6316134"/>
              <a:gd name="connsiteY456" fmla="*/ 4360334 h 5207000"/>
              <a:gd name="connsiteX457" fmla="*/ 3318934 w 6316134"/>
              <a:gd name="connsiteY457" fmla="*/ 4309534 h 5207000"/>
              <a:gd name="connsiteX458" fmla="*/ 3784600 w 6316134"/>
              <a:gd name="connsiteY458" fmla="*/ 3818467 h 5207000"/>
              <a:gd name="connsiteX459" fmla="*/ 4284134 w 6316134"/>
              <a:gd name="connsiteY459" fmla="*/ 3310467 h 5207000"/>
              <a:gd name="connsiteX460" fmla="*/ 4546600 w 6316134"/>
              <a:gd name="connsiteY460" fmla="*/ 3039534 h 5207000"/>
              <a:gd name="connsiteX461" fmla="*/ 5003800 w 6316134"/>
              <a:gd name="connsiteY461" fmla="*/ 2556934 h 5207000"/>
              <a:gd name="connsiteX462" fmla="*/ 5139267 w 6316134"/>
              <a:gd name="connsiteY462" fmla="*/ 2429934 h 5207000"/>
              <a:gd name="connsiteX463" fmla="*/ 5012267 w 6316134"/>
              <a:gd name="connsiteY463" fmla="*/ 2429934 h 5207000"/>
              <a:gd name="connsiteX464" fmla="*/ 4199467 w 6316134"/>
              <a:gd name="connsiteY464" fmla="*/ 2667000 h 5207000"/>
              <a:gd name="connsiteX465" fmla="*/ 2997200 w 6316134"/>
              <a:gd name="connsiteY465" fmla="*/ 2929467 h 5207000"/>
              <a:gd name="connsiteX466" fmla="*/ 2667000 w 6316134"/>
              <a:gd name="connsiteY466" fmla="*/ 2954867 h 5207000"/>
              <a:gd name="connsiteX467" fmla="*/ 2184400 w 6316134"/>
              <a:gd name="connsiteY467" fmla="*/ 2988734 h 5207000"/>
              <a:gd name="connsiteX468" fmla="*/ 2209800 w 6316134"/>
              <a:gd name="connsiteY468" fmla="*/ 2946400 h 5207000"/>
              <a:gd name="connsiteX469" fmla="*/ 2675467 w 6316134"/>
              <a:gd name="connsiteY469" fmla="*/ 2328334 h 5207000"/>
              <a:gd name="connsiteX470" fmla="*/ 2937934 w 6316134"/>
              <a:gd name="connsiteY470" fmla="*/ 1921934 h 5207000"/>
              <a:gd name="connsiteX471" fmla="*/ 3031067 w 6316134"/>
              <a:gd name="connsiteY471" fmla="*/ 1659467 h 5207000"/>
              <a:gd name="connsiteX472" fmla="*/ 2844800 w 6316134"/>
              <a:gd name="connsiteY472" fmla="*/ 1761067 h 5207000"/>
              <a:gd name="connsiteX473" fmla="*/ 2717800 w 6316134"/>
              <a:gd name="connsiteY473" fmla="*/ 1905000 h 5207000"/>
              <a:gd name="connsiteX474" fmla="*/ 2650067 w 6316134"/>
              <a:gd name="connsiteY474" fmla="*/ 2108200 h 5207000"/>
              <a:gd name="connsiteX475" fmla="*/ 2726267 w 6316134"/>
              <a:gd name="connsiteY475" fmla="*/ 2396067 h 5207000"/>
              <a:gd name="connsiteX476" fmla="*/ 2802467 w 6316134"/>
              <a:gd name="connsiteY476" fmla="*/ 2480734 h 5207000"/>
              <a:gd name="connsiteX477" fmla="*/ 3217334 w 6316134"/>
              <a:gd name="connsiteY477" fmla="*/ 2667000 h 5207000"/>
              <a:gd name="connsiteX478" fmla="*/ 3843867 w 6316134"/>
              <a:gd name="connsiteY478" fmla="*/ 2887134 h 5207000"/>
              <a:gd name="connsiteX479" fmla="*/ 4165600 w 6316134"/>
              <a:gd name="connsiteY479" fmla="*/ 2946400 h 5207000"/>
              <a:gd name="connsiteX480" fmla="*/ 4944534 w 6316134"/>
              <a:gd name="connsiteY480" fmla="*/ 3158067 h 5207000"/>
              <a:gd name="connsiteX481" fmla="*/ 5130800 w 6316134"/>
              <a:gd name="connsiteY481" fmla="*/ 3268134 h 5207000"/>
              <a:gd name="connsiteX482" fmla="*/ 5173134 w 6316134"/>
              <a:gd name="connsiteY482" fmla="*/ 3361267 h 5207000"/>
              <a:gd name="connsiteX483" fmla="*/ 5164667 w 6316134"/>
              <a:gd name="connsiteY483" fmla="*/ 3420534 h 5207000"/>
              <a:gd name="connsiteX484" fmla="*/ 4978400 w 6316134"/>
              <a:gd name="connsiteY484" fmla="*/ 3632200 h 5207000"/>
              <a:gd name="connsiteX485" fmla="*/ 4546600 w 6316134"/>
              <a:gd name="connsiteY485" fmla="*/ 4004734 h 5207000"/>
              <a:gd name="connsiteX486" fmla="*/ 3970867 w 6316134"/>
              <a:gd name="connsiteY486" fmla="*/ 4394200 h 5207000"/>
              <a:gd name="connsiteX487" fmla="*/ 3200400 w 6316134"/>
              <a:gd name="connsiteY487" fmla="*/ 4580467 h 5207000"/>
              <a:gd name="connsiteX488" fmla="*/ 2201334 w 6316134"/>
              <a:gd name="connsiteY488" fmla="*/ 4563534 h 5207000"/>
              <a:gd name="connsiteX489" fmla="*/ 2057400 w 6316134"/>
              <a:gd name="connsiteY489" fmla="*/ 4512734 h 5207000"/>
              <a:gd name="connsiteX490" fmla="*/ 1938867 w 6316134"/>
              <a:gd name="connsiteY490" fmla="*/ 4411134 h 5207000"/>
              <a:gd name="connsiteX491" fmla="*/ 2108200 w 6316134"/>
              <a:gd name="connsiteY491" fmla="*/ 3928534 h 5207000"/>
              <a:gd name="connsiteX492" fmla="*/ 2599267 w 6316134"/>
              <a:gd name="connsiteY492" fmla="*/ 3378200 h 5207000"/>
              <a:gd name="connsiteX493" fmla="*/ 3843867 w 6316134"/>
              <a:gd name="connsiteY493" fmla="*/ 2616200 h 5207000"/>
              <a:gd name="connsiteX494" fmla="*/ 4284134 w 6316134"/>
              <a:gd name="connsiteY494" fmla="*/ 2531534 h 5207000"/>
              <a:gd name="connsiteX495" fmla="*/ 4377267 w 6316134"/>
              <a:gd name="connsiteY495" fmla="*/ 2540000 h 5207000"/>
              <a:gd name="connsiteX496" fmla="*/ 4436534 w 6316134"/>
              <a:gd name="connsiteY496" fmla="*/ 2700867 h 5207000"/>
              <a:gd name="connsiteX497" fmla="*/ 4038600 w 6316134"/>
              <a:gd name="connsiteY497" fmla="*/ 3031067 h 5207000"/>
              <a:gd name="connsiteX498" fmla="*/ 3132667 w 6316134"/>
              <a:gd name="connsiteY498" fmla="*/ 3310467 h 5207000"/>
              <a:gd name="connsiteX499" fmla="*/ 2827867 w 6316134"/>
              <a:gd name="connsiteY499" fmla="*/ 3327400 h 5207000"/>
              <a:gd name="connsiteX500" fmla="*/ 1972734 w 6316134"/>
              <a:gd name="connsiteY500" fmla="*/ 3175000 h 5207000"/>
              <a:gd name="connsiteX501" fmla="*/ 1947334 w 6316134"/>
              <a:gd name="connsiteY501" fmla="*/ 3132667 h 5207000"/>
              <a:gd name="connsiteX502" fmla="*/ 2074334 w 6316134"/>
              <a:gd name="connsiteY502" fmla="*/ 2768600 h 5207000"/>
              <a:gd name="connsiteX503" fmla="*/ 2540000 w 6316134"/>
              <a:gd name="connsiteY503" fmla="*/ 2226734 h 5207000"/>
              <a:gd name="connsiteX504" fmla="*/ 2802467 w 6316134"/>
              <a:gd name="connsiteY504" fmla="*/ 1972734 h 5207000"/>
              <a:gd name="connsiteX505" fmla="*/ 3674534 w 6316134"/>
              <a:gd name="connsiteY505" fmla="*/ 1261534 h 5207000"/>
              <a:gd name="connsiteX506" fmla="*/ 4148667 w 6316134"/>
              <a:gd name="connsiteY506" fmla="*/ 1032934 h 5207000"/>
              <a:gd name="connsiteX507" fmla="*/ 4047067 w 6316134"/>
              <a:gd name="connsiteY507" fmla="*/ 1083734 h 5207000"/>
              <a:gd name="connsiteX508" fmla="*/ 2819400 w 6316134"/>
              <a:gd name="connsiteY508" fmla="*/ 1261534 h 5207000"/>
              <a:gd name="connsiteX509" fmla="*/ 2446867 w 6316134"/>
              <a:gd name="connsiteY509" fmla="*/ 1253067 h 5207000"/>
              <a:gd name="connsiteX510" fmla="*/ 1659467 w 6316134"/>
              <a:gd name="connsiteY510" fmla="*/ 1159934 h 5207000"/>
              <a:gd name="connsiteX511" fmla="*/ 1490134 w 6316134"/>
              <a:gd name="connsiteY511" fmla="*/ 1083734 h 5207000"/>
              <a:gd name="connsiteX512" fmla="*/ 1515534 w 6316134"/>
              <a:gd name="connsiteY512" fmla="*/ 1007534 h 5207000"/>
              <a:gd name="connsiteX513" fmla="*/ 1566334 w 6316134"/>
              <a:gd name="connsiteY513" fmla="*/ 965200 h 5207000"/>
              <a:gd name="connsiteX514" fmla="*/ 1744134 w 6316134"/>
              <a:gd name="connsiteY514" fmla="*/ 897467 h 5207000"/>
              <a:gd name="connsiteX515" fmla="*/ 2116667 w 6316134"/>
              <a:gd name="connsiteY515" fmla="*/ 939800 h 5207000"/>
              <a:gd name="connsiteX516" fmla="*/ 2726267 w 6316134"/>
              <a:gd name="connsiteY516" fmla="*/ 1286934 h 5207000"/>
              <a:gd name="connsiteX517" fmla="*/ 2912534 w 6316134"/>
              <a:gd name="connsiteY517" fmla="*/ 1422400 h 5207000"/>
              <a:gd name="connsiteX518" fmla="*/ 3242734 w 6316134"/>
              <a:gd name="connsiteY518" fmla="*/ 1871134 h 5207000"/>
              <a:gd name="connsiteX519" fmla="*/ 3564467 w 6316134"/>
              <a:gd name="connsiteY519" fmla="*/ 2590800 h 5207000"/>
              <a:gd name="connsiteX520" fmla="*/ 3683000 w 6316134"/>
              <a:gd name="connsiteY520" fmla="*/ 2836334 h 5207000"/>
              <a:gd name="connsiteX521" fmla="*/ 4013200 w 6316134"/>
              <a:gd name="connsiteY521" fmla="*/ 3640667 h 5207000"/>
              <a:gd name="connsiteX522" fmla="*/ 4326467 w 6316134"/>
              <a:gd name="connsiteY522" fmla="*/ 4377267 h 5207000"/>
              <a:gd name="connsiteX523" fmla="*/ 4360334 w 6316134"/>
              <a:gd name="connsiteY523" fmla="*/ 4749800 h 5207000"/>
              <a:gd name="connsiteX524" fmla="*/ 4351867 w 6316134"/>
              <a:gd name="connsiteY524" fmla="*/ 4809067 h 5207000"/>
              <a:gd name="connsiteX525" fmla="*/ 4258734 w 6316134"/>
              <a:gd name="connsiteY525" fmla="*/ 4893734 h 5207000"/>
              <a:gd name="connsiteX526" fmla="*/ 4199467 w 6316134"/>
              <a:gd name="connsiteY526" fmla="*/ 4919134 h 5207000"/>
              <a:gd name="connsiteX527" fmla="*/ 4072467 w 6316134"/>
              <a:gd name="connsiteY527" fmla="*/ 4927600 h 5207000"/>
              <a:gd name="connsiteX528" fmla="*/ 4004734 w 6316134"/>
              <a:gd name="connsiteY528" fmla="*/ 4910667 h 5207000"/>
              <a:gd name="connsiteX529" fmla="*/ 3928534 w 6316134"/>
              <a:gd name="connsiteY529" fmla="*/ 4842934 h 5207000"/>
              <a:gd name="connsiteX530" fmla="*/ 3699934 w 6316134"/>
              <a:gd name="connsiteY530" fmla="*/ 4597400 h 5207000"/>
              <a:gd name="connsiteX531" fmla="*/ 3225800 w 6316134"/>
              <a:gd name="connsiteY531" fmla="*/ 3860800 h 5207000"/>
              <a:gd name="connsiteX532" fmla="*/ 3124200 w 6316134"/>
              <a:gd name="connsiteY532" fmla="*/ 3606800 h 5207000"/>
              <a:gd name="connsiteX533" fmla="*/ 3081867 w 6316134"/>
              <a:gd name="connsiteY533" fmla="*/ 3285067 h 5207000"/>
              <a:gd name="connsiteX534" fmla="*/ 3835400 w 6316134"/>
              <a:gd name="connsiteY534" fmla="*/ 2624667 h 5207000"/>
              <a:gd name="connsiteX535" fmla="*/ 4089400 w 6316134"/>
              <a:gd name="connsiteY535" fmla="*/ 2616200 h 5207000"/>
              <a:gd name="connsiteX536" fmla="*/ 4148667 w 6316134"/>
              <a:gd name="connsiteY536" fmla="*/ 2633134 h 5207000"/>
              <a:gd name="connsiteX537" fmla="*/ 4174067 w 6316134"/>
              <a:gd name="connsiteY537" fmla="*/ 2717800 h 5207000"/>
              <a:gd name="connsiteX538" fmla="*/ 4106334 w 6316134"/>
              <a:gd name="connsiteY538" fmla="*/ 2912534 h 5207000"/>
              <a:gd name="connsiteX539" fmla="*/ 3759200 w 6316134"/>
              <a:gd name="connsiteY539" fmla="*/ 3268134 h 5207000"/>
              <a:gd name="connsiteX540" fmla="*/ 2912534 w 6316134"/>
              <a:gd name="connsiteY540" fmla="*/ 3835400 h 5207000"/>
              <a:gd name="connsiteX541" fmla="*/ 2607734 w 6316134"/>
              <a:gd name="connsiteY541" fmla="*/ 3945467 h 5207000"/>
              <a:gd name="connsiteX542" fmla="*/ 2133600 w 6316134"/>
              <a:gd name="connsiteY542" fmla="*/ 4038600 h 5207000"/>
              <a:gd name="connsiteX543" fmla="*/ 2116667 w 6316134"/>
              <a:gd name="connsiteY543" fmla="*/ 3877734 h 5207000"/>
              <a:gd name="connsiteX544" fmla="*/ 2912534 w 6316134"/>
              <a:gd name="connsiteY544" fmla="*/ 3285067 h 5207000"/>
              <a:gd name="connsiteX545" fmla="*/ 3903134 w 6316134"/>
              <a:gd name="connsiteY545" fmla="*/ 2624667 h 5207000"/>
              <a:gd name="connsiteX546" fmla="*/ 4495800 w 6316134"/>
              <a:gd name="connsiteY546" fmla="*/ 2345267 h 5207000"/>
              <a:gd name="connsiteX547" fmla="*/ 4106334 w 6316134"/>
              <a:gd name="connsiteY547" fmla="*/ 2607734 h 5207000"/>
              <a:gd name="connsiteX548" fmla="*/ 2531534 w 6316134"/>
              <a:gd name="connsiteY548" fmla="*/ 3784600 h 5207000"/>
              <a:gd name="connsiteX549" fmla="*/ 1930400 w 6316134"/>
              <a:gd name="connsiteY549" fmla="*/ 4131734 h 5207000"/>
              <a:gd name="connsiteX550" fmla="*/ 1896534 w 6316134"/>
              <a:gd name="connsiteY550" fmla="*/ 4157134 h 5207000"/>
              <a:gd name="connsiteX551" fmla="*/ 1938867 w 6316134"/>
              <a:gd name="connsiteY551" fmla="*/ 4140200 h 5207000"/>
              <a:gd name="connsiteX552" fmla="*/ 2032000 w 6316134"/>
              <a:gd name="connsiteY552" fmla="*/ 4072467 h 5207000"/>
              <a:gd name="connsiteX553" fmla="*/ 2683934 w 6316134"/>
              <a:gd name="connsiteY553" fmla="*/ 3615267 h 5207000"/>
              <a:gd name="connsiteX554" fmla="*/ 3479800 w 6316134"/>
              <a:gd name="connsiteY554" fmla="*/ 2870200 h 5207000"/>
              <a:gd name="connsiteX555" fmla="*/ 4089400 w 6316134"/>
              <a:gd name="connsiteY555" fmla="*/ 2396067 h 5207000"/>
              <a:gd name="connsiteX556" fmla="*/ 4123267 w 6316134"/>
              <a:gd name="connsiteY556" fmla="*/ 2379134 h 5207000"/>
              <a:gd name="connsiteX557" fmla="*/ 3725334 w 6316134"/>
              <a:gd name="connsiteY557" fmla="*/ 2963334 h 5207000"/>
              <a:gd name="connsiteX558" fmla="*/ 3547534 w 6316134"/>
              <a:gd name="connsiteY558" fmla="*/ 3217334 h 5207000"/>
              <a:gd name="connsiteX559" fmla="*/ 3183467 w 6316134"/>
              <a:gd name="connsiteY559" fmla="*/ 3886200 h 5207000"/>
              <a:gd name="connsiteX560" fmla="*/ 3166534 w 6316134"/>
              <a:gd name="connsiteY560" fmla="*/ 4004734 h 5207000"/>
              <a:gd name="connsiteX561" fmla="*/ 3191934 w 6316134"/>
              <a:gd name="connsiteY561" fmla="*/ 3937000 h 5207000"/>
              <a:gd name="connsiteX562" fmla="*/ 3208867 w 6316134"/>
              <a:gd name="connsiteY562" fmla="*/ 3835400 h 5207000"/>
              <a:gd name="connsiteX563" fmla="*/ 3496734 w 6316134"/>
              <a:gd name="connsiteY563" fmla="*/ 2277534 h 5207000"/>
              <a:gd name="connsiteX564" fmla="*/ 3708400 w 6316134"/>
              <a:gd name="connsiteY564" fmla="*/ 1947334 h 5207000"/>
              <a:gd name="connsiteX565" fmla="*/ 3759200 w 6316134"/>
              <a:gd name="connsiteY565" fmla="*/ 1905000 h 5207000"/>
              <a:gd name="connsiteX566" fmla="*/ 3886200 w 6316134"/>
              <a:gd name="connsiteY566" fmla="*/ 1888067 h 5207000"/>
              <a:gd name="connsiteX567" fmla="*/ 4478867 w 6316134"/>
              <a:gd name="connsiteY567" fmla="*/ 2133600 h 5207000"/>
              <a:gd name="connsiteX568" fmla="*/ 5181600 w 6316134"/>
              <a:gd name="connsiteY568" fmla="*/ 2836334 h 5207000"/>
              <a:gd name="connsiteX569" fmla="*/ 5350934 w 6316134"/>
              <a:gd name="connsiteY569" fmla="*/ 3225800 h 5207000"/>
              <a:gd name="connsiteX570" fmla="*/ 5367867 w 6316134"/>
              <a:gd name="connsiteY570" fmla="*/ 3378200 h 5207000"/>
              <a:gd name="connsiteX571" fmla="*/ 5240867 w 6316134"/>
              <a:gd name="connsiteY571" fmla="*/ 3725334 h 5207000"/>
              <a:gd name="connsiteX572" fmla="*/ 5037667 w 6316134"/>
              <a:gd name="connsiteY572" fmla="*/ 3767667 h 5207000"/>
              <a:gd name="connsiteX573" fmla="*/ 4724400 w 6316134"/>
              <a:gd name="connsiteY573" fmla="*/ 3666067 h 5207000"/>
              <a:gd name="connsiteX574" fmla="*/ 4529667 w 6316134"/>
              <a:gd name="connsiteY574" fmla="*/ 3505200 h 5207000"/>
              <a:gd name="connsiteX575" fmla="*/ 4072467 w 6316134"/>
              <a:gd name="connsiteY575" fmla="*/ 2895600 h 5207000"/>
              <a:gd name="connsiteX576" fmla="*/ 3750734 w 6316134"/>
              <a:gd name="connsiteY576" fmla="*/ 1752600 h 5207000"/>
              <a:gd name="connsiteX577" fmla="*/ 3750734 w 6316134"/>
              <a:gd name="connsiteY577" fmla="*/ 855134 h 5207000"/>
              <a:gd name="connsiteX578" fmla="*/ 3869267 w 6316134"/>
              <a:gd name="connsiteY578" fmla="*/ 592667 h 5207000"/>
              <a:gd name="connsiteX579" fmla="*/ 4351867 w 6316134"/>
              <a:gd name="connsiteY579" fmla="*/ 59267 h 5207000"/>
              <a:gd name="connsiteX580" fmla="*/ 4546600 w 6316134"/>
              <a:gd name="connsiteY580" fmla="*/ 0 h 5207000"/>
              <a:gd name="connsiteX581" fmla="*/ 4656667 w 6316134"/>
              <a:gd name="connsiteY581" fmla="*/ 33867 h 5207000"/>
              <a:gd name="connsiteX582" fmla="*/ 4715934 w 6316134"/>
              <a:gd name="connsiteY582" fmla="*/ 228600 h 5207000"/>
              <a:gd name="connsiteX583" fmla="*/ 4631267 w 6316134"/>
              <a:gd name="connsiteY583" fmla="*/ 956734 h 5207000"/>
              <a:gd name="connsiteX584" fmla="*/ 4064000 w 6316134"/>
              <a:gd name="connsiteY584" fmla="*/ 1930400 h 5207000"/>
              <a:gd name="connsiteX585" fmla="*/ 3208867 w 6316134"/>
              <a:gd name="connsiteY585" fmla="*/ 2760134 h 5207000"/>
              <a:gd name="connsiteX586" fmla="*/ 3166534 w 6316134"/>
              <a:gd name="connsiteY586" fmla="*/ 2819400 h 5207000"/>
              <a:gd name="connsiteX587" fmla="*/ 3327400 w 6316134"/>
              <a:gd name="connsiteY587" fmla="*/ 2726267 h 5207000"/>
              <a:gd name="connsiteX588" fmla="*/ 4588934 w 6316134"/>
              <a:gd name="connsiteY588" fmla="*/ 1921934 h 5207000"/>
              <a:gd name="connsiteX589" fmla="*/ 5249334 w 6316134"/>
              <a:gd name="connsiteY589" fmla="*/ 1642534 h 5207000"/>
              <a:gd name="connsiteX590" fmla="*/ 5359400 w 6316134"/>
              <a:gd name="connsiteY590" fmla="*/ 1651000 h 5207000"/>
              <a:gd name="connsiteX591" fmla="*/ 5215467 w 6316134"/>
              <a:gd name="connsiteY591" fmla="*/ 1905000 h 5207000"/>
              <a:gd name="connsiteX592" fmla="*/ 4690534 w 6316134"/>
              <a:gd name="connsiteY592" fmla="*/ 2455334 h 5207000"/>
              <a:gd name="connsiteX593" fmla="*/ 3606800 w 6316134"/>
              <a:gd name="connsiteY593" fmla="*/ 3217334 h 5207000"/>
              <a:gd name="connsiteX594" fmla="*/ 2810934 w 6316134"/>
              <a:gd name="connsiteY594" fmla="*/ 3572934 h 5207000"/>
              <a:gd name="connsiteX595" fmla="*/ 2167467 w 6316134"/>
              <a:gd name="connsiteY595" fmla="*/ 3826934 h 5207000"/>
              <a:gd name="connsiteX596" fmla="*/ 2142067 w 6316134"/>
              <a:gd name="connsiteY596" fmla="*/ 3843867 h 5207000"/>
              <a:gd name="connsiteX597" fmla="*/ 2184400 w 6316134"/>
              <a:gd name="connsiteY597" fmla="*/ 3826934 h 5207000"/>
              <a:gd name="connsiteX598" fmla="*/ 2294467 w 6316134"/>
              <a:gd name="connsiteY598" fmla="*/ 3750734 h 5207000"/>
              <a:gd name="connsiteX599" fmla="*/ 3208867 w 6316134"/>
              <a:gd name="connsiteY599" fmla="*/ 3208867 h 5207000"/>
              <a:gd name="connsiteX600" fmla="*/ 4148667 w 6316134"/>
              <a:gd name="connsiteY600" fmla="*/ 2836334 h 5207000"/>
              <a:gd name="connsiteX601" fmla="*/ 4013200 w 6316134"/>
              <a:gd name="connsiteY601" fmla="*/ 2954867 h 5207000"/>
              <a:gd name="connsiteX602" fmla="*/ 3471334 w 6316134"/>
              <a:gd name="connsiteY602" fmla="*/ 3251200 h 5207000"/>
              <a:gd name="connsiteX603" fmla="*/ 2286000 w 6316134"/>
              <a:gd name="connsiteY603" fmla="*/ 3564467 h 5207000"/>
              <a:gd name="connsiteX604" fmla="*/ 1524000 w 6316134"/>
              <a:gd name="connsiteY604" fmla="*/ 3581400 h 5207000"/>
              <a:gd name="connsiteX605" fmla="*/ 1007534 w 6316134"/>
              <a:gd name="connsiteY605" fmla="*/ 3403600 h 5207000"/>
              <a:gd name="connsiteX606" fmla="*/ 914400 w 6316134"/>
              <a:gd name="connsiteY606" fmla="*/ 3217334 h 5207000"/>
              <a:gd name="connsiteX607" fmla="*/ 956734 w 6316134"/>
              <a:gd name="connsiteY607" fmla="*/ 2751667 h 5207000"/>
              <a:gd name="connsiteX608" fmla="*/ 1219200 w 6316134"/>
              <a:gd name="connsiteY608" fmla="*/ 2226734 h 5207000"/>
              <a:gd name="connsiteX609" fmla="*/ 1862667 w 6316134"/>
              <a:gd name="connsiteY609" fmla="*/ 1439334 h 5207000"/>
              <a:gd name="connsiteX610" fmla="*/ 2235200 w 6316134"/>
              <a:gd name="connsiteY610" fmla="*/ 1151467 h 5207000"/>
              <a:gd name="connsiteX611" fmla="*/ 2455334 w 6316134"/>
              <a:gd name="connsiteY611" fmla="*/ 1126067 h 5207000"/>
              <a:gd name="connsiteX612" fmla="*/ 2497667 w 6316134"/>
              <a:gd name="connsiteY612" fmla="*/ 1168400 h 5207000"/>
              <a:gd name="connsiteX613" fmla="*/ 3056467 w 6316134"/>
              <a:gd name="connsiteY613" fmla="*/ 2201334 h 5207000"/>
              <a:gd name="connsiteX614" fmla="*/ 3623734 w 6316134"/>
              <a:gd name="connsiteY614" fmla="*/ 3547534 h 5207000"/>
              <a:gd name="connsiteX615" fmla="*/ 3886200 w 6316134"/>
              <a:gd name="connsiteY615" fmla="*/ 4080934 h 5207000"/>
              <a:gd name="connsiteX616" fmla="*/ 4207934 w 6316134"/>
              <a:gd name="connsiteY616" fmla="*/ 4555067 h 5207000"/>
              <a:gd name="connsiteX617" fmla="*/ 4258734 w 6316134"/>
              <a:gd name="connsiteY617" fmla="*/ 4597400 h 5207000"/>
              <a:gd name="connsiteX618" fmla="*/ 3903134 w 6316134"/>
              <a:gd name="connsiteY618" fmla="*/ 3852334 h 5207000"/>
              <a:gd name="connsiteX619" fmla="*/ 3776134 w 6316134"/>
              <a:gd name="connsiteY619" fmla="*/ 3352800 h 5207000"/>
              <a:gd name="connsiteX620" fmla="*/ 3759200 w 6316134"/>
              <a:gd name="connsiteY620" fmla="*/ 3149600 h 5207000"/>
              <a:gd name="connsiteX621" fmla="*/ 3970867 w 6316134"/>
              <a:gd name="connsiteY621" fmla="*/ 3572934 h 5207000"/>
              <a:gd name="connsiteX622" fmla="*/ 4241800 w 6316134"/>
              <a:gd name="connsiteY622" fmla="*/ 4148667 h 5207000"/>
              <a:gd name="connsiteX623" fmla="*/ 4360334 w 6316134"/>
              <a:gd name="connsiteY623" fmla="*/ 4411134 h 5207000"/>
              <a:gd name="connsiteX624" fmla="*/ 4487334 w 6316134"/>
              <a:gd name="connsiteY624" fmla="*/ 4826000 h 5207000"/>
              <a:gd name="connsiteX625" fmla="*/ 4495800 w 6316134"/>
              <a:gd name="connsiteY625" fmla="*/ 4961467 h 5207000"/>
              <a:gd name="connsiteX626" fmla="*/ 4377267 w 6316134"/>
              <a:gd name="connsiteY626" fmla="*/ 4885267 h 5207000"/>
              <a:gd name="connsiteX627" fmla="*/ 4165600 w 6316134"/>
              <a:gd name="connsiteY627" fmla="*/ 4605867 h 5207000"/>
              <a:gd name="connsiteX628" fmla="*/ 4055534 w 6316134"/>
              <a:gd name="connsiteY628" fmla="*/ 4343400 h 5207000"/>
              <a:gd name="connsiteX629" fmla="*/ 3725334 w 6316134"/>
              <a:gd name="connsiteY629" fmla="*/ 3818467 h 5207000"/>
              <a:gd name="connsiteX630" fmla="*/ 3420534 w 6316134"/>
              <a:gd name="connsiteY630" fmla="*/ 3217334 h 5207000"/>
              <a:gd name="connsiteX631" fmla="*/ 3445934 w 6316134"/>
              <a:gd name="connsiteY631" fmla="*/ 3208867 h 5207000"/>
              <a:gd name="connsiteX632" fmla="*/ 3471334 w 6316134"/>
              <a:gd name="connsiteY632" fmla="*/ 3225800 h 5207000"/>
              <a:gd name="connsiteX633" fmla="*/ 3598334 w 6316134"/>
              <a:gd name="connsiteY633" fmla="*/ 3293534 h 5207000"/>
              <a:gd name="connsiteX634" fmla="*/ 3683000 w 6316134"/>
              <a:gd name="connsiteY634" fmla="*/ 3352800 h 5207000"/>
              <a:gd name="connsiteX635" fmla="*/ 3767667 w 6316134"/>
              <a:gd name="connsiteY635" fmla="*/ 3378200 h 5207000"/>
              <a:gd name="connsiteX636" fmla="*/ 3810000 w 6316134"/>
              <a:gd name="connsiteY636" fmla="*/ 3369734 h 5207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Lst>
            <a:rect l="l" t="t" r="r" b="b"/>
            <a:pathLst>
              <a:path w="6316134" h="5207000">
                <a:moveTo>
                  <a:pt x="3877734" y="1464734"/>
                </a:moveTo>
                <a:cubicBezTo>
                  <a:pt x="3820900" y="1453367"/>
                  <a:pt x="3813512" y="1446483"/>
                  <a:pt x="3742267" y="1473200"/>
                </a:cubicBezTo>
                <a:cubicBezTo>
                  <a:pt x="3725347" y="1479545"/>
                  <a:pt x="3714792" y="1496781"/>
                  <a:pt x="3699934" y="1507067"/>
                </a:cubicBezTo>
                <a:cubicBezTo>
                  <a:pt x="3613397" y="1566977"/>
                  <a:pt x="3579946" y="1563920"/>
                  <a:pt x="3496734" y="1667934"/>
                </a:cubicBezTo>
                <a:cubicBezTo>
                  <a:pt x="3474156" y="1696156"/>
                  <a:pt x="3450440" y="1723504"/>
                  <a:pt x="3429000" y="1752600"/>
                </a:cubicBezTo>
                <a:cubicBezTo>
                  <a:pt x="3410891" y="1777176"/>
                  <a:pt x="3396744" y="1804551"/>
                  <a:pt x="3378200" y="1828800"/>
                </a:cubicBezTo>
                <a:cubicBezTo>
                  <a:pt x="3359976" y="1852631"/>
                  <a:pt x="3338689" y="1873956"/>
                  <a:pt x="3318934" y="1896534"/>
                </a:cubicBezTo>
                <a:cubicBezTo>
                  <a:pt x="3313289" y="1921934"/>
                  <a:pt x="3303182" y="1946741"/>
                  <a:pt x="3302000" y="1972734"/>
                </a:cubicBezTo>
                <a:cubicBezTo>
                  <a:pt x="3300329" y="2009493"/>
                  <a:pt x="3302039" y="2046981"/>
                  <a:pt x="3310467" y="2082800"/>
                </a:cubicBezTo>
                <a:cubicBezTo>
                  <a:pt x="3313699" y="2096536"/>
                  <a:pt x="3325320" y="2107292"/>
                  <a:pt x="3335867" y="2116667"/>
                </a:cubicBezTo>
                <a:cubicBezTo>
                  <a:pt x="3351078" y="2130188"/>
                  <a:pt x="3368189" y="2142006"/>
                  <a:pt x="3386667" y="2150534"/>
                </a:cubicBezTo>
                <a:cubicBezTo>
                  <a:pt x="3433570" y="2172182"/>
                  <a:pt x="3489705" y="2171446"/>
                  <a:pt x="3539067" y="2175934"/>
                </a:cubicBezTo>
                <a:cubicBezTo>
                  <a:pt x="3683000" y="2167467"/>
                  <a:pt x="3827635" y="2167061"/>
                  <a:pt x="3970867" y="2150534"/>
                </a:cubicBezTo>
                <a:cubicBezTo>
                  <a:pt x="4146414" y="2130279"/>
                  <a:pt x="4300500" y="2066743"/>
                  <a:pt x="4461934" y="1998134"/>
                </a:cubicBezTo>
                <a:cubicBezTo>
                  <a:pt x="4819097" y="1846339"/>
                  <a:pt x="4769643" y="1869567"/>
                  <a:pt x="4986867" y="1752600"/>
                </a:cubicBezTo>
                <a:cubicBezTo>
                  <a:pt x="5006623" y="1730022"/>
                  <a:pt x="5025862" y="1706982"/>
                  <a:pt x="5046134" y="1684867"/>
                </a:cubicBezTo>
                <a:cubicBezTo>
                  <a:pt x="5088223" y="1638951"/>
                  <a:pt x="5073882" y="1669353"/>
                  <a:pt x="5088467" y="1625600"/>
                </a:cubicBezTo>
                <a:cubicBezTo>
                  <a:pt x="5004948" y="1569922"/>
                  <a:pt x="5051724" y="1593935"/>
                  <a:pt x="4842934" y="1617134"/>
                </a:cubicBezTo>
                <a:cubicBezTo>
                  <a:pt x="4728288" y="1629872"/>
                  <a:pt x="4560683" y="1685680"/>
                  <a:pt x="4461934" y="1727200"/>
                </a:cubicBezTo>
                <a:cubicBezTo>
                  <a:pt x="4284947" y="1801615"/>
                  <a:pt x="4115699" y="1894064"/>
                  <a:pt x="3937000" y="1964267"/>
                </a:cubicBezTo>
                <a:cubicBezTo>
                  <a:pt x="3857978" y="1995311"/>
                  <a:pt x="3777686" y="2023298"/>
                  <a:pt x="3699934" y="2057400"/>
                </a:cubicBezTo>
                <a:cubicBezTo>
                  <a:pt x="3506281" y="2142336"/>
                  <a:pt x="3455630" y="2187850"/>
                  <a:pt x="3268134" y="2252134"/>
                </a:cubicBezTo>
                <a:cubicBezTo>
                  <a:pt x="3232516" y="2264346"/>
                  <a:pt x="3194756" y="2269067"/>
                  <a:pt x="3158067" y="2277534"/>
                </a:cubicBezTo>
                <a:cubicBezTo>
                  <a:pt x="3129845" y="2274712"/>
                  <a:pt x="3094599" y="2287911"/>
                  <a:pt x="3073400" y="2269067"/>
                </a:cubicBezTo>
                <a:cubicBezTo>
                  <a:pt x="3058485" y="2255809"/>
                  <a:pt x="3073868" y="2228083"/>
                  <a:pt x="3081867" y="2209800"/>
                </a:cubicBezTo>
                <a:cubicBezTo>
                  <a:pt x="3094103" y="2181832"/>
                  <a:pt x="3117245" y="2159945"/>
                  <a:pt x="3132667" y="2133600"/>
                </a:cubicBezTo>
                <a:cubicBezTo>
                  <a:pt x="3185013" y="2044176"/>
                  <a:pt x="3223685" y="1946147"/>
                  <a:pt x="3285067" y="1862667"/>
                </a:cubicBezTo>
                <a:cubicBezTo>
                  <a:pt x="3355623" y="1766711"/>
                  <a:pt x="3438893" y="1678915"/>
                  <a:pt x="3496734" y="1574800"/>
                </a:cubicBezTo>
                <a:cubicBezTo>
                  <a:pt x="3524956" y="1524000"/>
                  <a:pt x="3553958" y="1473625"/>
                  <a:pt x="3581400" y="1422400"/>
                </a:cubicBezTo>
                <a:cubicBezTo>
                  <a:pt x="3596300" y="1394586"/>
                  <a:pt x="3608265" y="1365235"/>
                  <a:pt x="3623734" y="1337734"/>
                </a:cubicBezTo>
                <a:cubicBezTo>
                  <a:pt x="3633711" y="1319996"/>
                  <a:pt x="3637249" y="1286934"/>
                  <a:pt x="3657600" y="1286934"/>
                </a:cubicBezTo>
                <a:cubicBezTo>
                  <a:pt x="3676532" y="1286934"/>
                  <a:pt x="3639889" y="1320434"/>
                  <a:pt x="3632200" y="1337734"/>
                </a:cubicBezTo>
                <a:cubicBezTo>
                  <a:pt x="3617299" y="1371261"/>
                  <a:pt x="3602970" y="1405065"/>
                  <a:pt x="3589867" y="1439334"/>
                </a:cubicBezTo>
                <a:cubicBezTo>
                  <a:pt x="3566272" y="1501043"/>
                  <a:pt x="3536876" y="1561200"/>
                  <a:pt x="3522134" y="1625600"/>
                </a:cubicBezTo>
                <a:cubicBezTo>
                  <a:pt x="3483099" y="1796122"/>
                  <a:pt x="3468624" y="1971681"/>
                  <a:pt x="3429000" y="2142067"/>
                </a:cubicBezTo>
                <a:lnTo>
                  <a:pt x="3344334" y="2506134"/>
                </a:lnTo>
                <a:cubicBezTo>
                  <a:pt x="3341356" y="2571640"/>
                  <a:pt x="3317532" y="3054327"/>
                  <a:pt x="3318934" y="3158067"/>
                </a:cubicBezTo>
                <a:cubicBezTo>
                  <a:pt x="3322019" y="3386322"/>
                  <a:pt x="3268367" y="3463086"/>
                  <a:pt x="3403600" y="3589867"/>
                </a:cubicBezTo>
                <a:cubicBezTo>
                  <a:pt x="3423024" y="3608077"/>
                  <a:pt x="3445647" y="3625195"/>
                  <a:pt x="3471334" y="3632200"/>
                </a:cubicBezTo>
                <a:cubicBezTo>
                  <a:pt x="3509550" y="3642623"/>
                  <a:pt x="3550356" y="3637845"/>
                  <a:pt x="3589867" y="3640667"/>
                </a:cubicBezTo>
                <a:cubicBezTo>
                  <a:pt x="3685823" y="3635023"/>
                  <a:pt x="3783241" y="3641351"/>
                  <a:pt x="3877734" y="3623734"/>
                </a:cubicBezTo>
                <a:cubicBezTo>
                  <a:pt x="3951452" y="3609990"/>
                  <a:pt x="4019954" y="3575827"/>
                  <a:pt x="4089400" y="3547534"/>
                </a:cubicBezTo>
                <a:cubicBezTo>
                  <a:pt x="4303516" y="3460301"/>
                  <a:pt x="4386875" y="3417924"/>
                  <a:pt x="4580467" y="3285067"/>
                </a:cubicBezTo>
                <a:cubicBezTo>
                  <a:pt x="4645163" y="3240668"/>
                  <a:pt x="4712443" y="3197785"/>
                  <a:pt x="4766734" y="3141134"/>
                </a:cubicBezTo>
                <a:cubicBezTo>
                  <a:pt x="4851425" y="3052761"/>
                  <a:pt x="5012924" y="2822392"/>
                  <a:pt x="5088467" y="2700867"/>
                </a:cubicBezTo>
                <a:cubicBezTo>
                  <a:pt x="5115819" y="2656866"/>
                  <a:pt x="5140818" y="2611394"/>
                  <a:pt x="5164667" y="2565400"/>
                </a:cubicBezTo>
                <a:cubicBezTo>
                  <a:pt x="5180364" y="2535127"/>
                  <a:pt x="5192710" y="2503229"/>
                  <a:pt x="5207000" y="2472267"/>
                </a:cubicBezTo>
                <a:cubicBezTo>
                  <a:pt x="5209645" y="2466537"/>
                  <a:pt x="5219253" y="2450286"/>
                  <a:pt x="5215467" y="2455334"/>
                </a:cubicBezTo>
                <a:cubicBezTo>
                  <a:pt x="5198534" y="2477912"/>
                  <a:pt x="5180604" y="2499775"/>
                  <a:pt x="5164667" y="2523067"/>
                </a:cubicBezTo>
                <a:cubicBezTo>
                  <a:pt x="5092808" y="2628091"/>
                  <a:pt x="5089585" y="2661317"/>
                  <a:pt x="4986867" y="2768600"/>
                </a:cubicBezTo>
                <a:cubicBezTo>
                  <a:pt x="4908778" y="2850160"/>
                  <a:pt x="4560981" y="3167783"/>
                  <a:pt x="4461934" y="3234267"/>
                </a:cubicBezTo>
                <a:cubicBezTo>
                  <a:pt x="4198210" y="3411287"/>
                  <a:pt x="3941671" y="3513597"/>
                  <a:pt x="3623734" y="3564467"/>
                </a:cubicBezTo>
                <a:cubicBezTo>
                  <a:pt x="3433905" y="3594840"/>
                  <a:pt x="3239911" y="3587045"/>
                  <a:pt x="3048000" y="3598334"/>
                </a:cubicBezTo>
                <a:cubicBezTo>
                  <a:pt x="2647245" y="3564467"/>
                  <a:pt x="2241219" y="3569833"/>
                  <a:pt x="1845734" y="3496734"/>
                </a:cubicBezTo>
                <a:cubicBezTo>
                  <a:pt x="1640106" y="3458727"/>
                  <a:pt x="1452911" y="3352410"/>
                  <a:pt x="1261534" y="3268134"/>
                </a:cubicBezTo>
                <a:cubicBezTo>
                  <a:pt x="960962" y="3135772"/>
                  <a:pt x="949791" y="3110527"/>
                  <a:pt x="719667" y="2937934"/>
                </a:cubicBezTo>
                <a:cubicBezTo>
                  <a:pt x="705556" y="2895601"/>
                  <a:pt x="677334" y="2855557"/>
                  <a:pt x="677334" y="2810934"/>
                </a:cubicBezTo>
                <a:cubicBezTo>
                  <a:pt x="677334" y="2725099"/>
                  <a:pt x="687282" y="2636425"/>
                  <a:pt x="719667" y="2556934"/>
                </a:cubicBezTo>
                <a:cubicBezTo>
                  <a:pt x="783847" y="2399400"/>
                  <a:pt x="1012066" y="2207868"/>
                  <a:pt x="1126067" y="2116667"/>
                </a:cubicBezTo>
                <a:cubicBezTo>
                  <a:pt x="1585566" y="1749068"/>
                  <a:pt x="1600471" y="1693736"/>
                  <a:pt x="2057400" y="1532467"/>
                </a:cubicBezTo>
                <a:cubicBezTo>
                  <a:pt x="2179503" y="1489372"/>
                  <a:pt x="2302285" y="1444127"/>
                  <a:pt x="2429934" y="1422400"/>
                </a:cubicBezTo>
                <a:cubicBezTo>
                  <a:pt x="2701538" y="1376170"/>
                  <a:pt x="2977445" y="1360311"/>
                  <a:pt x="3251200" y="1329267"/>
                </a:cubicBezTo>
                <a:cubicBezTo>
                  <a:pt x="3338204" y="1338589"/>
                  <a:pt x="3464415" y="1309113"/>
                  <a:pt x="3530600" y="1388534"/>
                </a:cubicBezTo>
                <a:cubicBezTo>
                  <a:pt x="3547645" y="1408988"/>
                  <a:pt x="3558823" y="1433689"/>
                  <a:pt x="3572934" y="1456267"/>
                </a:cubicBezTo>
                <a:cubicBezTo>
                  <a:pt x="3578578" y="1476023"/>
                  <a:pt x="3590278" y="1494992"/>
                  <a:pt x="3589867" y="1515534"/>
                </a:cubicBezTo>
                <a:cubicBezTo>
                  <a:pt x="3587434" y="1637160"/>
                  <a:pt x="3591211" y="1760926"/>
                  <a:pt x="3564467" y="1879600"/>
                </a:cubicBezTo>
                <a:cubicBezTo>
                  <a:pt x="3532877" y="2019780"/>
                  <a:pt x="3373220" y="2245715"/>
                  <a:pt x="3293534" y="2353734"/>
                </a:cubicBezTo>
                <a:cubicBezTo>
                  <a:pt x="3223147" y="2449148"/>
                  <a:pt x="3150678" y="2543211"/>
                  <a:pt x="3073400" y="2633134"/>
                </a:cubicBezTo>
                <a:cubicBezTo>
                  <a:pt x="2995316" y="2723995"/>
                  <a:pt x="2914071" y="2812403"/>
                  <a:pt x="2827867" y="2895600"/>
                </a:cubicBezTo>
                <a:cubicBezTo>
                  <a:pt x="2671186" y="3046816"/>
                  <a:pt x="2528084" y="3217574"/>
                  <a:pt x="2345267" y="3335867"/>
                </a:cubicBezTo>
                <a:cubicBezTo>
                  <a:pt x="2297289" y="3366911"/>
                  <a:pt x="2252135" y="3402830"/>
                  <a:pt x="2201334" y="3429000"/>
                </a:cubicBezTo>
                <a:cubicBezTo>
                  <a:pt x="2158462" y="3451085"/>
                  <a:pt x="2022732" y="3501367"/>
                  <a:pt x="2065867" y="3479800"/>
                </a:cubicBezTo>
                <a:cubicBezTo>
                  <a:pt x="2307416" y="3359026"/>
                  <a:pt x="2549317" y="3235808"/>
                  <a:pt x="2802467" y="3141134"/>
                </a:cubicBezTo>
                <a:lnTo>
                  <a:pt x="3843867" y="2751667"/>
                </a:lnTo>
                <a:cubicBezTo>
                  <a:pt x="4040197" y="2680459"/>
                  <a:pt x="4233925" y="2599119"/>
                  <a:pt x="4436534" y="2548467"/>
                </a:cubicBezTo>
                <a:cubicBezTo>
                  <a:pt x="4992694" y="2409427"/>
                  <a:pt x="4986505" y="2400633"/>
                  <a:pt x="5528734" y="2302934"/>
                </a:cubicBezTo>
                <a:cubicBezTo>
                  <a:pt x="5968962" y="2223613"/>
                  <a:pt x="5851831" y="2238433"/>
                  <a:pt x="6214534" y="2226734"/>
                </a:cubicBezTo>
                <a:lnTo>
                  <a:pt x="6316134" y="2243667"/>
                </a:lnTo>
                <a:cubicBezTo>
                  <a:pt x="6310575" y="2282581"/>
                  <a:pt x="6243135" y="2272917"/>
                  <a:pt x="6206067" y="2286000"/>
                </a:cubicBezTo>
                <a:cubicBezTo>
                  <a:pt x="6147156" y="2306792"/>
                  <a:pt x="6088771" y="2329709"/>
                  <a:pt x="6028267" y="2345267"/>
                </a:cubicBezTo>
                <a:cubicBezTo>
                  <a:pt x="5265329" y="2541451"/>
                  <a:pt x="5520712" y="2505746"/>
                  <a:pt x="4927600" y="2531534"/>
                </a:cubicBezTo>
                <a:lnTo>
                  <a:pt x="3632200" y="2506134"/>
                </a:lnTo>
                <a:cubicBezTo>
                  <a:pt x="3491591" y="2494242"/>
                  <a:pt x="3356466" y="2440881"/>
                  <a:pt x="3225800" y="2387600"/>
                </a:cubicBezTo>
                <a:cubicBezTo>
                  <a:pt x="3064514" y="2321833"/>
                  <a:pt x="2760134" y="2150534"/>
                  <a:pt x="2760134" y="2150534"/>
                </a:cubicBezTo>
                <a:cubicBezTo>
                  <a:pt x="2730097" y="2120497"/>
                  <a:pt x="2626723" y="2025046"/>
                  <a:pt x="2616200" y="1981200"/>
                </a:cubicBezTo>
                <a:cubicBezTo>
                  <a:pt x="2599908" y="1913318"/>
                  <a:pt x="2627654" y="1853305"/>
                  <a:pt x="2675467" y="1811867"/>
                </a:cubicBezTo>
                <a:cubicBezTo>
                  <a:pt x="2701500" y="1789305"/>
                  <a:pt x="2730512" y="1770188"/>
                  <a:pt x="2760134" y="1752600"/>
                </a:cubicBezTo>
                <a:cubicBezTo>
                  <a:pt x="2910638" y="1663238"/>
                  <a:pt x="2920135" y="1651886"/>
                  <a:pt x="3064934" y="1617134"/>
                </a:cubicBezTo>
                <a:cubicBezTo>
                  <a:pt x="3095616" y="1609770"/>
                  <a:pt x="3127023" y="1605845"/>
                  <a:pt x="3158067" y="1600200"/>
                </a:cubicBezTo>
                <a:cubicBezTo>
                  <a:pt x="3180645" y="1605845"/>
                  <a:pt x="3207627" y="1602596"/>
                  <a:pt x="3225800" y="1617134"/>
                </a:cubicBezTo>
                <a:cubicBezTo>
                  <a:pt x="3245510" y="1632902"/>
                  <a:pt x="3250800" y="1748595"/>
                  <a:pt x="3251200" y="1752600"/>
                </a:cubicBezTo>
                <a:cubicBezTo>
                  <a:pt x="3184948" y="2514500"/>
                  <a:pt x="3284356" y="2118353"/>
                  <a:pt x="3081867" y="2599267"/>
                </a:cubicBezTo>
                <a:cubicBezTo>
                  <a:pt x="3006212" y="2778947"/>
                  <a:pt x="2937389" y="2961454"/>
                  <a:pt x="2861734" y="3141134"/>
                </a:cubicBezTo>
                <a:cubicBezTo>
                  <a:pt x="2824482" y="3229608"/>
                  <a:pt x="2743200" y="3403600"/>
                  <a:pt x="2743200" y="3403600"/>
                </a:cubicBezTo>
                <a:cubicBezTo>
                  <a:pt x="2726267" y="3479800"/>
                  <a:pt x="2710081" y="3556170"/>
                  <a:pt x="2692400" y="3632200"/>
                </a:cubicBezTo>
                <a:cubicBezTo>
                  <a:pt x="2681857" y="3677536"/>
                  <a:pt x="2663674" y="3721406"/>
                  <a:pt x="2658534" y="3767667"/>
                </a:cubicBezTo>
                <a:cubicBezTo>
                  <a:pt x="2655092" y="3798649"/>
                  <a:pt x="2664178" y="3829756"/>
                  <a:pt x="2667000" y="3860800"/>
                </a:cubicBezTo>
                <a:cubicBezTo>
                  <a:pt x="2707361" y="3847347"/>
                  <a:pt x="2697360" y="3856456"/>
                  <a:pt x="2726267" y="3801534"/>
                </a:cubicBezTo>
                <a:cubicBezTo>
                  <a:pt x="2793747" y="3673322"/>
                  <a:pt x="2781051" y="3674734"/>
                  <a:pt x="2819400" y="3513667"/>
                </a:cubicBezTo>
                <a:cubicBezTo>
                  <a:pt x="2827867" y="3431823"/>
                  <a:pt x="2838677" y="3350187"/>
                  <a:pt x="2844800" y="3268134"/>
                </a:cubicBezTo>
                <a:cubicBezTo>
                  <a:pt x="2890429" y="2656708"/>
                  <a:pt x="2856225" y="1927298"/>
                  <a:pt x="2853267" y="1380067"/>
                </a:cubicBezTo>
                <a:cubicBezTo>
                  <a:pt x="2864556" y="1337734"/>
                  <a:pt x="2843486" y="1249272"/>
                  <a:pt x="2887134" y="1253067"/>
                </a:cubicBezTo>
                <a:cubicBezTo>
                  <a:pt x="2912017" y="1255231"/>
                  <a:pt x="3213979" y="1562452"/>
                  <a:pt x="3217334" y="1566334"/>
                </a:cubicBezTo>
                <a:cubicBezTo>
                  <a:pt x="3362883" y="1734754"/>
                  <a:pt x="3501152" y="1909349"/>
                  <a:pt x="3640667" y="2082800"/>
                </a:cubicBezTo>
                <a:cubicBezTo>
                  <a:pt x="3710014" y="2169015"/>
                  <a:pt x="3787912" y="2249814"/>
                  <a:pt x="3843867" y="2345267"/>
                </a:cubicBezTo>
                <a:cubicBezTo>
                  <a:pt x="3965503" y="2552763"/>
                  <a:pt x="4157922" y="2864551"/>
                  <a:pt x="4216400" y="3073400"/>
                </a:cubicBezTo>
                <a:lnTo>
                  <a:pt x="4275667" y="3285067"/>
                </a:lnTo>
                <a:cubicBezTo>
                  <a:pt x="4281311" y="3333045"/>
                  <a:pt x="4287454" y="3380966"/>
                  <a:pt x="4292600" y="3429000"/>
                </a:cubicBezTo>
                <a:cubicBezTo>
                  <a:pt x="4302259" y="3519148"/>
                  <a:pt x="4312999" y="3557535"/>
                  <a:pt x="4267200" y="3649134"/>
                </a:cubicBezTo>
                <a:cubicBezTo>
                  <a:pt x="4259841" y="3663853"/>
                  <a:pt x="4240057" y="3668205"/>
                  <a:pt x="4224867" y="3674534"/>
                </a:cubicBezTo>
                <a:cubicBezTo>
                  <a:pt x="4188787" y="3689567"/>
                  <a:pt x="4152701" y="3693617"/>
                  <a:pt x="4114800" y="3699934"/>
                </a:cubicBezTo>
                <a:cubicBezTo>
                  <a:pt x="4055533" y="3688645"/>
                  <a:pt x="3992243" y="3690320"/>
                  <a:pt x="3937000" y="3666067"/>
                </a:cubicBezTo>
                <a:cubicBezTo>
                  <a:pt x="3751554" y="3584652"/>
                  <a:pt x="3686999" y="3435474"/>
                  <a:pt x="3556000" y="3285067"/>
                </a:cubicBezTo>
                <a:cubicBezTo>
                  <a:pt x="3477316" y="3194726"/>
                  <a:pt x="3386918" y="3114839"/>
                  <a:pt x="3310467" y="3022600"/>
                </a:cubicBezTo>
                <a:cubicBezTo>
                  <a:pt x="3127078" y="2801338"/>
                  <a:pt x="2952218" y="2573106"/>
                  <a:pt x="2777067" y="2345267"/>
                </a:cubicBezTo>
                <a:cubicBezTo>
                  <a:pt x="2437837" y="1903993"/>
                  <a:pt x="2324000" y="1844939"/>
                  <a:pt x="2175934" y="1456267"/>
                </a:cubicBezTo>
                <a:cubicBezTo>
                  <a:pt x="2158131" y="1409533"/>
                  <a:pt x="2147711" y="1360312"/>
                  <a:pt x="2133600" y="1312334"/>
                </a:cubicBezTo>
                <a:cubicBezTo>
                  <a:pt x="2144889" y="1292578"/>
                  <a:pt x="2150461" y="1268184"/>
                  <a:pt x="2167467" y="1253067"/>
                </a:cubicBezTo>
                <a:cubicBezTo>
                  <a:pt x="2178223" y="1243506"/>
                  <a:pt x="2195622" y="1242134"/>
                  <a:pt x="2209800" y="1244600"/>
                </a:cubicBezTo>
                <a:cubicBezTo>
                  <a:pt x="2261744" y="1253634"/>
                  <a:pt x="2311400" y="1272823"/>
                  <a:pt x="2362200" y="1286934"/>
                </a:cubicBezTo>
                <a:cubicBezTo>
                  <a:pt x="2675412" y="1566101"/>
                  <a:pt x="3068569" y="1904854"/>
                  <a:pt x="3335867" y="2209800"/>
                </a:cubicBezTo>
                <a:lnTo>
                  <a:pt x="3937000" y="2895600"/>
                </a:lnTo>
                <a:cubicBezTo>
                  <a:pt x="4227869" y="3222481"/>
                  <a:pt x="4238971" y="3202598"/>
                  <a:pt x="4512734" y="3556000"/>
                </a:cubicBezTo>
                <a:cubicBezTo>
                  <a:pt x="4682881" y="3775644"/>
                  <a:pt x="4707116" y="3839478"/>
                  <a:pt x="4842934" y="4080934"/>
                </a:cubicBezTo>
                <a:cubicBezTo>
                  <a:pt x="4857045" y="4134556"/>
                  <a:pt x="4881579" y="4186475"/>
                  <a:pt x="4885267" y="4241800"/>
                </a:cubicBezTo>
                <a:cubicBezTo>
                  <a:pt x="4890162" y="4315232"/>
                  <a:pt x="4885673" y="4390411"/>
                  <a:pt x="4868334" y="4461934"/>
                </a:cubicBezTo>
                <a:cubicBezTo>
                  <a:pt x="4858183" y="4503808"/>
                  <a:pt x="4780273" y="4545892"/>
                  <a:pt x="4749800" y="4563534"/>
                </a:cubicBezTo>
                <a:cubicBezTo>
                  <a:pt x="4577645" y="4663203"/>
                  <a:pt x="4652666" y="4614767"/>
                  <a:pt x="4343400" y="4648200"/>
                </a:cubicBezTo>
                <a:cubicBezTo>
                  <a:pt x="4301067" y="4628445"/>
                  <a:pt x="4254998" y="4615251"/>
                  <a:pt x="4216400" y="4588934"/>
                </a:cubicBezTo>
                <a:cubicBezTo>
                  <a:pt x="4166902" y="4555185"/>
                  <a:pt x="4132539" y="4476110"/>
                  <a:pt x="4106334" y="4428067"/>
                </a:cubicBezTo>
                <a:cubicBezTo>
                  <a:pt x="4065424" y="4182617"/>
                  <a:pt x="4058149" y="4179718"/>
                  <a:pt x="4106334" y="3784600"/>
                </a:cubicBezTo>
                <a:cubicBezTo>
                  <a:pt x="4113064" y="3729418"/>
                  <a:pt x="4149854" y="3682241"/>
                  <a:pt x="4174067" y="3632200"/>
                </a:cubicBezTo>
                <a:cubicBezTo>
                  <a:pt x="4192217" y="3594691"/>
                  <a:pt x="4208986" y="3555950"/>
                  <a:pt x="4233334" y="3522134"/>
                </a:cubicBezTo>
                <a:cubicBezTo>
                  <a:pt x="4269661" y="3471680"/>
                  <a:pt x="4374267" y="3369684"/>
                  <a:pt x="4428067" y="3335867"/>
                </a:cubicBezTo>
                <a:cubicBezTo>
                  <a:pt x="4490053" y="3296904"/>
                  <a:pt x="4622800" y="3234267"/>
                  <a:pt x="4622800" y="3234267"/>
                </a:cubicBezTo>
                <a:cubicBezTo>
                  <a:pt x="4673600" y="3242734"/>
                  <a:pt x="4734778" y="3227755"/>
                  <a:pt x="4775200" y="3259667"/>
                </a:cubicBezTo>
                <a:cubicBezTo>
                  <a:pt x="4811054" y="3287973"/>
                  <a:pt x="4774589" y="3407791"/>
                  <a:pt x="4758267" y="3437467"/>
                </a:cubicBezTo>
                <a:cubicBezTo>
                  <a:pt x="4708714" y="3527563"/>
                  <a:pt x="4635842" y="3585919"/>
                  <a:pt x="4555067" y="3649134"/>
                </a:cubicBezTo>
                <a:cubicBezTo>
                  <a:pt x="4472385" y="3713842"/>
                  <a:pt x="4387754" y="3776164"/>
                  <a:pt x="4301067" y="3835400"/>
                </a:cubicBezTo>
                <a:cubicBezTo>
                  <a:pt x="4058737" y="4000992"/>
                  <a:pt x="4021496" y="4016319"/>
                  <a:pt x="3742267" y="4131734"/>
                </a:cubicBezTo>
                <a:cubicBezTo>
                  <a:pt x="3633283" y="4176781"/>
                  <a:pt x="3528047" y="4237394"/>
                  <a:pt x="3412067" y="4258734"/>
                </a:cubicBezTo>
                <a:cubicBezTo>
                  <a:pt x="3172333" y="4302845"/>
                  <a:pt x="2926645" y="4303889"/>
                  <a:pt x="2683934" y="4326467"/>
                </a:cubicBezTo>
                <a:cubicBezTo>
                  <a:pt x="2514559" y="4310076"/>
                  <a:pt x="2363139" y="4306899"/>
                  <a:pt x="2201334" y="4250267"/>
                </a:cubicBezTo>
                <a:cubicBezTo>
                  <a:pt x="2130677" y="4225537"/>
                  <a:pt x="2065112" y="4168776"/>
                  <a:pt x="2006600" y="4123267"/>
                </a:cubicBezTo>
                <a:cubicBezTo>
                  <a:pt x="2000956" y="4103511"/>
                  <a:pt x="1987119" y="4084388"/>
                  <a:pt x="1989667" y="4064000"/>
                </a:cubicBezTo>
                <a:cubicBezTo>
                  <a:pt x="1995870" y="4014376"/>
                  <a:pt x="2010305" y="3965126"/>
                  <a:pt x="2032000" y="3920067"/>
                </a:cubicBezTo>
                <a:cubicBezTo>
                  <a:pt x="2065997" y="3849457"/>
                  <a:pt x="2196620" y="3750741"/>
                  <a:pt x="2243667" y="3716867"/>
                </a:cubicBezTo>
                <a:cubicBezTo>
                  <a:pt x="2334504" y="3651464"/>
                  <a:pt x="2425154" y="3584839"/>
                  <a:pt x="2523067" y="3530600"/>
                </a:cubicBezTo>
                <a:cubicBezTo>
                  <a:pt x="3536881" y="2968991"/>
                  <a:pt x="3129846" y="3192252"/>
                  <a:pt x="3928534" y="2870200"/>
                </a:cubicBezTo>
                <a:cubicBezTo>
                  <a:pt x="5168849" y="2370072"/>
                  <a:pt x="3871503" y="2860944"/>
                  <a:pt x="4876800" y="2506134"/>
                </a:cubicBezTo>
                <a:cubicBezTo>
                  <a:pt x="4982083" y="2468975"/>
                  <a:pt x="5084149" y="2422906"/>
                  <a:pt x="5190067" y="2387600"/>
                </a:cubicBezTo>
                <a:cubicBezTo>
                  <a:pt x="5293813" y="2353018"/>
                  <a:pt x="5384474" y="2334051"/>
                  <a:pt x="5486400" y="2311400"/>
                </a:cubicBezTo>
                <a:cubicBezTo>
                  <a:pt x="4915965" y="2216335"/>
                  <a:pt x="5508900" y="2312381"/>
                  <a:pt x="3860800" y="2294467"/>
                </a:cubicBezTo>
                <a:cubicBezTo>
                  <a:pt x="3606752" y="2291706"/>
                  <a:pt x="3352800" y="2283178"/>
                  <a:pt x="3098800" y="2277534"/>
                </a:cubicBezTo>
                <a:cubicBezTo>
                  <a:pt x="2902536" y="2248671"/>
                  <a:pt x="2707385" y="2225006"/>
                  <a:pt x="2514600" y="2175934"/>
                </a:cubicBezTo>
                <a:cubicBezTo>
                  <a:pt x="2456646" y="2161182"/>
                  <a:pt x="2401711" y="2136423"/>
                  <a:pt x="2345267" y="2116667"/>
                </a:cubicBezTo>
                <a:cubicBezTo>
                  <a:pt x="2402067" y="2003066"/>
                  <a:pt x="2353731" y="2077510"/>
                  <a:pt x="2548467" y="1955800"/>
                </a:cubicBezTo>
                <a:cubicBezTo>
                  <a:pt x="2602248" y="1922187"/>
                  <a:pt x="2649661" y="1875682"/>
                  <a:pt x="2709334" y="1854200"/>
                </a:cubicBezTo>
                <a:cubicBezTo>
                  <a:pt x="2894139" y="1787670"/>
                  <a:pt x="2975613" y="1763065"/>
                  <a:pt x="3158067" y="1676400"/>
                </a:cubicBezTo>
                <a:cubicBezTo>
                  <a:pt x="3306275" y="1606001"/>
                  <a:pt x="3452422" y="1531308"/>
                  <a:pt x="3598334" y="1456267"/>
                </a:cubicBezTo>
                <a:cubicBezTo>
                  <a:pt x="3650013" y="1429689"/>
                  <a:pt x="3705039" y="1407504"/>
                  <a:pt x="3750734" y="1371600"/>
                </a:cubicBezTo>
                <a:lnTo>
                  <a:pt x="3869267" y="1278467"/>
                </a:lnTo>
                <a:cubicBezTo>
                  <a:pt x="3872089" y="1270000"/>
                  <a:pt x="3879484" y="1261818"/>
                  <a:pt x="3877734" y="1253067"/>
                </a:cubicBezTo>
                <a:cubicBezTo>
                  <a:pt x="3876168" y="1245240"/>
                  <a:pt x="3867940" y="1239704"/>
                  <a:pt x="3860800" y="1236134"/>
                </a:cubicBezTo>
                <a:cubicBezTo>
                  <a:pt x="3837938" y="1224703"/>
                  <a:pt x="3744620" y="1219281"/>
                  <a:pt x="3742267" y="1219200"/>
                </a:cubicBezTo>
                <a:cubicBezTo>
                  <a:pt x="3606851" y="1214531"/>
                  <a:pt x="3471334" y="1213556"/>
                  <a:pt x="3335867" y="1210734"/>
                </a:cubicBezTo>
                <a:cubicBezTo>
                  <a:pt x="3203223" y="1213556"/>
                  <a:pt x="3070218" y="1209024"/>
                  <a:pt x="2937934" y="1219200"/>
                </a:cubicBezTo>
                <a:cubicBezTo>
                  <a:pt x="2886048" y="1223191"/>
                  <a:pt x="2835139" y="1237338"/>
                  <a:pt x="2785534" y="1253067"/>
                </a:cubicBezTo>
                <a:cubicBezTo>
                  <a:pt x="2682691" y="1285676"/>
                  <a:pt x="2539923" y="1351879"/>
                  <a:pt x="2438400" y="1397000"/>
                </a:cubicBezTo>
                <a:cubicBezTo>
                  <a:pt x="2388678" y="1446722"/>
                  <a:pt x="2353581" y="1473468"/>
                  <a:pt x="2319867" y="1532467"/>
                </a:cubicBezTo>
                <a:cubicBezTo>
                  <a:pt x="2309203" y="1551129"/>
                  <a:pt x="2302934" y="1571978"/>
                  <a:pt x="2294467" y="1591734"/>
                </a:cubicBezTo>
                <a:cubicBezTo>
                  <a:pt x="2373366" y="1796871"/>
                  <a:pt x="2313144" y="1692036"/>
                  <a:pt x="2582334" y="1913467"/>
                </a:cubicBezTo>
                <a:cubicBezTo>
                  <a:pt x="3143985" y="2375469"/>
                  <a:pt x="2719080" y="1976975"/>
                  <a:pt x="3708400" y="2700867"/>
                </a:cubicBezTo>
                <a:cubicBezTo>
                  <a:pt x="4055533" y="2954867"/>
                  <a:pt x="4378721" y="3245339"/>
                  <a:pt x="4749800" y="3462867"/>
                </a:cubicBezTo>
                <a:cubicBezTo>
                  <a:pt x="5101041" y="3668766"/>
                  <a:pt x="4921040" y="3547802"/>
                  <a:pt x="5283200" y="3835400"/>
                </a:cubicBezTo>
                <a:cubicBezTo>
                  <a:pt x="5312482" y="3893964"/>
                  <a:pt x="5338370" y="3922255"/>
                  <a:pt x="5334000" y="3987800"/>
                </a:cubicBezTo>
                <a:cubicBezTo>
                  <a:pt x="5327126" y="4090909"/>
                  <a:pt x="5214193" y="4146449"/>
                  <a:pt x="5139267" y="4191000"/>
                </a:cubicBezTo>
                <a:cubicBezTo>
                  <a:pt x="5075178" y="4229107"/>
                  <a:pt x="5011485" y="4268248"/>
                  <a:pt x="4944534" y="4301067"/>
                </a:cubicBezTo>
                <a:cubicBezTo>
                  <a:pt x="4720357" y="4410958"/>
                  <a:pt x="4666325" y="4420780"/>
                  <a:pt x="4411134" y="4470400"/>
                </a:cubicBezTo>
                <a:cubicBezTo>
                  <a:pt x="4307292" y="4490591"/>
                  <a:pt x="4203208" y="4511498"/>
                  <a:pt x="4097867" y="4521200"/>
                </a:cubicBezTo>
                <a:cubicBezTo>
                  <a:pt x="3988228" y="4531298"/>
                  <a:pt x="3877734" y="4526845"/>
                  <a:pt x="3767667" y="4529667"/>
                </a:cubicBezTo>
                <a:cubicBezTo>
                  <a:pt x="3418782" y="4517636"/>
                  <a:pt x="3185388" y="4628725"/>
                  <a:pt x="2946400" y="4453467"/>
                </a:cubicBezTo>
                <a:cubicBezTo>
                  <a:pt x="2930307" y="4441666"/>
                  <a:pt x="2918178" y="4425245"/>
                  <a:pt x="2904067" y="4411134"/>
                </a:cubicBezTo>
                <a:cubicBezTo>
                  <a:pt x="2813130" y="4198945"/>
                  <a:pt x="2857809" y="4327927"/>
                  <a:pt x="2912534" y="3835400"/>
                </a:cubicBezTo>
                <a:cubicBezTo>
                  <a:pt x="2937363" y="3611942"/>
                  <a:pt x="3149054" y="3254426"/>
                  <a:pt x="3225800" y="3141134"/>
                </a:cubicBezTo>
                <a:cubicBezTo>
                  <a:pt x="3285067" y="3053645"/>
                  <a:pt x="3337032" y="2960737"/>
                  <a:pt x="3403600" y="2878667"/>
                </a:cubicBezTo>
                <a:cubicBezTo>
                  <a:pt x="3543418" y="2706289"/>
                  <a:pt x="3679958" y="2528790"/>
                  <a:pt x="3843867" y="2379134"/>
                </a:cubicBezTo>
                <a:cubicBezTo>
                  <a:pt x="3908778" y="2319867"/>
                  <a:pt x="3975498" y="2262524"/>
                  <a:pt x="4038600" y="2201334"/>
                </a:cubicBezTo>
                <a:cubicBezTo>
                  <a:pt x="4068720" y="2172127"/>
                  <a:pt x="4094916" y="2139128"/>
                  <a:pt x="4123267" y="2108200"/>
                </a:cubicBezTo>
                <a:cubicBezTo>
                  <a:pt x="4149915" y="2079130"/>
                  <a:pt x="4171762" y="2079965"/>
                  <a:pt x="4055534" y="2159000"/>
                </a:cubicBezTo>
                <a:cubicBezTo>
                  <a:pt x="4011500" y="2188943"/>
                  <a:pt x="3967128" y="2218752"/>
                  <a:pt x="3920067" y="2243667"/>
                </a:cubicBezTo>
                <a:cubicBezTo>
                  <a:pt x="3775057" y="2320437"/>
                  <a:pt x="3626192" y="2389700"/>
                  <a:pt x="3479800" y="2463800"/>
                </a:cubicBezTo>
                <a:cubicBezTo>
                  <a:pt x="3246871" y="2581702"/>
                  <a:pt x="3256502" y="2595030"/>
                  <a:pt x="3022600" y="2667000"/>
                </a:cubicBezTo>
                <a:cubicBezTo>
                  <a:pt x="2961048" y="2685939"/>
                  <a:pt x="2630272" y="2768605"/>
                  <a:pt x="2565400" y="2777067"/>
                </a:cubicBezTo>
                <a:cubicBezTo>
                  <a:pt x="2447563" y="2792437"/>
                  <a:pt x="2328298" y="2793524"/>
                  <a:pt x="2209800" y="2802467"/>
                </a:cubicBezTo>
                <a:cubicBezTo>
                  <a:pt x="2178716" y="2804813"/>
                  <a:pt x="2147711" y="2808112"/>
                  <a:pt x="2116667" y="2810934"/>
                </a:cubicBezTo>
                <a:cubicBezTo>
                  <a:pt x="2088779" y="2755157"/>
                  <a:pt x="2088435" y="2779712"/>
                  <a:pt x="2150534" y="2709334"/>
                </a:cubicBezTo>
                <a:cubicBezTo>
                  <a:pt x="2234696" y="2613951"/>
                  <a:pt x="2406074" y="2482055"/>
                  <a:pt x="2480734" y="2429934"/>
                </a:cubicBezTo>
                <a:cubicBezTo>
                  <a:pt x="3340853" y="1829473"/>
                  <a:pt x="2586232" y="2363857"/>
                  <a:pt x="3200400" y="1913467"/>
                </a:cubicBezTo>
                <a:cubicBezTo>
                  <a:pt x="3442312" y="1736065"/>
                  <a:pt x="3536897" y="1694801"/>
                  <a:pt x="3759200" y="1447800"/>
                </a:cubicBezTo>
                <a:cubicBezTo>
                  <a:pt x="3852287" y="1344371"/>
                  <a:pt x="3818420" y="1397094"/>
                  <a:pt x="3869267" y="1295400"/>
                </a:cubicBezTo>
                <a:cubicBezTo>
                  <a:pt x="3850388" y="1238761"/>
                  <a:pt x="3865124" y="1232485"/>
                  <a:pt x="3793067" y="1236134"/>
                </a:cubicBezTo>
                <a:cubicBezTo>
                  <a:pt x="3589638" y="1246434"/>
                  <a:pt x="3386667" y="1264356"/>
                  <a:pt x="3183467" y="1278467"/>
                </a:cubicBezTo>
                <a:cubicBezTo>
                  <a:pt x="3002845" y="1320800"/>
                  <a:pt x="2818402" y="1349274"/>
                  <a:pt x="2641600" y="1405467"/>
                </a:cubicBezTo>
                <a:cubicBezTo>
                  <a:pt x="2613726" y="1414326"/>
                  <a:pt x="2004412" y="1649832"/>
                  <a:pt x="1854200" y="1735667"/>
                </a:cubicBezTo>
                <a:lnTo>
                  <a:pt x="1676400" y="1837267"/>
                </a:lnTo>
                <a:cubicBezTo>
                  <a:pt x="1645356" y="1873956"/>
                  <a:pt x="1613290" y="1909805"/>
                  <a:pt x="1583267" y="1947334"/>
                </a:cubicBezTo>
                <a:cubicBezTo>
                  <a:pt x="1568101" y="1966292"/>
                  <a:pt x="1546201" y="1982901"/>
                  <a:pt x="1540934" y="2006600"/>
                </a:cubicBezTo>
                <a:cubicBezTo>
                  <a:pt x="1534172" y="2037030"/>
                  <a:pt x="1535459" y="2071852"/>
                  <a:pt x="1549400" y="2099734"/>
                </a:cubicBezTo>
                <a:cubicBezTo>
                  <a:pt x="1562817" y="2126567"/>
                  <a:pt x="1593976" y="2139928"/>
                  <a:pt x="1617134" y="2159000"/>
                </a:cubicBezTo>
                <a:cubicBezTo>
                  <a:pt x="1663733" y="2197375"/>
                  <a:pt x="1790886" y="2292905"/>
                  <a:pt x="1828800" y="2311400"/>
                </a:cubicBezTo>
                <a:cubicBezTo>
                  <a:pt x="2011659" y="2400599"/>
                  <a:pt x="2202133" y="2473292"/>
                  <a:pt x="2387600" y="2556934"/>
                </a:cubicBezTo>
                <a:cubicBezTo>
                  <a:pt x="2490024" y="2603125"/>
                  <a:pt x="2588980" y="2656949"/>
                  <a:pt x="2692400" y="2700867"/>
                </a:cubicBezTo>
                <a:cubicBezTo>
                  <a:pt x="2898422" y="2788356"/>
                  <a:pt x="3108492" y="2866868"/>
                  <a:pt x="3310467" y="2963334"/>
                </a:cubicBezTo>
                <a:cubicBezTo>
                  <a:pt x="3487089" y="3047691"/>
                  <a:pt x="3655833" y="3147678"/>
                  <a:pt x="3826934" y="3242734"/>
                </a:cubicBezTo>
                <a:cubicBezTo>
                  <a:pt x="4021077" y="3350591"/>
                  <a:pt x="4100977" y="3383241"/>
                  <a:pt x="4241800" y="3547534"/>
                </a:cubicBezTo>
                <a:cubicBezTo>
                  <a:pt x="4276454" y="3587964"/>
                  <a:pt x="4298245" y="3637845"/>
                  <a:pt x="4326467" y="3683000"/>
                </a:cubicBezTo>
                <a:cubicBezTo>
                  <a:pt x="4332111" y="3716867"/>
                  <a:pt x="4349367" y="3750789"/>
                  <a:pt x="4343400" y="3784600"/>
                </a:cubicBezTo>
                <a:cubicBezTo>
                  <a:pt x="4323526" y="3897221"/>
                  <a:pt x="4293060" y="4008747"/>
                  <a:pt x="4250267" y="4114800"/>
                </a:cubicBezTo>
                <a:cubicBezTo>
                  <a:pt x="4227421" y="4171418"/>
                  <a:pt x="4184577" y="4217823"/>
                  <a:pt x="4148667" y="4267200"/>
                </a:cubicBezTo>
                <a:cubicBezTo>
                  <a:pt x="4018337" y="4446403"/>
                  <a:pt x="3837672" y="4615943"/>
                  <a:pt x="3674534" y="4749800"/>
                </a:cubicBezTo>
                <a:lnTo>
                  <a:pt x="3344334" y="5020734"/>
                </a:lnTo>
                <a:cubicBezTo>
                  <a:pt x="3332028" y="5031031"/>
                  <a:pt x="3229650" y="5121755"/>
                  <a:pt x="3208867" y="5147734"/>
                </a:cubicBezTo>
                <a:cubicBezTo>
                  <a:pt x="3200983" y="5157589"/>
                  <a:pt x="3197578" y="5170311"/>
                  <a:pt x="3191934" y="5181600"/>
                </a:cubicBezTo>
                <a:cubicBezTo>
                  <a:pt x="3236322" y="5192698"/>
                  <a:pt x="3232246" y="5200554"/>
                  <a:pt x="3276600" y="5156200"/>
                </a:cubicBezTo>
                <a:cubicBezTo>
                  <a:pt x="3360263" y="5072537"/>
                  <a:pt x="3351099" y="5078325"/>
                  <a:pt x="3386667" y="4995334"/>
                </a:cubicBezTo>
                <a:cubicBezTo>
                  <a:pt x="3378200" y="4907845"/>
                  <a:pt x="3378505" y="4819058"/>
                  <a:pt x="3361267" y="4732867"/>
                </a:cubicBezTo>
                <a:cubicBezTo>
                  <a:pt x="3351752" y="4685290"/>
                  <a:pt x="3238643" y="4473839"/>
                  <a:pt x="3225800" y="4453467"/>
                </a:cubicBezTo>
                <a:cubicBezTo>
                  <a:pt x="3050152" y="4174852"/>
                  <a:pt x="2813131" y="3925553"/>
                  <a:pt x="2599267" y="3683000"/>
                </a:cubicBezTo>
                <a:cubicBezTo>
                  <a:pt x="2571684" y="3651717"/>
                  <a:pt x="2221637" y="3272960"/>
                  <a:pt x="2167467" y="3234267"/>
                </a:cubicBezTo>
                <a:cubicBezTo>
                  <a:pt x="2027761" y="3134476"/>
                  <a:pt x="2085800" y="3181199"/>
                  <a:pt x="1989667" y="3098800"/>
                </a:cubicBezTo>
                <a:cubicBezTo>
                  <a:pt x="1992489" y="3090333"/>
                  <a:pt x="1992655" y="3080445"/>
                  <a:pt x="1998134" y="3073400"/>
                </a:cubicBezTo>
                <a:cubicBezTo>
                  <a:pt x="2060445" y="2993286"/>
                  <a:pt x="2067298" y="3021414"/>
                  <a:pt x="2184400" y="2988734"/>
                </a:cubicBezTo>
                <a:cubicBezTo>
                  <a:pt x="2544516" y="2888236"/>
                  <a:pt x="2290918" y="2934564"/>
                  <a:pt x="2717800" y="2887134"/>
                </a:cubicBezTo>
                <a:lnTo>
                  <a:pt x="4580467" y="2895600"/>
                </a:lnTo>
                <a:cubicBezTo>
                  <a:pt x="4738932" y="2896904"/>
                  <a:pt x="4728144" y="2897345"/>
                  <a:pt x="4834467" y="2912534"/>
                </a:cubicBezTo>
                <a:cubicBezTo>
                  <a:pt x="4803423" y="2926645"/>
                  <a:pt x="4774083" y="2945359"/>
                  <a:pt x="4741334" y="2954867"/>
                </a:cubicBezTo>
                <a:cubicBezTo>
                  <a:pt x="4632405" y="2986491"/>
                  <a:pt x="4342137" y="3020659"/>
                  <a:pt x="4267200" y="3031067"/>
                </a:cubicBezTo>
                <a:lnTo>
                  <a:pt x="2175934" y="3022600"/>
                </a:lnTo>
                <a:cubicBezTo>
                  <a:pt x="1986769" y="3020793"/>
                  <a:pt x="1797427" y="3018158"/>
                  <a:pt x="1608667" y="3005667"/>
                </a:cubicBezTo>
                <a:cubicBezTo>
                  <a:pt x="1413361" y="2992742"/>
                  <a:pt x="1219566" y="2962134"/>
                  <a:pt x="1024467" y="2946400"/>
                </a:cubicBezTo>
                <a:cubicBezTo>
                  <a:pt x="869517" y="2933904"/>
                  <a:pt x="714022" y="2929467"/>
                  <a:pt x="558800" y="2921000"/>
                </a:cubicBezTo>
                <a:cubicBezTo>
                  <a:pt x="284652" y="2878823"/>
                  <a:pt x="264246" y="2893123"/>
                  <a:pt x="42334" y="2810934"/>
                </a:cubicBezTo>
                <a:cubicBezTo>
                  <a:pt x="26902" y="2805218"/>
                  <a:pt x="14111" y="2794001"/>
                  <a:pt x="0" y="2785534"/>
                </a:cubicBezTo>
                <a:cubicBezTo>
                  <a:pt x="90311" y="2734734"/>
                  <a:pt x="172633" y="2665901"/>
                  <a:pt x="270934" y="2633134"/>
                </a:cubicBezTo>
                <a:cubicBezTo>
                  <a:pt x="372534" y="2599267"/>
                  <a:pt x="471575" y="2556442"/>
                  <a:pt x="575734" y="2531534"/>
                </a:cubicBezTo>
                <a:cubicBezTo>
                  <a:pt x="1114704" y="2402650"/>
                  <a:pt x="1583061" y="2410670"/>
                  <a:pt x="2159000" y="2362200"/>
                </a:cubicBezTo>
                <a:cubicBezTo>
                  <a:pt x="2359640" y="2345314"/>
                  <a:pt x="2559964" y="2324692"/>
                  <a:pt x="2760134" y="2302934"/>
                </a:cubicBezTo>
                <a:cubicBezTo>
                  <a:pt x="3070934" y="2269151"/>
                  <a:pt x="3533112" y="2215956"/>
                  <a:pt x="3843867" y="2150534"/>
                </a:cubicBezTo>
                <a:cubicBezTo>
                  <a:pt x="3995257" y="2118662"/>
                  <a:pt x="4144153" y="2075566"/>
                  <a:pt x="4292600" y="2032000"/>
                </a:cubicBezTo>
                <a:cubicBezTo>
                  <a:pt x="4783704" y="1887872"/>
                  <a:pt x="4455544" y="1947022"/>
                  <a:pt x="4792134" y="1896534"/>
                </a:cubicBezTo>
                <a:cubicBezTo>
                  <a:pt x="4649057" y="1991919"/>
                  <a:pt x="4778282" y="1914893"/>
                  <a:pt x="4546600" y="2006600"/>
                </a:cubicBezTo>
                <a:cubicBezTo>
                  <a:pt x="4466661" y="2038242"/>
                  <a:pt x="4389684" y="2077097"/>
                  <a:pt x="4309534" y="2108200"/>
                </a:cubicBezTo>
                <a:cubicBezTo>
                  <a:pt x="4200512" y="2150507"/>
                  <a:pt x="4088158" y="2183918"/>
                  <a:pt x="3979334" y="2226734"/>
                </a:cubicBezTo>
                <a:cubicBezTo>
                  <a:pt x="3743774" y="2319413"/>
                  <a:pt x="3519219" y="2442392"/>
                  <a:pt x="3276600" y="2514600"/>
                </a:cubicBezTo>
                <a:cubicBezTo>
                  <a:pt x="2471502" y="2754213"/>
                  <a:pt x="2807662" y="2676389"/>
                  <a:pt x="2277534" y="2785534"/>
                </a:cubicBezTo>
                <a:cubicBezTo>
                  <a:pt x="2187223" y="2777067"/>
                  <a:pt x="2077669" y="2816499"/>
                  <a:pt x="2006600" y="2760134"/>
                </a:cubicBezTo>
                <a:cubicBezTo>
                  <a:pt x="1938262" y="2705935"/>
                  <a:pt x="2077660" y="2520354"/>
                  <a:pt x="2099734" y="2480734"/>
                </a:cubicBezTo>
                <a:cubicBezTo>
                  <a:pt x="2188858" y="2320768"/>
                  <a:pt x="2259498" y="2149741"/>
                  <a:pt x="2362200" y="1998134"/>
                </a:cubicBezTo>
                <a:cubicBezTo>
                  <a:pt x="2421467" y="1910645"/>
                  <a:pt x="2475760" y="1819572"/>
                  <a:pt x="2540000" y="1735667"/>
                </a:cubicBezTo>
                <a:cubicBezTo>
                  <a:pt x="2747726" y="1464351"/>
                  <a:pt x="2775146" y="1495788"/>
                  <a:pt x="2937934" y="1227667"/>
                </a:cubicBezTo>
                <a:cubicBezTo>
                  <a:pt x="2985755" y="1148903"/>
                  <a:pt x="3020421" y="1062814"/>
                  <a:pt x="3064934" y="982134"/>
                </a:cubicBezTo>
                <a:cubicBezTo>
                  <a:pt x="3110764" y="899067"/>
                  <a:pt x="3160889" y="818445"/>
                  <a:pt x="3208867" y="736600"/>
                </a:cubicBezTo>
                <a:cubicBezTo>
                  <a:pt x="3212510" y="696526"/>
                  <a:pt x="3226225" y="619130"/>
                  <a:pt x="3208867" y="575734"/>
                </a:cubicBezTo>
                <a:cubicBezTo>
                  <a:pt x="3200363" y="554473"/>
                  <a:pt x="3140904" y="551707"/>
                  <a:pt x="3132667" y="550334"/>
                </a:cubicBezTo>
                <a:cubicBezTo>
                  <a:pt x="3045178" y="558801"/>
                  <a:pt x="2955584" y="554862"/>
                  <a:pt x="2870200" y="575734"/>
                </a:cubicBezTo>
                <a:cubicBezTo>
                  <a:pt x="2825995" y="586540"/>
                  <a:pt x="2791937" y="622272"/>
                  <a:pt x="2751667" y="643467"/>
                </a:cubicBezTo>
                <a:cubicBezTo>
                  <a:pt x="2602321" y="722070"/>
                  <a:pt x="2480528" y="766864"/>
                  <a:pt x="2345267" y="872067"/>
                </a:cubicBezTo>
                <a:cubicBezTo>
                  <a:pt x="2280663" y="922315"/>
                  <a:pt x="2219863" y="978525"/>
                  <a:pt x="2167467" y="1041400"/>
                </a:cubicBezTo>
                <a:cubicBezTo>
                  <a:pt x="2061787" y="1168216"/>
                  <a:pt x="1962327" y="1346080"/>
                  <a:pt x="1896534" y="1498600"/>
                </a:cubicBezTo>
                <a:cubicBezTo>
                  <a:pt x="1866832" y="1567455"/>
                  <a:pt x="1845734" y="1639711"/>
                  <a:pt x="1820334" y="1710267"/>
                </a:cubicBezTo>
                <a:cubicBezTo>
                  <a:pt x="1859845" y="1938867"/>
                  <a:pt x="1872757" y="2173697"/>
                  <a:pt x="1938867" y="2396067"/>
                </a:cubicBezTo>
                <a:cubicBezTo>
                  <a:pt x="1967426" y="2492130"/>
                  <a:pt x="2033379" y="2574962"/>
                  <a:pt x="2099734" y="2650067"/>
                </a:cubicBezTo>
                <a:cubicBezTo>
                  <a:pt x="2291327" y="2866925"/>
                  <a:pt x="2499115" y="3069278"/>
                  <a:pt x="2709334" y="3268134"/>
                </a:cubicBezTo>
                <a:cubicBezTo>
                  <a:pt x="2813756" y="3366912"/>
                  <a:pt x="2911669" y="3473060"/>
                  <a:pt x="3022600" y="3564467"/>
                </a:cubicBezTo>
                <a:cubicBezTo>
                  <a:pt x="3362775" y="3844771"/>
                  <a:pt x="3799412" y="4188318"/>
                  <a:pt x="4199467" y="4419600"/>
                </a:cubicBezTo>
                <a:cubicBezTo>
                  <a:pt x="5014748" y="4890935"/>
                  <a:pt x="4592122" y="4645170"/>
                  <a:pt x="5105400" y="4868334"/>
                </a:cubicBezTo>
                <a:cubicBezTo>
                  <a:pt x="5294944" y="4950744"/>
                  <a:pt x="5179617" y="4923816"/>
                  <a:pt x="5283200" y="4944534"/>
                </a:cubicBezTo>
                <a:cubicBezTo>
                  <a:pt x="5162941" y="4964576"/>
                  <a:pt x="5156661" y="4971180"/>
                  <a:pt x="4969934" y="4910667"/>
                </a:cubicBezTo>
                <a:cubicBezTo>
                  <a:pt x="4223468" y="4668757"/>
                  <a:pt x="4507676" y="4717454"/>
                  <a:pt x="3937000" y="4478867"/>
                </a:cubicBezTo>
                <a:cubicBezTo>
                  <a:pt x="3647996" y="4358041"/>
                  <a:pt x="2753597" y="3986333"/>
                  <a:pt x="2311400" y="3852334"/>
                </a:cubicBezTo>
                <a:cubicBezTo>
                  <a:pt x="2017184" y="3763177"/>
                  <a:pt x="1722038" y="3675569"/>
                  <a:pt x="1422400" y="3606800"/>
                </a:cubicBezTo>
                <a:cubicBezTo>
                  <a:pt x="883757" y="3483177"/>
                  <a:pt x="1081201" y="3510176"/>
                  <a:pt x="838200" y="3479800"/>
                </a:cubicBezTo>
                <a:cubicBezTo>
                  <a:pt x="860778" y="3460045"/>
                  <a:pt x="879555" y="3434823"/>
                  <a:pt x="905934" y="3420534"/>
                </a:cubicBezTo>
                <a:cubicBezTo>
                  <a:pt x="982413" y="3379108"/>
                  <a:pt x="1280605" y="3300475"/>
                  <a:pt x="1312334" y="3293534"/>
                </a:cubicBezTo>
                <a:cubicBezTo>
                  <a:pt x="1582143" y="3234513"/>
                  <a:pt x="1852907" y="3179281"/>
                  <a:pt x="2125134" y="3132667"/>
                </a:cubicBezTo>
                <a:cubicBezTo>
                  <a:pt x="2265219" y="3108680"/>
                  <a:pt x="2407249" y="3097881"/>
                  <a:pt x="2548467" y="3081867"/>
                </a:cubicBezTo>
                <a:cubicBezTo>
                  <a:pt x="3025912" y="3027724"/>
                  <a:pt x="2865388" y="3042981"/>
                  <a:pt x="3344334" y="3022600"/>
                </a:cubicBezTo>
                <a:cubicBezTo>
                  <a:pt x="3423356" y="3014133"/>
                  <a:pt x="3502593" y="3007479"/>
                  <a:pt x="3581400" y="2997200"/>
                </a:cubicBezTo>
                <a:cubicBezTo>
                  <a:pt x="3632468" y="2990539"/>
                  <a:pt x="3683130" y="2981013"/>
                  <a:pt x="3733800" y="2971800"/>
                </a:cubicBezTo>
                <a:cubicBezTo>
                  <a:pt x="3745249" y="2969718"/>
                  <a:pt x="3779303" y="2963334"/>
                  <a:pt x="3767667" y="2963334"/>
                </a:cubicBezTo>
                <a:cubicBezTo>
                  <a:pt x="3747711" y="2963334"/>
                  <a:pt x="3728056" y="2968352"/>
                  <a:pt x="3708400" y="2971800"/>
                </a:cubicBezTo>
                <a:cubicBezTo>
                  <a:pt x="3567178" y="2996576"/>
                  <a:pt x="3427800" y="3034406"/>
                  <a:pt x="3285067" y="3048000"/>
                </a:cubicBezTo>
                <a:cubicBezTo>
                  <a:pt x="3166534" y="3059289"/>
                  <a:pt x="3048385" y="3075854"/>
                  <a:pt x="2929467" y="3081867"/>
                </a:cubicBezTo>
                <a:cubicBezTo>
                  <a:pt x="2545875" y="3101262"/>
                  <a:pt x="1778000" y="3124200"/>
                  <a:pt x="1778000" y="3124200"/>
                </a:cubicBezTo>
                <a:cubicBezTo>
                  <a:pt x="1687689" y="3110089"/>
                  <a:pt x="1543074" y="3165883"/>
                  <a:pt x="1507067" y="3081867"/>
                </a:cubicBezTo>
                <a:cubicBezTo>
                  <a:pt x="1476479" y="3010496"/>
                  <a:pt x="1652383" y="3026449"/>
                  <a:pt x="1727200" y="3005667"/>
                </a:cubicBezTo>
                <a:cubicBezTo>
                  <a:pt x="1855813" y="2969941"/>
                  <a:pt x="1985229" y="2935809"/>
                  <a:pt x="2116667" y="2912534"/>
                </a:cubicBezTo>
                <a:cubicBezTo>
                  <a:pt x="2490077" y="2846409"/>
                  <a:pt x="2722896" y="2855712"/>
                  <a:pt x="3115734" y="2844800"/>
                </a:cubicBezTo>
                <a:lnTo>
                  <a:pt x="3759200" y="2827867"/>
                </a:lnTo>
                <a:cubicBezTo>
                  <a:pt x="4250267" y="2833511"/>
                  <a:pt x="4741574" y="2828439"/>
                  <a:pt x="5232400" y="2844800"/>
                </a:cubicBezTo>
                <a:cubicBezTo>
                  <a:pt x="5252740" y="2845478"/>
                  <a:pt x="5274098" y="2860464"/>
                  <a:pt x="5283200" y="2878667"/>
                </a:cubicBezTo>
                <a:cubicBezTo>
                  <a:pt x="5304624" y="2921515"/>
                  <a:pt x="5215908" y="2998739"/>
                  <a:pt x="5207000" y="3005667"/>
                </a:cubicBezTo>
                <a:cubicBezTo>
                  <a:pt x="5082348" y="3102619"/>
                  <a:pt x="4883039" y="3184804"/>
                  <a:pt x="4758267" y="3259667"/>
                </a:cubicBezTo>
                <a:cubicBezTo>
                  <a:pt x="4138282" y="3631658"/>
                  <a:pt x="4440376" y="3590620"/>
                  <a:pt x="3403600" y="3953934"/>
                </a:cubicBezTo>
                <a:cubicBezTo>
                  <a:pt x="3073400" y="4069645"/>
                  <a:pt x="2735830" y="4166153"/>
                  <a:pt x="2413000" y="4301067"/>
                </a:cubicBezTo>
                <a:cubicBezTo>
                  <a:pt x="2223911" y="4380089"/>
                  <a:pt x="2025647" y="4440000"/>
                  <a:pt x="1845734" y="4538134"/>
                </a:cubicBezTo>
                <a:cubicBezTo>
                  <a:pt x="1814689" y="4555067"/>
                  <a:pt x="1784597" y="4573877"/>
                  <a:pt x="1752600" y="4588934"/>
                </a:cubicBezTo>
                <a:cubicBezTo>
                  <a:pt x="1736450" y="4596534"/>
                  <a:pt x="1714421" y="4618489"/>
                  <a:pt x="1701800" y="4605867"/>
                </a:cubicBezTo>
                <a:cubicBezTo>
                  <a:pt x="1690164" y="4594230"/>
                  <a:pt x="1731639" y="4591177"/>
                  <a:pt x="1744134" y="4580467"/>
                </a:cubicBezTo>
                <a:cubicBezTo>
                  <a:pt x="1791129" y="4540186"/>
                  <a:pt x="1831596" y="4492540"/>
                  <a:pt x="1879600" y="4453467"/>
                </a:cubicBezTo>
                <a:cubicBezTo>
                  <a:pt x="1953145" y="4393605"/>
                  <a:pt x="2038659" y="4348604"/>
                  <a:pt x="2108200" y="4284134"/>
                </a:cubicBezTo>
                <a:cubicBezTo>
                  <a:pt x="2310157" y="4096903"/>
                  <a:pt x="2476876" y="3871374"/>
                  <a:pt x="2692400" y="3699934"/>
                </a:cubicBezTo>
                <a:cubicBezTo>
                  <a:pt x="4390442" y="2349219"/>
                  <a:pt x="2490678" y="3870555"/>
                  <a:pt x="4165600" y="2497667"/>
                </a:cubicBezTo>
                <a:cubicBezTo>
                  <a:pt x="4277268" y="2406135"/>
                  <a:pt x="4602440" y="2152309"/>
                  <a:pt x="4741334" y="2074334"/>
                </a:cubicBezTo>
                <a:cubicBezTo>
                  <a:pt x="4807596" y="2037134"/>
                  <a:pt x="4953000" y="1989667"/>
                  <a:pt x="4953000" y="1989667"/>
                </a:cubicBezTo>
                <a:cubicBezTo>
                  <a:pt x="4965396" y="2126022"/>
                  <a:pt x="4971238" y="2068468"/>
                  <a:pt x="4919134" y="2235200"/>
                </a:cubicBezTo>
                <a:cubicBezTo>
                  <a:pt x="4849241" y="2458857"/>
                  <a:pt x="4807646" y="2573018"/>
                  <a:pt x="4707467" y="2794000"/>
                </a:cubicBezTo>
                <a:cubicBezTo>
                  <a:pt x="4580171" y="3074801"/>
                  <a:pt x="4527695" y="3181079"/>
                  <a:pt x="4343400" y="3429000"/>
                </a:cubicBezTo>
                <a:cubicBezTo>
                  <a:pt x="4056783" y="3814568"/>
                  <a:pt x="3896626" y="4049588"/>
                  <a:pt x="3572934" y="4343400"/>
                </a:cubicBezTo>
                <a:cubicBezTo>
                  <a:pt x="3480891" y="4426947"/>
                  <a:pt x="3379447" y="4499570"/>
                  <a:pt x="3285067" y="4580467"/>
                </a:cubicBezTo>
                <a:cubicBezTo>
                  <a:pt x="3221357" y="4635075"/>
                  <a:pt x="3166662" y="4700446"/>
                  <a:pt x="3098800" y="4749800"/>
                </a:cubicBezTo>
                <a:cubicBezTo>
                  <a:pt x="2959792" y="4850896"/>
                  <a:pt x="2938689" y="4845364"/>
                  <a:pt x="2802467" y="4876800"/>
                </a:cubicBezTo>
                <a:cubicBezTo>
                  <a:pt x="2734734" y="4862689"/>
                  <a:pt x="2664125" y="4858557"/>
                  <a:pt x="2599267" y="4834467"/>
                </a:cubicBezTo>
                <a:cubicBezTo>
                  <a:pt x="2512319" y="4802172"/>
                  <a:pt x="2420575" y="4662274"/>
                  <a:pt x="2379134" y="4605867"/>
                </a:cubicBezTo>
                <a:cubicBezTo>
                  <a:pt x="2267772" y="4454291"/>
                  <a:pt x="2142686" y="4280457"/>
                  <a:pt x="2065867" y="4106334"/>
                </a:cubicBezTo>
                <a:cubicBezTo>
                  <a:pt x="2018664" y="3999340"/>
                  <a:pt x="1986845" y="3886201"/>
                  <a:pt x="1947334" y="3776134"/>
                </a:cubicBezTo>
                <a:cubicBezTo>
                  <a:pt x="1916289" y="3561645"/>
                  <a:pt x="1879866" y="3347866"/>
                  <a:pt x="1854200" y="3132667"/>
                </a:cubicBezTo>
                <a:cubicBezTo>
                  <a:pt x="1825676" y="2893508"/>
                  <a:pt x="1839230" y="2621757"/>
                  <a:pt x="1845734" y="2387600"/>
                </a:cubicBezTo>
                <a:cubicBezTo>
                  <a:pt x="1847068" y="2339558"/>
                  <a:pt x="1843393" y="2290497"/>
                  <a:pt x="1854200" y="2243667"/>
                </a:cubicBezTo>
                <a:cubicBezTo>
                  <a:pt x="1858946" y="2223101"/>
                  <a:pt x="1893873" y="2160774"/>
                  <a:pt x="1921934" y="2142067"/>
                </a:cubicBezTo>
                <a:cubicBezTo>
                  <a:pt x="1929360" y="2137116"/>
                  <a:pt x="1938867" y="2136422"/>
                  <a:pt x="1947334" y="2133600"/>
                </a:cubicBezTo>
                <a:cubicBezTo>
                  <a:pt x="1967089" y="2139245"/>
                  <a:pt x="1989505" y="2139137"/>
                  <a:pt x="2006600" y="2150534"/>
                </a:cubicBezTo>
                <a:cubicBezTo>
                  <a:pt x="2033167" y="2168246"/>
                  <a:pt x="2052342" y="2195118"/>
                  <a:pt x="2074334" y="2218267"/>
                </a:cubicBezTo>
                <a:cubicBezTo>
                  <a:pt x="2159596" y="2308016"/>
                  <a:pt x="2242200" y="2400287"/>
                  <a:pt x="2328334" y="2489200"/>
                </a:cubicBezTo>
                <a:cubicBezTo>
                  <a:pt x="2417200" y="2580933"/>
                  <a:pt x="2518390" y="2661285"/>
                  <a:pt x="2599267" y="2760134"/>
                </a:cubicBezTo>
                <a:cubicBezTo>
                  <a:pt x="2802467" y="3008489"/>
                  <a:pt x="3019104" y="3246432"/>
                  <a:pt x="3208867" y="3505200"/>
                </a:cubicBezTo>
                <a:cubicBezTo>
                  <a:pt x="4403978" y="5134896"/>
                  <a:pt x="3194173" y="3538371"/>
                  <a:pt x="4224867" y="4775200"/>
                </a:cubicBezTo>
                <a:cubicBezTo>
                  <a:pt x="4323645" y="4893733"/>
                  <a:pt x="4275667" y="4848577"/>
                  <a:pt x="4360334" y="4919134"/>
                </a:cubicBezTo>
                <a:cubicBezTo>
                  <a:pt x="4337756" y="4924778"/>
                  <a:pt x="4315873" y="4936067"/>
                  <a:pt x="4292600" y="4936067"/>
                </a:cubicBezTo>
                <a:cubicBezTo>
                  <a:pt x="4211260" y="4936067"/>
                  <a:pt x="4114786" y="4893727"/>
                  <a:pt x="4047067" y="4859867"/>
                </a:cubicBezTo>
                <a:cubicBezTo>
                  <a:pt x="3980377" y="4826522"/>
                  <a:pt x="3914179" y="4791450"/>
                  <a:pt x="3852334" y="4749800"/>
                </a:cubicBezTo>
                <a:cubicBezTo>
                  <a:pt x="3735485" y="4671106"/>
                  <a:pt x="3450369" y="4435555"/>
                  <a:pt x="3369734" y="4343400"/>
                </a:cubicBezTo>
                <a:cubicBezTo>
                  <a:pt x="3229228" y="4182821"/>
                  <a:pt x="3110089" y="4004733"/>
                  <a:pt x="2980267" y="3835400"/>
                </a:cubicBezTo>
                <a:cubicBezTo>
                  <a:pt x="2923209" y="3645207"/>
                  <a:pt x="2876101" y="3564726"/>
                  <a:pt x="2895600" y="3369734"/>
                </a:cubicBezTo>
                <a:cubicBezTo>
                  <a:pt x="2908435" y="3241383"/>
                  <a:pt x="2923118" y="3111296"/>
                  <a:pt x="2963334" y="2988734"/>
                </a:cubicBezTo>
                <a:cubicBezTo>
                  <a:pt x="2999123" y="2879663"/>
                  <a:pt x="3203926" y="2691276"/>
                  <a:pt x="3276600" y="2641600"/>
                </a:cubicBezTo>
                <a:cubicBezTo>
                  <a:pt x="3424857" y="2540260"/>
                  <a:pt x="3578229" y="2443753"/>
                  <a:pt x="3742267" y="2370667"/>
                </a:cubicBezTo>
                <a:cubicBezTo>
                  <a:pt x="4007844" y="2252341"/>
                  <a:pt x="4245978" y="2244465"/>
                  <a:pt x="4529667" y="2226734"/>
                </a:cubicBezTo>
                <a:cubicBezTo>
                  <a:pt x="4667802" y="2218101"/>
                  <a:pt x="4806245" y="2215445"/>
                  <a:pt x="4944534" y="2209800"/>
                </a:cubicBezTo>
                <a:cubicBezTo>
                  <a:pt x="5071534" y="2218267"/>
                  <a:pt x="5200530" y="2211227"/>
                  <a:pt x="5325534" y="2235200"/>
                </a:cubicBezTo>
                <a:cubicBezTo>
                  <a:pt x="5496752" y="2268037"/>
                  <a:pt x="5568056" y="2332085"/>
                  <a:pt x="5698067" y="2421467"/>
                </a:cubicBezTo>
                <a:cubicBezTo>
                  <a:pt x="5845345" y="2647293"/>
                  <a:pt x="5813284" y="2539606"/>
                  <a:pt x="5842000" y="2726267"/>
                </a:cubicBezTo>
                <a:cubicBezTo>
                  <a:pt x="5827889" y="2816578"/>
                  <a:pt x="5831186" y="2911399"/>
                  <a:pt x="5799667" y="2997200"/>
                </a:cubicBezTo>
                <a:cubicBezTo>
                  <a:pt x="5778841" y="3053894"/>
                  <a:pt x="5733407" y="3099554"/>
                  <a:pt x="5689600" y="3141134"/>
                </a:cubicBezTo>
                <a:cubicBezTo>
                  <a:pt x="5522705" y="3299544"/>
                  <a:pt x="5297547" y="3520454"/>
                  <a:pt x="5054600" y="3589867"/>
                </a:cubicBezTo>
                <a:cubicBezTo>
                  <a:pt x="4863544" y="3644454"/>
                  <a:pt x="4665133" y="3668889"/>
                  <a:pt x="4470400" y="3708400"/>
                </a:cubicBezTo>
                <a:cubicBezTo>
                  <a:pt x="4343400" y="3688645"/>
                  <a:pt x="4213678" y="3681911"/>
                  <a:pt x="4089400" y="3649134"/>
                </a:cubicBezTo>
                <a:cubicBezTo>
                  <a:pt x="3822183" y="3578659"/>
                  <a:pt x="3537993" y="3438455"/>
                  <a:pt x="3310467" y="3285067"/>
                </a:cubicBezTo>
                <a:cubicBezTo>
                  <a:pt x="2972638" y="3057318"/>
                  <a:pt x="2527257" y="2605352"/>
                  <a:pt x="2277534" y="2362200"/>
                </a:cubicBezTo>
                <a:cubicBezTo>
                  <a:pt x="1939435" y="2032999"/>
                  <a:pt x="2031896" y="2138514"/>
                  <a:pt x="1811867" y="1786467"/>
                </a:cubicBezTo>
                <a:cubicBezTo>
                  <a:pt x="1794934" y="1701800"/>
                  <a:pt x="1754445" y="1618556"/>
                  <a:pt x="1761067" y="1532467"/>
                </a:cubicBezTo>
                <a:cubicBezTo>
                  <a:pt x="1769008" y="1429231"/>
                  <a:pt x="1808724" y="1329154"/>
                  <a:pt x="1854200" y="1236134"/>
                </a:cubicBezTo>
                <a:cubicBezTo>
                  <a:pt x="1872627" y="1198442"/>
                  <a:pt x="1909808" y="1170230"/>
                  <a:pt x="1947334" y="1151467"/>
                </a:cubicBezTo>
                <a:cubicBezTo>
                  <a:pt x="2057291" y="1096489"/>
                  <a:pt x="2192212" y="1084678"/>
                  <a:pt x="2311400" y="1066800"/>
                </a:cubicBezTo>
                <a:lnTo>
                  <a:pt x="2802467" y="1075267"/>
                </a:lnTo>
                <a:cubicBezTo>
                  <a:pt x="2889638" y="1084182"/>
                  <a:pt x="2976576" y="1107005"/>
                  <a:pt x="3056467" y="1143000"/>
                </a:cubicBezTo>
                <a:cubicBezTo>
                  <a:pt x="3331885" y="1267089"/>
                  <a:pt x="3595169" y="1387709"/>
                  <a:pt x="3784600" y="1625600"/>
                </a:cubicBezTo>
                <a:cubicBezTo>
                  <a:pt x="3899063" y="1769344"/>
                  <a:pt x="3957813" y="1926903"/>
                  <a:pt x="4030134" y="2091267"/>
                </a:cubicBezTo>
                <a:cubicBezTo>
                  <a:pt x="4045238" y="2483995"/>
                  <a:pt x="4070110" y="2496013"/>
                  <a:pt x="3818467" y="3022600"/>
                </a:cubicBezTo>
                <a:cubicBezTo>
                  <a:pt x="3769413" y="3125249"/>
                  <a:pt x="3663815" y="3189707"/>
                  <a:pt x="3581400" y="3268134"/>
                </a:cubicBezTo>
                <a:cubicBezTo>
                  <a:pt x="3443855" y="3399024"/>
                  <a:pt x="3184045" y="3626219"/>
                  <a:pt x="3014134" y="3725334"/>
                </a:cubicBezTo>
                <a:cubicBezTo>
                  <a:pt x="2909423" y="3786415"/>
                  <a:pt x="2798247" y="3837388"/>
                  <a:pt x="2683934" y="3877734"/>
                </a:cubicBezTo>
                <a:cubicBezTo>
                  <a:pt x="2377743" y="3985802"/>
                  <a:pt x="2250836" y="3984528"/>
                  <a:pt x="1938867" y="4021667"/>
                </a:cubicBezTo>
                <a:cubicBezTo>
                  <a:pt x="1746956" y="4001911"/>
                  <a:pt x="1551702" y="4003172"/>
                  <a:pt x="1363134" y="3962400"/>
                </a:cubicBezTo>
                <a:cubicBezTo>
                  <a:pt x="1333296" y="3955949"/>
                  <a:pt x="1309171" y="3916563"/>
                  <a:pt x="1312334" y="3886200"/>
                </a:cubicBezTo>
                <a:cubicBezTo>
                  <a:pt x="1324182" y="3772455"/>
                  <a:pt x="1363286" y="3662297"/>
                  <a:pt x="1405467" y="3556000"/>
                </a:cubicBezTo>
                <a:cubicBezTo>
                  <a:pt x="1508902" y="3295343"/>
                  <a:pt x="1930556" y="2886791"/>
                  <a:pt x="2057400" y="2810934"/>
                </a:cubicBezTo>
                <a:cubicBezTo>
                  <a:pt x="2345267" y="2638778"/>
                  <a:pt x="2619920" y="2442303"/>
                  <a:pt x="2921000" y="2294467"/>
                </a:cubicBezTo>
                <a:cubicBezTo>
                  <a:pt x="3094046" y="2209498"/>
                  <a:pt x="3285241" y="2167004"/>
                  <a:pt x="3471334" y="2116667"/>
                </a:cubicBezTo>
                <a:cubicBezTo>
                  <a:pt x="3906110" y="1999064"/>
                  <a:pt x="3903326" y="2017536"/>
                  <a:pt x="4301067" y="1998134"/>
                </a:cubicBezTo>
                <a:cubicBezTo>
                  <a:pt x="4466195" y="2019440"/>
                  <a:pt x="4568996" y="2003434"/>
                  <a:pt x="4699000" y="2099734"/>
                </a:cubicBezTo>
                <a:cubicBezTo>
                  <a:pt x="4735917" y="2127080"/>
                  <a:pt x="4761089" y="2167467"/>
                  <a:pt x="4792134" y="2201334"/>
                </a:cubicBezTo>
                <a:cubicBezTo>
                  <a:pt x="4817534" y="2266245"/>
                  <a:pt x="4851428" y="2328445"/>
                  <a:pt x="4868334" y="2396067"/>
                </a:cubicBezTo>
                <a:cubicBezTo>
                  <a:pt x="4936361" y="2668174"/>
                  <a:pt x="4785898" y="3092035"/>
                  <a:pt x="4707467" y="3268134"/>
                </a:cubicBezTo>
                <a:cubicBezTo>
                  <a:pt x="4666764" y="3359524"/>
                  <a:pt x="4243875" y="3778407"/>
                  <a:pt x="4165600" y="3852334"/>
                </a:cubicBezTo>
                <a:cubicBezTo>
                  <a:pt x="3953599" y="4052557"/>
                  <a:pt x="3766835" y="4286397"/>
                  <a:pt x="3522134" y="4445000"/>
                </a:cubicBezTo>
                <a:cubicBezTo>
                  <a:pt x="3354560" y="4553613"/>
                  <a:pt x="2844611" y="4898105"/>
                  <a:pt x="2641600" y="4978400"/>
                </a:cubicBezTo>
                <a:cubicBezTo>
                  <a:pt x="2159951" y="5168903"/>
                  <a:pt x="2125575" y="5165670"/>
                  <a:pt x="1794934" y="5207000"/>
                </a:cubicBezTo>
                <a:cubicBezTo>
                  <a:pt x="1728972" y="5180616"/>
                  <a:pt x="1719493" y="5192490"/>
                  <a:pt x="1820334" y="5105400"/>
                </a:cubicBezTo>
                <a:cubicBezTo>
                  <a:pt x="2041853" y="4914088"/>
                  <a:pt x="2278193" y="4740254"/>
                  <a:pt x="2497667" y="4546600"/>
                </a:cubicBezTo>
                <a:cubicBezTo>
                  <a:pt x="2593623" y="4461933"/>
                  <a:pt x="2684570" y="4371227"/>
                  <a:pt x="2785534" y="4292600"/>
                </a:cubicBezTo>
                <a:cubicBezTo>
                  <a:pt x="3003758" y="4122655"/>
                  <a:pt x="3250011" y="3987889"/>
                  <a:pt x="3454400" y="3801534"/>
                </a:cubicBezTo>
                <a:cubicBezTo>
                  <a:pt x="4078146" y="3232825"/>
                  <a:pt x="3815797" y="3423252"/>
                  <a:pt x="4191000" y="3166534"/>
                </a:cubicBezTo>
                <a:cubicBezTo>
                  <a:pt x="4210756" y="3138312"/>
                  <a:pt x="4250267" y="3116317"/>
                  <a:pt x="4250267" y="3081867"/>
                </a:cubicBezTo>
                <a:cubicBezTo>
                  <a:pt x="4250267" y="3061321"/>
                  <a:pt x="4211546" y="3064934"/>
                  <a:pt x="4191000" y="3064934"/>
                </a:cubicBezTo>
                <a:cubicBezTo>
                  <a:pt x="4117406" y="3064934"/>
                  <a:pt x="4044245" y="3076223"/>
                  <a:pt x="3970867" y="3081867"/>
                </a:cubicBezTo>
                <a:cubicBezTo>
                  <a:pt x="3556000" y="3062111"/>
                  <a:pt x="3140626" y="3051087"/>
                  <a:pt x="2726267" y="3022600"/>
                </a:cubicBezTo>
                <a:cubicBezTo>
                  <a:pt x="2687971" y="3019967"/>
                  <a:pt x="2652142" y="3002212"/>
                  <a:pt x="2616200" y="2988734"/>
                </a:cubicBezTo>
                <a:cubicBezTo>
                  <a:pt x="2560546" y="2967864"/>
                  <a:pt x="2529523" y="2955562"/>
                  <a:pt x="2489200" y="2921000"/>
                </a:cubicBezTo>
                <a:cubicBezTo>
                  <a:pt x="2480109" y="2913208"/>
                  <a:pt x="2472267" y="2904067"/>
                  <a:pt x="2463800" y="2895600"/>
                </a:cubicBezTo>
                <a:cubicBezTo>
                  <a:pt x="2475779" y="2787796"/>
                  <a:pt x="2456917" y="2821738"/>
                  <a:pt x="2556934" y="2726267"/>
                </a:cubicBezTo>
                <a:cubicBezTo>
                  <a:pt x="2650864" y="2636607"/>
                  <a:pt x="2740917" y="2541711"/>
                  <a:pt x="2844800" y="2463800"/>
                </a:cubicBezTo>
                <a:cubicBezTo>
                  <a:pt x="2883340" y="2434896"/>
                  <a:pt x="2937212" y="2396788"/>
                  <a:pt x="2971800" y="2362200"/>
                </a:cubicBezTo>
                <a:cubicBezTo>
                  <a:pt x="2978995" y="2355005"/>
                  <a:pt x="2983089" y="2345267"/>
                  <a:pt x="2988734" y="2336800"/>
                </a:cubicBezTo>
                <a:cubicBezTo>
                  <a:pt x="2748845" y="2331156"/>
                  <a:pt x="2508205" y="2339658"/>
                  <a:pt x="2269067" y="2319867"/>
                </a:cubicBezTo>
                <a:cubicBezTo>
                  <a:pt x="2097983" y="2305708"/>
                  <a:pt x="1761067" y="2235200"/>
                  <a:pt x="1761067" y="2235200"/>
                </a:cubicBezTo>
                <a:cubicBezTo>
                  <a:pt x="1701800" y="2212622"/>
                  <a:pt x="1634558" y="2204770"/>
                  <a:pt x="1583267" y="2167467"/>
                </a:cubicBezTo>
                <a:cubicBezTo>
                  <a:pt x="1558128" y="2149184"/>
                  <a:pt x="1581302" y="2058548"/>
                  <a:pt x="1591734" y="2040467"/>
                </a:cubicBezTo>
                <a:cubicBezTo>
                  <a:pt x="1631626" y="1971322"/>
                  <a:pt x="1717963" y="1852824"/>
                  <a:pt x="1778000" y="1786467"/>
                </a:cubicBezTo>
                <a:cubicBezTo>
                  <a:pt x="1847274" y="1709901"/>
                  <a:pt x="1914101" y="1655188"/>
                  <a:pt x="1998134" y="1591734"/>
                </a:cubicBezTo>
                <a:cubicBezTo>
                  <a:pt x="2090036" y="1522339"/>
                  <a:pt x="2177213" y="1445079"/>
                  <a:pt x="2277534" y="1388534"/>
                </a:cubicBezTo>
                <a:cubicBezTo>
                  <a:pt x="2334295" y="1356542"/>
                  <a:pt x="2401151" y="1347167"/>
                  <a:pt x="2463800" y="1329267"/>
                </a:cubicBezTo>
                <a:cubicBezTo>
                  <a:pt x="2549105" y="1304894"/>
                  <a:pt x="2596722" y="1300351"/>
                  <a:pt x="2683934" y="1286934"/>
                </a:cubicBezTo>
                <a:cubicBezTo>
                  <a:pt x="3031276" y="1356402"/>
                  <a:pt x="2897951" y="1308054"/>
                  <a:pt x="3369734" y="1794934"/>
                </a:cubicBezTo>
                <a:cubicBezTo>
                  <a:pt x="3696618" y="2132279"/>
                  <a:pt x="3902087" y="2425933"/>
                  <a:pt x="4123267" y="2819400"/>
                </a:cubicBezTo>
                <a:cubicBezTo>
                  <a:pt x="4312001" y="3155148"/>
                  <a:pt x="4505248" y="3488983"/>
                  <a:pt x="4673600" y="3835400"/>
                </a:cubicBezTo>
                <a:cubicBezTo>
                  <a:pt x="4799141" y="4093726"/>
                  <a:pt x="4893024" y="4366273"/>
                  <a:pt x="5003800" y="4631267"/>
                </a:cubicBezTo>
                <a:cubicBezTo>
                  <a:pt x="5036959" y="4710589"/>
                  <a:pt x="5072202" y="4789028"/>
                  <a:pt x="5105400" y="4868334"/>
                </a:cubicBezTo>
                <a:cubicBezTo>
                  <a:pt x="5123006" y="4910392"/>
                  <a:pt x="5147258" y="4950625"/>
                  <a:pt x="5156200" y="4995334"/>
                </a:cubicBezTo>
                <a:cubicBezTo>
                  <a:pt x="5161845" y="5023556"/>
                  <a:pt x="5201626" y="5075930"/>
                  <a:pt x="5173134" y="5080000"/>
                </a:cubicBezTo>
                <a:cubicBezTo>
                  <a:pt x="5123156" y="5087140"/>
                  <a:pt x="5082823" y="5034845"/>
                  <a:pt x="5037667" y="5012267"/>
                </a:cubicBezTo>
                <a:cubicBezTo>
                  <a:pt x="3707713" y="3431379"/>
                  <a:pt x="4548562" y="4515500"/>
                  <a:pt x="3505200" y="2980267"/>
                </a:cubicBezTo>
                <a:cubicBezTo>
                  <a:pt x="3326506" y="2717331"/>
                  <a:pt x="3083355" y="2492122"/>
                  <a:pt x="2954867" y="2201334"/>
                </a:cubicBezTo>
                <a:lnTo>
                  <a:pt x="2794000" y="1837267"/>
                </a:lnTo>
                <a:cubicBezTo>
                  <a:pt x="2791178" y="1817511"/>
                  <a:pt x="2771423" y="1792111"/>
                  <a:pt x="2785534" y="1778000"/>
                </a:cubicBezTo>
                <a:cubicBezTo>
                  <a:pt x="2798156" y="1765379"/>
                  <a:pt x="2822299" y="1783906"/>
                  <a:pt x="2836334" y="1794934"/>
                </a:cubicBezTo>
                <a:cubicBezTo>
                  <a:pt x="2863056" y="1815930"/>
                  <a:pt x="2880037" y="1847104"/>
                  <a:pt x="2904067" y="1871134"/>
                </a:cubicBezTo>
                <a:cubicBezTo>
                  <a:pt x="2950655" y="1917722"/>
                  <a:pt x="3002857" y="1958610"/>
                  <a:pt x="3048000" y="2006600"/>
                </a:cubicBezTo>
                <a:cubicBezTo>
                  <a:pt x="3316222" y="2291736"/>
                  <a:pt x="3579622" y="2581374"/>
                  <a:pt x="3843867" y="2870200"/>
                </a:cubicBezTo>
                <a:cubicBezTo>
                  <a:pt x="4088571" y="3137667"/>
                  <a:pt x="4145812" y="3215448"/>
                  <a:pt x="4385734" y="3462867"/>
                </a:cubicBezTo>
                <a:cubicBezTo>
                  <a:pt x="4482981" y="3563152"/>
                  <a:pt x="4594478" y="3650378"/>
                  <a:pt x="4682067" y="3759200"/>
                </a:cubicBezTo>
                <a:lnTo>
                  <a:pt x="4961467" y="4106334"/>
                </a:lnTo>
                <a:cubicBezTo>
                  <a:pt x="4936067" y="4109156"/>
                  <a:pt x="4909232" y="4123676"/>
                  <a:pt x="4885267" y="4114800"/>
                </a:cubicBezTo>
                <a:cubicBezTo>
                  <a:pt x="4829438" y="4094123"/>
                  <a:pt x="4782714" y="4054220"/>
                  <a:pt x="4732867" y="4021667"/>
                </a:cubicBezTo>
                <a:cubicBezTo>
                  <a:pt x="4644390" y="3963886"/>
                  <a:pt x="4553814" y="3908744"/>
                  <a:pt x="4470400" y="3843867"/>
                </a:cubicBezTo>
                <a:cubicBezTo>
                  <a:pt x="4070996" y="3533220"/>
                  <a:pt x="3703879" y="3179540"/>
                  <a:pt x="3285067" y="2895600"/>
                </a:cubicBezTo>
                <a:cubicBezTo>
                  <a:pt x="3118556" y="2782711"/>
                  <a:pt x="2940969" y="2684643"/>
                  <a:pt x="2785534" y="2556934"/>
                </a:cubicBezTo>
                <a:cubicBezTo>
                  <a:pt x="2417924" y="2254897"/>
                  <a:pt x="2075338" y="1923623"/>
                  <a:pt x="1718734" y="1608667"/>
                </a:cubicBezTo>
                <a:cubicBezTo>
                  <a:pt x="1688670" y="1582114"/>
                  <a:pt x="1653963" y="1560831"/>
                  <a:pt x="1625600" y="1532467"/>
                </a:cubicBezTo>
                <a:cubicBezTo>
                  <a:pt x="1614311" y="1521178"/>
                  <a:pt x="1606013" y="1505740"/>
                  <a:pt x="1591734" y="1498600"/>
                </a:cubicBezTo>
                <a:cubicBezTo>
                  <a:pt x="1582633" y="1494049"/>
                  <a:pt x="1601472" y="1516805"/>
                  <a:pt x="1608667" y="1524000"/>
                </a:cubicBezTo>
                <a:cubicBezTo>
                  <a:pt x="1683469" y="1598802"/>
                  <a:pt x="1769795" y="1662658"/>
                  <a:pt x="1837267" y="1744134"/>
                </a:cubicBezTo>
                <a:cubicBezTo>
                  <a:pt x="1930808" y="1857089"/>
                  <a:pt x="2712142" y="2789333"/>
                  <a:pt x="2760134" y="2895600"/>
                </a:cubicBezTo>
                <a:lnTo>
                  <a:pt x="2997200" y="3420534"/>
                </a:lnTo>
                <a:cubicBezTo>
                  <a:pt x="3039831" y="3664691"/>
                  <a:pt x="3146630" y="3875918"/>
                  <a:pt x="3056467" y="4106334"/>
                </a:cubicBezTo>
                <a:cubicBezTo>
                  <a:pt x="3049195" y="4124918"/>
                  <a:pt x="3028245" y="4134556"/>
                  <a:pt x="3014134" y="4148667"/>
                </a:cubicBezTo>
                <a:cubicBezTo>
                  <a:pt x="3029518" y="4102511"/>
                  <a:pt x="3030876" y="4092315"/>
                  <a:pt x="3073400" y="4038600"/>
                </a:cubicBezTo>
                <a:cubicBezTo>
                  <a:pt x="3106867" y="3996325"/>
                  <a:pt x="3148639" y="3961228"/>
                  <a:pt x="3183467" y="3920067"/>
                </a:cubicBezTo>
                <a:cubicBezTo>
                  <a:pt x="3241831" y="3851091"/>
                  <a:pt x="3291318" y="3774612"/>
                  <a:pt x="3352800" y="3708400"/>
                </a:cubicBezTo>
                <a:cubicBezTo>
                  <a:pt x="3562086" y="3483015"/>
                  <a:pt x="4124475" y="2908206"/>
                  <a:pt x="4385734" y="2743200"/>
                </a:cubicBezTo>
                <a:cubicBezTo>
                  <a:pt x="4897849" y="2419759"/>
                  <a:pt x="4683750" y="2484546"/>
                  <a:pt x="4969934" y="2413000"/>
                </a:cubicBezTo>
                <a:cubicBezTo>
                  <a:pt x="5097867" y="2540934"/>
                  <a:pt x="5113579" y="2513198"/>
                  <a:pt x="4876800" y="2768600"/>
                </a:cubicBezTo>
                <a:cubicBezTo>
                  <a:pt x="3983861" y="3731770"/>
                  <a:pt x="4369360" y="3345253"/>
                  <a:pt x="3589867" y="4097867"/>
                </a:cubicBezTo>
                <a:cubicBezTo>
                  <a:pt x="3522376" y="4163030"/>
                  <a:pt x="3468676" y="4247039"/>
                  <a:pt x="3386667" y="4292600"/>
                </a:cubicBezTo>
                <a:cubicBezTo>
                  <a:pt x="3361267" y="4306711"/>
                  <a:pt x="3335213" y="4319705"/>
                  <a:pt x="3310467" y="4334934"/>
                </a:cubicBezTo>
                <a:cubicBezTo>
                  <a:pt x="3298449" y="4342330"/>
                  <a:pt x="3272137" y="4373721"/>
                  <a:pt x="3276600" y="4360334"/>
                </a:cubicBezTo>
                <a:cubicBezTo>
                  <a:pt x="3283571" y="4339423"/>
                  <a:pt x="3303858" y="4325615"/>
                  <a:pt x="3318934" y="4309534"/>
                </a:cubicBezTo>
                <a:cubicBezTo>
                  <a:pt x="3473220" y="4144962"/>
                  <a:pt x="3628797" y="3981603"/>
                  <a:pt x="3784600" y="3818467"/>
                </a:cubicBezTo>
                <a:cubicBezTo>
                  <a:pt x="4159342" y="3426089"/>
                  <a:pt x="3914245" y="3686521"/>
                  <a:pt x="4284134" y="3310467"/>
                </a:cubicBezTo>
                <a:cubicBezTo>
                  <a:pt x="4372307" y="3220824"/>
                  <a:pt x="4459756" y="3130465"/>
                  <a:pt x="4546600" y="3039534"/>
                </a:cubicBezTo>
                <a:cubicBezTo>
                  <a:pt x="4699648" y="2879284"/>
                  <a:pt x="4839090" y="2705172"/>
                  <a:pt x="5003800" y="2556934"/>
                </a:cubicBezTo>
                <a:cubicBezTo>
                  <a:pt x="5106267" y="2464714"/>
                  <a:pt x="5061619" y="2507582"/>
                  <a:pt x="5139267" y="2429934"/>
                </a:cubicBezTo>
                <a:cubicBezTo>
                  <a:pt x="5098501" y="2389165"/>
                  <a:pt x="5118997" y="2400559"/>
                  <a:pt x="5012267" y="2429934"/>
                </a:cubicBezTo>
                <a:cubicBezTo>
                  <a:pt x="4740163" y="2504825"/>
                  <a:pt x="4470830" y="2589468"/>
                  <a:pt x="4199467" y="2667000"/>
                </a:cubicBezTo>
                <a:cubicBezTo>
                  <a:pt x="3704804" y="2808332"/>
                  <a:pt x="3583413" y="2839281"/>
                  <a:pt x="2997200" y="2929467"/>
                </a:cubicBezTo>
                <a:cubicBezTo>
                  <a:pt x="2888092" y="2946253"/>
                  <a:pt x="2777067" y="2946400"/>
                  <a:pt x="2667000" y="2954867"/>
                </a:cubicBezTo>
                <a:cubicBezTo>
                  <a:pt x="2510067" y="2981924"/>
                  <a:pt x="2345921" y="3027499"/>
                  <a:pt x="2184400" y="2988734"/>
                </a:cubicBezTo>
                <a:cubicBezTo>
                  <a:pt x="2168398" y="2984894"/>
                  <a:pt x="2199980" y="2959606"/>
                  <a:pt x="2209800" y="2946400"/>
                </a:cubicBezTo>
                <a:cubicBezTo>
                  <a:pt x="2363721" y="2739404"/>
                  <a:pt x="2521723" y="2535461"/>
                  <a:pt x="2675467" y="2328334"/>
                </a:cubicBezTo>
                <a:cubicBezTo>
                  <a:pt x="2753720" y="2222911"/>
                  <a:pt x="2882445" y="2044009"/>
                  <a:pt x="2937934" y="1921934"/>
                </a:cubicBezTo>
                <a:cubicBezTo>
                  <a:pt x="2976349" y="1837421"/>
                  <a:pt x="3031067" y="1659467"/>
                  <a:pt x="3031067" y="1659467"/>
                </a:cubicBezTo>
                <a:cubicBezTo>
                  <a:pt x="2967685" y="1574957"/>
                  <a:pt x="2996194" y="1589488"/>
                  <a:pt x="2844800" y="1761067"/>
                </a:cubicBezTo>
                <a:lnTo>
                  <a:pt x="2717800" y="1905000"/>
                </a:lnTo>
                <a:cubicBezTo>
                  <a:pt x="2695222" y="1972733"/>
                  <a:pt x="2648836" y="2036813"/>
                  <a:pt x="2650067" y="2108200"/>
                </a:cubicBezTo>
                <a:cubicBezTo>
                  <a:pt x="2651778" y="2207446"/>
                  <a:pt x="2688684" y="2304197"/>
                  <a:pt x="2726267" y="2396067"/>
                </a:cubicBezTo>
                <a:cubicBezTo>
                  <a:pt x="2740643" y="2431209"/>
                  <a:pt x="2771570" y="2458665"/>
                  <a:pt x="2802467" y="2480734"/>
                </a:cubicBezTo>
                <a:cubicBezTo>
                  <a:pt x="2893430" y="2545707"/>
                  <a:pt x="3133704" y="2636443"/>
                  <a:pt x="3217334" y="2667000"/>
                </a:cubicBezTo>
                <a:cubicBezTo>
                  <a:pt x="3425250" y="2742969"/>
                  <a:pt x="3631532" y="2824571"/>
                  <a:pt x="3843867" y="2887134"/>
                </a:cubicBezTo>
                <a:cubicBezTo>
                  <a:pt x="3948470" y="2917954"/>
                  <a:pt x="4058783" y="2924451"/>
                  <a:pt x="4165600" y="2946400"/>
                </a:cubicBezTo>
                <a:cubicBezTo>
                  <a:pt x="4446469" y="3004113"/>
                  <a:pt x="4661578" y="3063748"/>
                  <a:pt x="4944534" y="3158067"/>
                </a:cubicBezTo>
                <a:cubicBezTo>
                  <a:pt x="5056783" y="3195483"/>
                  <a:pt x="5057413" y="3205230"/>
                  <a:pt x="5130800" y="3268134"/>
                </a:cubicBezTo>
                <a:cubicBezTo>
                  <a:pt x="5144911" y="3299178"/>
                  <a:pt x="5165736" y="3327978"/>
                  <a:pt x="5173134" y="3361267"/>
                </a:cubicBezTo>
                <a:cubicBezTo>
                  <a:pt x="5177463" y="3380748"/>
                  <a:pt x="5176314" y="3404329"/>
                  <a:pt x="5164667" y="3420534"/>
                </a:cubicBezTo>
                <a:cubicBezTo>
                  <a:pt x="5109814" y="3496851"/>
                  <a:pt x="5046702" y="3567641"/>
                  <a:pt x="4978400" y="3632200"/>
                </a:cubicBezTo>
                <a:cubicBezTo>
                  <a:pt x="4840249" y="3762781"/>
                  <a:pt x="4698218" y="3890065"/>
                  <a:pt x="4546600" y="4004734"/>
                </a:cubicBezTo>
                <a:cubicBezTo>
                  <a:pt x="4361803" y="4144497"/>
                  <a:pt x="4174342" y="4283379"/>
                  <a:pt x="3970867" y="4394200"/>
                </a:cubicBezTo>
                <a:cubicBezTo>
                  <a:pt x="3728555" y="4526173"/>
                  <a:pt x="3465233" y="4541024"/>
                  <a:pt x="3200400" y="4580467"/>
                </a:cubicBezTo>
                <a:cubicBezTo>
                  <a:pt x="2867378" y="4574823"/>
                  <a:pt x="2533821" y="4583237"/>
                  <a:pt x="2201334" y="4563534"/>
                </a:cubicBezTo>
                <a:cubicBezTo>
                  <a:pt x="2150545" y="4560524"/>
                  <a:pt x="2101399" y="4538282"/>
                  <a:pt x="2057400" y="4512734"/>
                </a:cubicBezTo>
                <a:cubicBezTo>
                  <a:pt x="2012397" y="4486603"/>
                  <a:pt x="1978378" y="4445001"/>
                  <a:pt x="1938867" y="4411134"/>
                </a:cubicBezTo>
                <a:cubicBezTo>
                  <a:pt x="1995311" y="4250267"/>
                  <a:pt x="2028662" y="4079325"/>
                  <a:pt x="2108200" y="3928534"/>
                </a:cubicBezTo>
                <a:cubicBezTo>
                  <a:pt x="2149904" y="3849470"/>
                  <a:pt x="2525970" y="3433438"/>
                  <a:pt x="2599267" y="3378200"/>
                </a:cubicBezTo>
                <a:cubicBezTo>
                  <a:pt x="2817718" y="3213570"/>
                  <a:pt x="3436017" y="2737210"/>
                  <a:pt x="3843867" y="2616200"/>
                </a:cubicBezTo>
                <a:cubicBezTo>
                  <a:pt x="3987138" y="2573691"/>
                  <a:pt x="4137378" y="2559756"/>
                  <a:pt x="4284134" y="2531534"/>
                </a:cubicBezTo>
                <a:cubicBezTo>
                  <a:pt x="4315178" y="2534356"/>
                  <a:pt x="4347845" y="2529702"/>
                  <a:pt x="4377267" y="2540000"/>
                </a:cubicBezTo>
                <a:cubicBezTo>
                  <a:pt x="4457358" y="2568032"/>
                  <a:pt x="4490935" y="2613352"/>
                  <a:pt x="4436534" y="2700867"/>
                </a:cubicBezTo>
                <a:cubicBezTo>
                  <a:pt x="4321442" y="2886015"/>
                  <a:pt x="4225162" y="2936090"/>
                  <a:pt x="4038600" y="3031067"/>
                </a:cubicBezTo>
                <a:cubicBezTo>
                  <a:pt x="3732004" y="3187152"/>
                  <a:pt x="3509240" y="3237795"/>
                  <a:pt x="3132667" y="3310467"/>
                </a:cubicBezTo>
                <a:cubicBezTo>
                  <a:pt x="3032754" y="3329748"/>
                  <a:pt x="2929467" y="3321756"/>
                  <a:pt x="2827867" y="3327400"/>
                </a:cubicBezTo>
                <a:cubicBezTo>
                  <a:pt x="2542823" y="3276600"/>
                  <a:pt x="2255439" y="3237521"/>
                  <a:pt x="1972734" y="3175000"/>
                </a:cubicBezTo>
                <a:cubicBezTo>
                  <a:pt x="1956666" y="3171447"/>
                  <a:pt x="1945228" y="3148988"/>
                  <a:pt x="1947334" y="3132667"/>
                </a:cubicBezTo>
                <a:cubicBezTo>
                  <a:pt x="1956156" y="3064299"/>
                  <a:pt x="2019062" y="2839664"/>
                  <a:pt x="2074334" y="2768600"/>
                </a:cubicBezTo>
                <a:cubicBezTo>
                  <a:pt x="2220548" y="2580611"/>
                  <a:pt x="2379242" y="2402447"/>
                  <a:pt x="2540000" y="2226734"/>
                </a:cubicBezTo>
                <a:cubicBezTo>
                  <a:pt x="2622182" y="2136907"/>
                  <a:pt x="2711712" y="2053890"/>
                  <a:pt x="2802467" y="1972734"/>
                </a:cubicBezTo>
                <a:cubicBezTo>
                  <a:pt x="3015282" y="1782429"/>
                  <a:pt x="3381207" y="1439454"/>
                  <a:pt x="3674534" y="1261534"/>
                </a:cubicBezTo>
                <a:cubicBezTo>
                  <a:pt x="3774466" y="1200920"/>
                  <a:pt x="4027766" y="1079434"/>
                  <a:pt x="4148667" y="1032934"/>
                </a:cubicBezTo>
                <a:cubicBezTo>
                  <a:pt x="4184007" y="1019342"/>
                  <a:pt x="4083990" y="1075343"/>
                  <a:pt x="4047067" y="1083734"/>
                </a:cubicBezTo>
                <a:cubicBezTo>
                  <a:pt x="3260569" y="1262483"/>
                  <a:pt x="3417011" y="1236103"/>
                  <a:pt x="2819400" y="1261534"/>
                </a:cubicBezTo>
                <a:cubicBezTo>
                  <a:pt x="2695222" y="1258712"/>
                  <a:pt x="2570767" y="1261839"/>
                  <a:pt x="2446867" y="1253067"/>
                </a:cubicBezTo>
                <a:cubicBezTo>
                  <a:pt x="2002989" y="1221642"/>
                  <a:pt x="1982542" y="1213779"/>
                  <a:pt x="1659467" y="1159934"/>
                </a:cubicBezTo>
                <a:cubicBezTo>
                  <a:pt x="1603023" y="1134534"/>
                  <a:pt x="1540501" y="1119710"/>
                  <a:pt x="1490134" y="1083734"/>
                </a:cubicBezTo>
                <a:cubicBezTo>
                  <a:pt x="1439784" y="1047770"/>
                  <a:pt x="1500454" y="1019598"/>
                  <a:pt x="1515534" y="1007534"/>
                </a:cubicBezTo>
                <a:cubicBezTo>
                  <a:pt x="1532746" y="993764"/>
                  <a:pt x="1546474" y="974762"/>
                  <a:pt x="1566334" y="965200"/>
                </a:cubicBezTo>
                <a:cubicBezTo>
                  <a:pt x="1623477" y="937687"/>
                  <a:pt x="1684867" y="920045"/>
                  <a:pt x="1744134" y="897467"/>
                </a:cubicBezTo>
                <a:cubicBezTo>
                  <a:pt x="1868312" y="911578"/>
                  <a:pt x="2000491" y="893730"/>
                  <a:pt x="2116667" y="939800"/>
                </a:cubicBezTo>
                <a:cubicBezTo>
                  <a:pt x="2334036" y="1025998"/>
                  <a:pt x="2537155" y="1149399"/>
                  <a:pt x="2726267" y="1286934"/>
                </a:cubicBezTo>
                <a:cubicBezTo>
                  <a:pt x="2788356" y="1332089"/>
                  <a:pt x="2861684" y="1364882"/>
                  <a:pt x="2912534" y="1422400"/>
                </a:cubicBezTo>
                <a:cubicBezTo>
                  <a:pt x="3035537" y="1561535"/>
                  <a:pt x="3152246" y="1708961"/>
                  <a:pt x="3242734" y="1871134"/>
                </a:cubicBezTo>
                <a:cubicBezTo>
                  <a:pt x="3370770" y="2100600"/>
                  <a:pt x="3455416" y="2351727"/>
                  <a:pt x="3564467" y="2590800"/>
                </a:cubicBezTo>
                <a:cubicBezTo>
                  <a:pt x="3602184" y="2673487"/>
                  <a:pt x="3648485" y="2752260"/>
                  <a:pt x="3683000" y="2836334"/>
                </a:cubicBezTo>
                <a:cubicBezTo>
                  <a:pt x="3793067" y="3104445"/>
                  <a:pt x="3900499" y="3373653"/>
                  <a:pt x="4013200" y="3640667"/>
                </a:cubicBezTo>
                <a:cubicBezTo>
                  <a:pt x="4411910" y="4585300"/>
                  <a:pt x="4099453" y="3799410"/>
                  <a:pt x="4326467" y="4377267"/>
                </a:cubicBezTo>
                <a:cubicBezTo>
                  <a:pt x="4356613" y="4558141"/>
                  <a:pt x="4360334" y="4540883"/>
                  <a:pt x="4360334" y="4749800"/>
                </a:cubicBezTo>
                <a:cubicBezTo>
                  <a:pt x="4360334" y="4769756"/>
                  <a:pt x="4363375" y="4792763"/>
                  <a:pt x="4351867" y="4809067"/>
                </a:cubicBezTo>
                <a:cubicBezTo>
                  <a:pt x="4327672" y="4843343"/>
                  <a:pt x="4292746" y="4869169"/>
                  <a:pt x="4258734" y="4893734"/>
                </a:cubicBezTo>
                <a:cubicBezTo>
                  <a:pt x="4241310" y="4906318"/>
                  <a:pt x="4220614" y="4915289"/>
                  <a:pt x="4199467" y="4919134"/>
                </a:cubicBezTo>
                <a:cubicBezTo>
                  <a:pt x="4157724" y="4926723"/>
                  <a:pt x="4114800" y="4924778"/>
                  <a:pt x="4072467" y="4927600"/>
                </a:cubicBezTo>
                <a:cubicBezTo>
                  <a:pt x="4049889" y="4921956"/>
                  <a:pt x="4024793" y="4922467"/>
                  <a:pt x="4004734" y="4910667"/>
                </a:cubicBezTo>
                <a:cubicBezTo>
                  <a:pt x="3975442" y="4893437"/>
                  <a:pt x="3952233" y="4867291"/>
                  <a:pt x="3928534" y="4842934"/>
                </a:cubicBezTo>
                <a:cubicBezTo>
                  <a:pt x="3850552" y="4762786"/>
                  <a:pt x="3770506" y="4684145"/>
                  <a:pt x="3699934" y="4597400"/>
                </a:cubicBezTo>
                <a:cubicBezTo>
                  <a:pt x="3574235" y="4442895"/>
                  <a:pt x="3283314" y="3967262"/>
                  <a:pt x="3225800" y="3860800"/>
                </a:cubicBezTo>
                <a:cubicBezTo>
                  <a:pt x="3182457" y="3780570"/>
                  <a:pt x="3158067" y="3691467"/>
                  <a:pt x="3124200" y="3606800"/>
                </a:cubicBezTo>
                <a:cubicBezTo>
                  <a:pt x="3110089" y="3499556"/>
                  <a:pt x="3063221" y="3391616"/>
                  <a:pt x="3081867" y="3285067"/>
                </a:cubicBezTo>
                <a:cubicBezTo>
                  <a:pt x="3157602" y="2852297"/>
                  <a:pt x="3428757" y="2775125"/>
                  <a:pt x="3835400" y="2624667"/>
                </a:cubicBezTo>
                <a:cubicBezTo>
                  <a:pt x="3914850" y="2595271"/>
                  <a:pt x="4004733" y="2619022"/>
                  <a:pt x="4089400" y="2616200"/>
                </a:cubicBezTo>
                <a:cubicBezTo>
                  <a:pt x="4109156" y="2621845"/>
                  <a:pt x="4135514" y="2617350"/>
                  <a:pt x="4148667" y="2633134"/>
                </a:cubicBezTo>
                <a:cubicBezTo>
                  <a:pt x="4167530" y="2655769"/>
                  <a:pt x="4170983" y="2688497"/>
                  <a:pt x="4174067" y="2717800"/>
                </a:cubicBezTo>
                <a:cubicBezTo>
                  <a:pt x="4180672" y="2780546"/>
                  <a:pt x="4142544" y="2870288"/>
                  <a:pt x="4106334" y="2912534"/>
                </a:cubicBezTo>
                <a:cubicBezTo>
                  <a:pt x="3998532" y="3038303"/>
                  <a:pt x="3880298" y="3155109"/>
                  <a:pt x="3759200" y="3268134"/>
                </a:cubicBezTo>
                <a:cubicBezTo>
                  <a:pt x="3495509" y="3514245"/>
                  <a:pt x="3245588" y="3665607"/>
                  <a:pt x="2912534" y="3835400"/>
                </a:cubicBezTo>
                <a:cubicBezTo>
                  <a:pt x="2816297" y="3884462"/>
                  <a:pt x="2712257" y="3918200"/>
                  <a:pt x="2607734" y="3945467"/>
                </a:cubicBezTo>
                <a:cubicBezTo>
                  <a:pt x="2451885" y="3986123"/>
                  <a:pt x="2291645" y="4007556"/>
                  <a:pt x="2133600" y="4038600"/>
                </a:cubicBezTo>
                <a:cubicBezTo>
                  <a:pt x="1994010" y="3968805"/>
                  <a:pt x="1960215" y="3998763"/>
                  <a:pt x="2116667" y="3877734"/>
                </a:cubicBezTo>
                <a:cubicBezTo>
                  <a:pt x="2378289" y="3675347"/>
                  <a:pt x="2637320" y="3468543"/>
                  <a:pt x="2912534" y="3285067"/>
                </a:cubicBezTo>
                <a:cubicBezTo>
                  <a:pt x="3242734" y="3064934"/>
                  <a:pt x="3544172" y="2793892"/>
                  <a:pt x="3903134" y="2624667"/>
                </a:cubicBezTo>
                <a:lnTo>
                  <a:pt x="4495800" y="2345267"/>
                </a:lnTo>
                <a:cubicBezTo>
                  <a:pt x="4356230" y="2484837"/>
                  <a:pt x="4622777" y="2221790"/>
                  <a:pt x="4106334" y="2607734"/>
                </a:cubicBezTo>
                <a:cubicBezTo>
                  <a:pt x="3581401" y="3000023"/>
                  <a:pt x="3099030" y="3456891"/>
                  <a:pt x="2531534" y="3784600"/>
                </a:cubicBezTo>
                <a:cubicBezTo>
                  <a:pt x="2331156" y="3900311"/>
                  <a:pt x="2115509" y="3992899"/>
                  <a:pt x="1930400" y="4131734"/>
                </a:cubicBezTo>
                <a:cubicBezTo>
                  <a:pt x="1919111" y="4140201"/>
                  <a:pt x="1886555" y="4147157"/>
                  <a:pt x="1896534" y="4157134"/>
                </a:cubicBezTo>
                <a:cubicBezTo>
                  <a:pt x="1907281" y="4167880"/>
                  <a:pt x="1925979" y="4148255"/>
                  <a:pt x="1938867" y="4140200"/>
                </a:cubicBezTo>
                <a:cubicBezTo>
                  <a:pt x="1971418" y="4119855"/>
                  <a:pt x="1999802" y="4093367"/>
                  <a:pt x="2032000" y="4072467"/>
                </a:cubicBezTo>
                <a:cubicBezTo>
                  <a:pt x="2352479" y="3864437"/>
                  <a:pt x="2422161" y="3851910"/>
                  <a:pt x="2683934" y="3615267"/>
                </a:cubicBezTo>
                <a:cubicBezTo>
                  <a:pt x="2953509" y="3371571"/>
                  <a:pt x="3215546" y="3119656"/>
                  <a:pt x="3479800" y="2870200"/>
                </a:cubicBezTo>
                <a:cubicBezTo>
                  <a:pt x="3852538" y="2518336"/>
                  <a:pt x="3626157" y="2684306"/>
                  <a:pt x="4089400" y="2396067"/>
                </a:cubicBezTo>
                <a:cubicBezTo>
                  <a:pt x="4100116" y="2389399"/>
                  <a:pt x="4111978" y="2384778"/>
                  <a:pt x="4123267" y="2379134"/>
                </a:cubicBezTo>
                <a:cubicBezTo>
                  <a:pt x="4037057" y="2637769"/>
                  <a:pt x="4118945" y="2408700"/>
                  <a:pt x="3725334" y="2963334"/>
                </a:cubicBezTo>
                <a:cubicBezTo>
                  <a:pt x="3665521" y="3047616"/>
                  <a:pt x="3598643" y="3127507"/>
                  <a:pt x="3547534" y="3217334"/>
                </a:cubicBezTo>
                <a:cubicBezTo>
                  <a:pt x="3235672" y="3765455"/>
                  <a:pt x="3349103" y="3538365"/>
                  <a:pt x="3183467" y="3886200"/>
                </a:cubicBezTo>
                <a:cubicBezTo>
                  <a:pt x="3177823" y="3925711"/>
                  <a:pt x="3159972" y="3965365"/>
                  <a:pt x="3166534" y="4004734"/>
                </a:cubicBezTo>
                <a:cubicBezTo>
                  <a:pt x="3170498" y="4028519"/>
                  <a:pt x="3186086" y="3960393"/>
                  <a:pt x="3191934" y="3937000"/>
                </a:cubicBezTo>
                <a:cubicBezTo>
                  <a:pt x="3200261" y="3903691"/>
                  <a:pt x="3203223" y="3869267"/>
                  <a:pt x="3208867" y="3835400"/>
                </a:cubicBezTo>
                <a:cubicBezTo>
                  <a:pt x="3244964" y="2993133"/>
                  <a:pt x="3188415" y="3292730"/>
                  <a:pt x="3496734" y="2277534"/>
                </a:cubicBezTo>
                <a:cubicBezTo>
                  <a:pt x="3540448" y="2133598"/>
                  <a:pt x="3609270" y="2055906"/>
                  <a:pt x="3708400" y="1947334"/>
                </a:cubicBezTo>
                <a:cubicBezTo>
                  <a:pt x="3723262" y="1931056"/>
                  <a:pt x="3738289" y="1911970"/>
                  <a:pt x="3759200" y="1905000"/>
                </a:cubicBezTo>
                <a:cubicBezTo>
                  <a:pt x="3799716" y="1891494"/>
                  <a:pt x="3843867" y="1893711"/>
                  <a:pt x="3886200" y="1888067"/>
                </a:cubicBezTo>
                <a:cubicBezTo>
                  <a:pt x="3946349" y="1910296"/>
                  <a:pt x="4370927" y="2051058"/>
                  <a:pt x="4478867" y="2133600"/>
                </a:cubicBezTo>
                <a:cubicBezTo>
                  <a:pt x="4717527" y="2316105"/>
                  <a:pt x="5024851" y="2552692"/>
                  <a:pt x="5181600" y="2836334"/>
                </a:cubicBezTo>
                <a:cubicBezTo>
                  <a:pt x="5250072" y="2960235"/>
                  <a:pt x="5294489" y="3095978"/>
                  <a:pt x="5350934" y="3225800"/>
                </a:cubicBezTo>
                <a:cubicBezTo>
                  <a:pt x="5356578" y="3276600"/>
                  <a:pt x="5366679" y="3327101"/>
                  <a:pt x="5367867" y="3378200"/>
                </a:cubicBezTo>
                <a:cubicBezTo>
                  <a:pt x="5371333" y="3527268"/>
                  <a:pt x="5393720" y="3640862"/>
                  <a:pt x="5240867" y="3725334"/>
                </a:cubicBezTo>
                <a:cubicBezTo>
                  <a:pt x="5180311" y="3758799"/>
                  <a:pt x="5105400" y="3753556"/>
                  <a:pt x="5037667" y="3767667"/>
                </a:cubicBezTo>
                <a:cubicBezTo>
                  <a:pt x="4933245" y="3733800"/>
                  <a:pt x="4821929" y="3716457"/>
                  <a:pt x="4724400" y="3666067"/>
                </a:cubicBezTo>
                <a:cubicBezTo>
                  <a:pt x="4649599" y="3627420"/>
                  <a:pt x="4584052" y="3569473"/>
                  <a:pt x="4529667" y="3505200"/>
                </a:cubicBezTo>
                <a:cubicBezTo>
                  <a:pt x="4365598" y="3311300"/>
                  <a:pt x="4206562" y="3111318"/>
                  <a:pt x="4072467" y="2895600"/>
                </a:cubicBezTo>
                <a:cubicBezTo>
                  <a:pt x="3933182" y="2671532"/>
                  <a:pt x="3765691" y="1815028"/>
                  <a:pt x="3750734" y="1752600"/>
                </a:cubicBezTo>
                <a:cubicBezTo>
                  <a:pt x="3720035" y="1414911"/>
                  <a:pt x="3682061" y="1209944"/>
                  <a:pt x="3750734" y="855134"/>
                </a:cubicBezTo>
                <a:cubicBezTo>
                  <a:pt x="3768976" y="760886"/>
                  <a:pt x="3817406" y="673450"/>
                  <a:pt x="3869267" y="592667"/>
                </a:cubicBezTo>
                <a:cubicBezTo>
                  <a:pt x="3988401" y="407093"/>
                  <a:pt x="4133404" y="163297"/>
                  <a:pt x="4351867" y="59267"/>
                </a:cubicBezTo>
                <a:cubicBezTo>
                  <a:pt x="4413127" y="30096"/>
                  <a:pt x="4481689" y="19756"/>
                  <a:pt x="4546600" y="0"/>
                </a:cubicBezTo>
                <a:cubicBezTo>
                  <a:pt x="4583289" y="11289"/>
                  <a:pt x="4633818" y="3021"/>
                  <a:pt x="4656667" y="33867"/>
                </a:cubicBezTo>
                <a:cubicBezTo>
                  <a:pt x="4697054" y="88389"/>
                  <a:pt x="4710220" y="160990"/>
                  <a:pt x="4715934" y="228600"/>
                </a:cubicBezTo>
                <a:cubicBezTo>
                  <a:pt x="4734467" y="447913"/>
                  <a:pt x="4714865" y="744953"/>
                  <a:pt x="4631267" y="956734"/>
                </a:cubicBezTo>
                <a:cubicBezTo>
                  <a:pt x="4471262" y="1362079"/>
                  <a:pt x="4352710" y="1630754"/>
                  <a:pt x="4064000" y="1930400"/>
                </a:cubicBezTo>
                <a:cubicBezTo>
                  <a:pt x="3788425" y="2216414"/>
                  <a:pt x="3439719" y="2436942"/>
                  <a:pt x="3208867" y="2760134"/>
                </a:cubicBezTo>
                <a:cubicBezTo>
                  <a:pt x="3194756" y="2779889"/>
                  <a:pt x="3143191" y="2826070"/>
                  <a:pt x="3166534" y="2819400"/>
                </a:cubicBezTo>
                <a:cubicBezTo>
                  <a:pt x="3226110" y="2802378"/>
                  <a:pt x="3274998" y="2759330"/>
                  <a:pt x="3327400" y="2726267"/>
                </a:cubicBezTo>
                <a:lnTo>
                  <a:pt x="4588934" y="1921934"/>
                </a:lnTo>
                <a:cubicBezTo>
                  <a:pt x="4865552" y="1749436"/>
                  <a:pt x="4898173" y="1764365"/>
                  <a:pt x="5249334" y="1642534"/>
                </a:cubicBezTo>
                <a:cubicBezTo>
                  <a:pt x="5286023" y="1645356"/>
                  <a:pt x="5345390" y="1616975"/>
                  <a:pt x="5359400" y="1651000"/>
                </a:cubicBezTo>
                <a:cubicBezTo>
                  <a:pt x="5383887" y="1710468"/>
                  <a:pt x="5241569" y="1876752"/>
                  <a:pt x="5215467" y="1905000"/>
                </a:cubicBezTo>
                <a:cubicBezTo>
                  <a:pt x="5043416" y="2091192"/>
                  <a:pt x="4869795" y="2276073"/>
                  <a:pt x="4690534" y="2455334"/>
                </a:cubicBezTo>
                <a:cubicBezTo>
                  <a:pt x="4350180" y="2795688"/>
                  <a:pt x="4079963" y="2961976"/>
                  <a:pt x="3606800" y="3217334"/>
                </a:cubicBezTo>
                <a:cubicBezTo>
                  <a:pt x="3351096" y="3355333"/>
                  <a:pt x="3078492" y="3459615"/>
                  <a:pt x="2810934" y="3572934"/>
                </a:cubicBezTo>
                <a:cubicBezTo>
                  <a:pt x="2598598" y="3662864"/>
                  <a:pt x="2381194" y="3740361"/>
                  <a:pt x="2167467" y="3826934"/>
                </a:cubicBezTo>
                <a:cubicBezTo>
                  <a:pt x="2158036" y="3830754"/>
                  <a:pt x="2131891" y="3843867"/>
                  <a:pt x="2142067" y="3843867"/>
                </a:cubicBezTo>
                <a:cubicBezTo>
                  <a:pt x="2157265" y="3843867"/>
                  <a:pt x="2171432" y="3834859"/>
                  <a:pt x="2184400" y="3826934"/>
                </a:cubicBezTo>
                <a:cubicBezTo>
                  <a:pt x="2222476" y="3803665"/>
                  <a:pt x="2256259" y="3773785"/>
                  <a:pt x="2294467" y="3750734"/>
                </a:cubicBezTo>
                <a:cubicBezTo>
                  <a:pt x="2597832" y="3567712"/>
                  <a:pt x="2883450" y="3348977"/>
                  <a:pt x="3208867" y="3208867"/>
                </a:cubicBezTo>
                <a:cubicBezTo>
                  <a:pt x="3925030" y="2900519"/>
                  <a:pt x="3608586" y="3016360"/>
                  <a:pt x="4148667" y="2836334"/>
                </a:cubicBezTo>
                <a:cubicBezTo>
                  <a:pt x="4116018" y="2917958"/>
                  <a:pt x="4139176" y="2883803"/>
                  <a:pt x="4013200" y="2954867"/>
                </a:cubicBezTo>
                <a:cubicBezTo>
                  <a:pt x="3833894" y="3056014"/>
                  <a:pt x="3662311" y="3174329"/>
                  <a:pt x="3471334" y="3251200"/>
                </a:cubicBezTo>
                <a:cubicBezTo>
                  <a:pt x="3269140" y="3332586"/>
                  <a:pt x="2609155" y="3540530"/>
                  <a:pt x="2286000" y="3564467"/>
                </a:cubicBezTo>
                <a:cubicBezTo>
                  <a:pt x="2032631" y="3583235"/>
                  <a:pt x="1778000" y="3575756"/>
                  <a:pt x="1524000" y="3581400"/>
                </a:cubicBezTo>
                <a:cubicBezTo>
                  <a:pt x="1498810" y="3574979"/>
                  <a:pt x="1100727" y="3536733"/>
                  <a:pt x="1007534" y="3403600"/>
                </a:cubicBezTo>
                <a:cubicBezTo>
                  <a:pt x="967726" y="3346731"/>
                  <a:pt x="945445" y="3279423"/>
                  <a:pt x="914400" y="3217334"/>
                </a:cubicBezTo>
                <a:cubicBezTo>
                  <a:pt x="928511" y="3062112"/>
                  <a:pt x="910897" y="2900637"/>
                  <a:pt x="956734" y="2751667"/>
                </a:cubicBezTo>
                <a:cubicBezTo>
                  <a:pt x="1014266" y="2564687"/>
                  <a:pt x="1114340" y="2391888"/>
                  <a:pt x="1219200" y="2226734"/>
                </a:cubicBezTo>
                <a:cubicBezTo>
                  <a:pt x="1301337" y="2097369"/>
                  <a:pt x="1676037" y="1604936"/>
                  <a:pt x="1862667" y="1439334"/>
                </a:cubicBezTo>
                <a:cubicBezTo>
                  <a:pt x="1980050" y="1335177"/>
                  <a:pt x="2096457" y="1224802"/>
                  <a:pt x="2235200" y="1151467"/>
                </a:cubicBezTo>
                <a:cubicBezTo>
                  <a:pt x="2300504" y="1116949"/>
                  <a:pt x="2381956" y="1134534"/>
                  <a:pt x="2455334" y="1126067"/>
                </a:cubicBezTo>
                <a:cubicBezTo>
                  <a:pt x="2469445" y="1140178"/>
                  <a:pt x="2485616" y="1152493"/>
                  <a:pt x="2497667" y="1168400"/>
                </a:cubicBezTo>
                <a:cubicBezTo>
                  <a:pt x="2800286" y="1567858"/>
                  <a:pt x="2741052" y="1555304"/>
                  <a:pt x="3056467" y="2201334"/>
                </a:cubicBezTo>
                <a:cubicBezTo>
                  <a:pt x="3818529" y="3762182"/>
                  <a:pt x="2933893" y="1896436"/>
                  <a:pt x="3623734" y="3547534"/>
                </a:cubicBezTo>
                <a:cubicBezTo>
                  <a:pt x="3700127" y="3730376"/>
                  <a:pt x="3795215" y="3904898"/>
                  <a:pt x="3886200" y="4080934"/>
                </a:cubicBezTo>
                <a:cubicBezTo>
                  <a:pt x="3990428" y="4282593"/>
                  <a:pt x="4057477" y="4373482"/>
                  <a:pt x="4207934" y="4555067"/>
                </a:cubicBezTo>
                <a:cubicBezTo>
                  <a:pt x="4221997" y="4572040"/>
                  <a:pt x="4241801" y="4583289"/>
                  <a:pt x="4258734" y="4597400"/>
                </a:cubicBezTo>
                <a:cubicBezTo>
                  <a:pt x="4130594" y="4353935"/>
                  <a:pt x="3982856" y="4118075"/>
                  <a:pt x="3903134" y="3852334"/>
                </a:cubicBezTo>
                <a:cubicBezTo>
                  <a:pt x="3853765" y="3687771"/>
                  <a:pt x="3818467" y="3519311"/>
                  <a:pt x="3776134" y="3352800"/>
                </a:cubicBezTo>
                <a:cubicBezTo>
                  <a:pt x="3770489" y="3285067"/>
                  <a:pt x="3714166" y="3098692"/>
                  <a:pt x="3759200" y="3149600"/>
                </a:cubicBezTo>
                <a:cubicBezTo>
                  <a:pt x="3863732" y="3267767"/>
                  <a:pt x="3902244" y="3430873"/>
                  <a:pt x="3970867" y="3572934"/>
                </a:cubicBezTo>
                <a:cubicBezTo>
                  <a:pt x="4063122" y="3763918"/>
                  <a:pt x="4152426" y="3956318"/>
                  <a:pt x="4241800" y="4148667"/>
                </a:cubicBezTo>
                <a:cubicBezTo>
                  <a:pt x="4282251" y="4235725"/>
                  <a:pt x="4332234" y="4319341"/>
                  <a:pt x="4360334" y="4411134"/>
                </a:cubicBezTo>
                <a:lnTo>
                  <a:pt x="4487334" y="4826000"/>
                </a:lnTo>
                <a:cubicBezTo>
                  <a:pt x="4490156" y="4871156"/>
                  <a:pt x="4535636" y="4940017"/>
                  <a:pt x="4495800" y="4961467"/>
                </a:cubicBezTo>
                <a:cubicBezTo>
                  <a:pt x="4454443" y="4983736"/>
                  <a:pt x="4409228" y="4919687"/>
                  <a:pt x="4377267" y="4885267"/>
                </a:cubicBezTo>
                <a:cubicBezTo>
                  <a:pt x="4297762" y="4799646"/>
                  <a:pt x="4225252" y="4706334"/>
                  <a:pt x="4165600" y="4605867"/>
                </a:cubicBezTo>
                <a:cubicBezTo>
                  <a:pt x="4117165" y="4524292"/>
                  <a:pt x="4101834" y="4426205"/>
                  <a:pt x="4055534" y="4343400"/>
                </a:cubicBezTo>
                <a:cubicBezTo>
                  <a:pt x="3954650" y="4162972"/>
                  <a:pt x="3826872" y="3998528"/>
                  <a:pt x="3725334" y="3818467"/>
                </a:cubicBezTo>
                <a:cubicBezTo>
                  <a:pt x="3614981" y="3622774"/>
                  <a:pt x="3420534" y="3217334"/>
                  <a:pt x="3420534" y="3217334"/>
                </a:cubicBezTo>
                <a:cubicBezTo>
                  <a:pt x="3429001" y="3214512"/>
                  <a:pt x="3437131" y="3207400"/>
                  <a:pt x="3445934" y="3208867"/>
                </a:cubicBezTo>
                <a:cubicBezTo>
                  <a:pt x="3455971" y="3210540"/>
                  <a:pt x="3462439" y="3220858"/>
                  <a:pt x="3471334" y="3225800"/>
                </a:cubicBezTo>
                <a:cubicBezTo>
                  <a:pt x="3513274" y="3249100"/>
                  <a:pt x="3557193" y="3268850"/>
                  <a:pt x="3598334" y="3293534"/>
                </a:cubicBezTo>
                <a:cubicBezTo>
                  <a:pt x="3627874" y="3311258"/>
                  <a:pt x="3653460" y="3335076"/>
                  <a:pt x="3683000" y="3352800"/>
                </a:cubicBezTo>
                <a:cubicBezTo>
                  <a:pt x="3710850" y="3369510"/>
                  <a:pt x="3736796" y="3372026"/>
                  <a:pt x="3767667" y="3378200"/>
                </a:cubicBezTo>
                <a:lnTo>
                  <a:pt x="3810000" y="3369734"/>
                </a:lnTo>
              </a:path>
            </a:pathLst>
          </a:custGeom>
          <a:solidFill>
            <a:schemeClr val="tx1">
              <a:lumMod val="95000"/>
              <a:lumOff val="5000"/>
            </a:schemeClr>
          </a:solidFill>
          <a:ln>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63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34" name="Group 33"/>
          <p:cNvGrpSpPr/>
          <p:nvPr/>
        </p:nvGrpSpPr>
        <p:grpSpPr>
          <a:xfrm flipH="1">
            <a:off x="1134346" y="5358564"/>
            <a:ext cx="292962" cy="752047"/>
            <a:chOff x="2985738" y="1413935"/>
            <a:chExt cx="2983261" cy="5233392"/>
          </a:xfrm>
        </p:grpSpPr>
        <p:sp>
          <p:nvSpPr>
            <p:cNvPr id="35" name="Freeform 34"/>
            <p:cNvSpPr/>
            <p:nvPr/>
          </p:nvSpPr>
          <p:spPr>
            <a:xfrm>
              <a:off x="3496733" y="2556189"/>
              <a:ext cx="2257170" cy="2882584"/>
            </a:xfrm>
            <a:custGeom>
              <a:avLst/>
              <a:gdLst>
                <a:gd name="connsiteX0" fmla="*/ 347134 w 2257170"/>
                <a:gd name="connsiteY0" fmla="*/ 51544 h 2882584"/>
                <a:gd name="connsiteX1" fmla="*/ 347134 w 2257170"/>
                <a:gd name="connsiteY1" fmla="*/ 51544 h 2882584"/>
                <a:gd name="connsiteX2" fmla="*/ 287867 w 2257170"/>
                <a:gd name="connsiteY2" fmla="*/ 102344 h 2882584"/>
                <a:gd name="connsiteX3" fmla="*/ 254000 w 2257170"/>
                <a:gd name="connsiteY3" fmla="*/ 161611 h 2882584"/>
                <a:gd name="connsiteX4" fmla="*/ 228600 w 2257170"/>
                <a:gd name="connsiteY4" fmla="*/ 195478 h 2882584"/>
                <a:gd name="connsiteX5" fmla="*/ 194734 w 2257170"/>
                <a:gd name="connsiteY5" fmla="*/ 237811 h 2882584"/>
                <a:gd name="connsiteX6" fmla="*/ 169334 w 2257170"/>
                <a:gd name="connsiteY6" fmla="*/ 280144 h 2882584"/>
                <a:gd name="connsiteX7" fmla="*/ 152400 w 2257170"/>
                <a:gd name="connsiteY7" fmla="*/ 339411 h 2882584"/>
                <a:gd name="connsiteX8" fmla="*/ 143934 w 2257170"/>
                <a:gd name="connsiteY8" fmla="*/ 364811 h 2882584"/>
                <a:gd name="connsiteX9" fmla="*/ 127000 w 2257170"/>
                <a:gd name="connsiteY9" fmla="*/ 398678 h 2882584"/>
                <a:gd name="connsiteX10" fmla="*/ 93134 w 2257170"/>
                <a:gd name="connsiteY10" fmla="*/ 500278 h 2882584"/>
                <a:gd name="connsiteX11" fmla="*/ 84667 w 2257170"/>
                <a:gd name="connsiteY11" fmla="*/ 618811 h 2882584"/>
                <a:gd name="connsiteX12" fmla="*/ 67734 w 2257170"/>
                <a:gd name="connsiteY12" fmla="*/ 703478 h 2882584"/>
                <a:gd name="connsiteX13" fmla="*/ 50800 w 2257170"/>
                <a:gd name="connsiteY13" fmla="*/ 788144 h 2882584"/>
                <a:gd name="connsiteX14" fmla="*/ 42334 w 2257170"/>
                <a:gd name="connsiteY14" fmla="*/ 906678 h 2882584"/>
                <a:gd name="connsiteX15" fmla="*/ 33867 w 2257170"/>
                <a:gd name="connsiteY15" fmla="*/ 932078 h 2882584"/>
                <a:gd name="connsiteX16" fmla="*/ 16934 w 2257170"/>
                <a:gd name="connsiteY16" fmla="*/ 1084478 h 2882584"/>
                <a:gd name="connsiteX17" fmla="*/ 8467 w 2257170"/>
                <a:gd name="connsiteY17" fmla="*/ 1219944 h 2882584"/>
                <a:gd name="connsiteX18" fmla="*/ 0 w 2257170"/>
                <a:gd name="connsiteY18" fmla="*/ 1313078 h 2882584"/>
                <a:gd name="connsiteX19" fmla="*/ 8467 w 2257170"/>
                <a:gd name="connsiteY19" fmla="*/ 2066611 h 2882584"/>
                <a:gd name="connsiteX20" fmla="*/ 16934 w 2257170"/>
                <a:gd name="connsiteY20" fmla="*/ 2379878 h 2882584"/>
                <a:gd name="connsiteX21" fmla="*/ 33867 w 2257170"/>
                <a:gd name="connsiteY21" fmla="*/ 2583078 h 2882584"/>
                <a:gd name="connsiteX22" fmla="*/ 42334 w 2257170"/>
                <a:gd name="connsiteY22" fmla="*/ 2820144 h 2882584"/>
                <a:gd name="connsiteX23" fmla="*/ 50800 w 2257170"/>
                <a:gd name="connsiteY23" fmla="*/ 2879411 h 2882584"/>
                <a:gd name="connsiteX24" fmla="*/ 93134 w 2257170"/>
                <a:gd name="connsiteY24" fmla="*/ 2870944 h 2882584"/>
                <a:gd name="connsiteX25" fmla="*/ 254000 w 2257170"/>
                <a:gd name="connsiteY25" fmla="*/ 2862478 h 2882584"/>
                <a:gd name="connsiteX26" fmla="*/ 524934 w 2257170"/>
                <a:gd name="connsiteY26" fmla="*/ 2854011 h 2882584"/>
                <a:gd name="connsiteX27" fmla="*/ 2159000 w 2257170"/>
                <a:gd name="connsiteY27" fmla="*/ 2862478 h 2882584"/>
                <a:gd name="connsiteX28" fmla="*/ 2235200 w 2257170"/>
                <a:gd name="connsiteY28" fmla="*/ 2862478 h 2882584"/>
                <a:gd name="connsiteX29" fmla="*/ 2235200 w 2257170"/>
                <a:gd name="connsiteY29" fmla="*/ 2447611 h 2882584"/>
                <a:gd name="connsiteX30" fmla="*/ 2218267 w 2257170"/>
                <a:gd name="connsiteY30" fmla="*/ 2346011 h 2882584"/>
                <a:gd name="connsiteX31" fmla="*/ 2209800 w 2257170"/>
                <a:gd name="connsiteY31" fmla="*/ 2125878 h 2882584"/>
                <a:gd name="connsiteX32" fmla="*/ 2201334 w 2257170"/>
                <a:gd name="connsiteY32" fmla="*/ 2083544 h 2882584"/>
                <a:gd name="connsiteX33" fmla="*/ 2192867 w 2257170"/>
                <a:gd name="connsiteY33" fmla="*/ 2007344 h 2882584"/>
                <a:gd name="connsiteX34" fmla="*/ 2167467 w 2257170"/>
                <a:gd name="connsiteY34" fmla="*/ 1854944 h 2882584"/>
                <a:gd name="connsiteX35" fmla="*/ 2159000 w 2257170"/>
                <a:gd name="connsiteY35" fmla="*/ 1727944 h 2882584"/>
                <a:gd name="connsiteX36" fmla="*/ 2150534 w 2257170"/>
                <a:gd name="connsiteY36" fmla="*/ 1694078 h 2882584"/>
                <a:gd name="connsiteX37" fmla="*/ 2142067 w 2257170"/>
                <a:gd name="connsiteY37" fmla="*/ 1617878 h 2882584"/>
                <a:gd name="connsiteX38" fmla="*/ 2125134 w 2257170"/>
                <a:gd name="connsiteY38" fmla="*/ 1423144 h 2882584"/>
                <a:gd name="connsiteX39" fmla="*/ 2099734 w 2257170"/>
                <a:gd name="connsiteY39" fmla="*/ 1338478 h 2882584"/>
                <a:gd name="connsiteX40" fmla="*/ 2065867 w 2257170"/>
                <a:gd name="connsiteY40" fmla="*/ 1245344 h 2882584"/>
                <a:gd name="connsiteX41" fmla="*/ 2057400 w 2257170"/>
                <a:gd name="connsiteY41" fmla="*/ 1177611 h 2882584"/>
                <a:gd name="connsiteX42" fmla="*/ 2048934 w 2257170"/>
                <a:gd name="connsiteY42" fmla="*/ 1118344 h 2882584"/>
                <a:gd name="connsiteX43" fmla="*/ 2032000 w 2257170"/>
                <a:gd name="connsiteY43" fmla="*/ 974411 h 2882584"/>
                <a:gd name="connsiteX44" fmla="*/ 2006600 w 2257170"/>
                <a:gd name="connsiteY44" fmla="*/ 796611 h 2882584"/>
                <a:gd name="connsiteX45" fmla="*/ 1964267 w 2257170"/>
                <a:gd name="connsiteY45" fmla="*/ 686544 h 2882584"/>
                <a:gd name="connsiteX46" fmla="*/ 1947334 w 2257170"/>
                <a:gd name="connsiteY46" fmla="*/ 661144 h 2882584"/>
                <a:gd name="connsiteX47" fmla="*/ 1905000 w 2257170"/>
                <a:gd name="connsiteY47" fmla="*/ 568011 h 2882584"/>
                <a:gd name="connsiteX48" fmla="*/ 1896534 w 2257170"/>
                <a:gd name="connsiteY48" fmla="*/ 517211 h 2882584"/>
                <a:gd name="connsiteX49" fmla="*/ 1879600 w 2257170"/>
                <a:gd name="connsiteY49" fmla="*/ 474878 h 2882584"/>
                <a:gd name="connsiteX50" fmla="*/ 1854200 w 2257170"/>
                <a:gd name="connsiteY50" fmla="*/ 424078 h 2882584"/>
                <a:gd name="connsiteX51" fmla="*/ 1828800 w 2257170"/>
                <a:gd name="connsiteY51" fmla="*/ 381744 h 2882584"/>
                <a:gd name="connsiteX52" fmla="*/ 1803400 w 2257170"/>
                <a:gd name="connsiteY52" fmla="*/ 330944 h 2882584"/>
                <a:gd name="connsiteX53" fmla="*/ 1778000 w 2257170"/>
                <a:gd name="connsiteY53" fmla="*/ 297078 h 2882584"/>
                <a:gd name="connsiteX54" fmla="*/ 1761067 w 2257170"/>
                <a:gd name="connsiteY54" fmla="*/ 263211 h 2882584"/>
                <a:gd name="connsiteX55" fmla="*/ 1718734 w 2257170"/>
                <a:gd name="connsiteY55" fmla="*/ 203944 h 2882584"/>
                <a:gd name="connsiteX56" fmla="*/ 1684867 w 2257170"/>
                <a:gd name="connsiteY56" fmla="*/ 144678 h 2882584"/>
                <a:gd name="connsiteX57" fmla="*/ 1667934 w 2257170"/>
                <a:gd name="connsiteY57" fmla="*/ 93878 h 2882584"/>
                <a:gd name="connsiteX58" fmla="*/ 1651000 w 2257170"/>
                <a:gd name="connsiteY58" fmla="*/ 68478 h 2882584"/>
                <a:gd name="connsiteX59" fmla="*/ 1600200 w 2257170"/>
                <a:gd name="connsiteY59" fmla="*/ 26144 h 2882584"/>
                <a:gd name="connsiteX60" fmla="*/ 1574800 w 2257170"/>
                <a:gd name="connsiteY60" fmla="*/ 9211 h 2882584"/>
                <a:gd name="connsiteX61" fmla="*/ 1507067 w 2257170"/>
                <a:gd name="connsiteY61" fmla="*/ 744 h 2882584"/>
                <a:gd name="connsiteX62" fmla="*/ 1507067 w 2257170"/>
                <a:gd name="connsiteY62" fmla="*/ 744 h 2882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257170" h="2882584">
                  <a:moveTo>
                    <a:pt x="347134" y="51544"/>
                  </a:moveTo>
                  <a:lnTo>
                    <a:pt x="347134" y="51544"/>
                  </a:lnTo>
                  <a:cubicBezTo>
                    <a:pt x="327378" y="68477"/>
                    <a:pt x="306266" y="83945"/>
                    <a:pt x="287867" y="102344"/>
                  </a:cubicBezTo>
                  <a:cubicBezTo>
                    <a:pt x="272333" y="117878"/>
                    <a:pt x="265065" y="143907"/>
                    <a:pt x="254000" y="161611"/>
                  </a:cubicBezTo>
                  <a:cubicBezTo>
                    <a:pt x="246521" y="173577"/>
                    <a:pt x="237067" y="184189"/>
                    <a:pt x="228600" y="195478"/>
                  </a:cubicBezTo>
                  <a:cubicBezTo>
                    <a:pt x="209066" y="254086"/>
                    <a:pt x="236511" y="189072"/>
                    <a:pt x="194734" y="237811"/>
                  </a:cubicBezTo>
                  <a:cubicBezTo>
                    <a:pt x="184024" y="250305"/>
                    <a:pt x="177801" y="266033"/>
                    <a:pt x="169334" y="280144"/>
                  </a:cubicBezTo>
                  <a:cubicBezTo>
                    <a:pt x="163689" y="299900"/>
                    <a:pt x="158304" y="319731"/>
                    <a:pt x="152400" y="339411"/>
                  </a:cubicBezTo>
                  <a:cubicBezTo>
                    <a:pt x="149836" y="347959"/>
                    <a:pt x="147450" y="356608"/>
                    <a:pt x="143934" y="364811"/>
                  </a:cubicBezTo>
                  <a:cubicBezTo>
                    <a:pt x="138962" y="376412"/>
                    <a:pt x="131432" y="386860"/>
                    <a:pt x="127000" y="398678"/>
                  </a:cubicBezTo>
                  <a:cubicBezTo>
                    <a:pt x="114465" y="432104"/>
                    <a:pt x="93134" y="500278"/>
                    <a:pt x="93134" y="500278"/>
                  </a:cubicBezTo>
                  <a:cubicBezTo>
                    <a:pt x="90312" y="539789"/>
                    <a:pt x="88609" y="579396"/>
                    <a:pt x="84667" y="618811"/>
                  </a:cubicBezTo>
                  <a:cubicBezTo>
                    <a:pt x="79744" y="668035"/>
                    <a:pt x="76664" y="661805"/>
                    <a:pt x="67734" y="703478"/>
                  </a:cubicBezTo>
                  <a:cubicBezTo>
                    <a:pt x="61704" y="731620"/>
                    <a:pt x="50800" y="788144"/>
                    <a:pt x="50800" y="788144"/>
                  </a:cubicBezTo>
                  <a:cubicBezTo>
                    <a:pt x="47978" y="827655"/>
                    <a:pt x="46962" y="867337"/>
                    <a:pt x="42334" y="906678"/>
                  </a:cubicBezTo>
                  <a:cubicBezTo>
                    <a:pt x="41291" y="915542"/>
                    <a:pt x="34910" y="923214"/>
                    <a:pt x="33867" y="932078"/>
                  </a:cubicBezTo>
                  <a:cubicBezTo>
                    <a:pt x="13208" y="1107675"/>
                    <a:pt x="38345" y="998828"/>
                    <a:pt x="16934" y="1084478"/>
                  </a:cubicBezTo>
                  <a:cubicBezTo>
                    <a:pt x="14112" y="1129633"/>
                    <a:pt x="11809" y="1174824"/>
                    <a:pt x="8467" y="1219944"/>
                  </a:cubicBezTo>
                  <a:cubicBezTo>
                    <a:pt x="6164" y="1251032"/>
                    <a:pt x="0" y="1281905"/>
                    <a:pt x="0" y="1313078"/>
                  </a:cubicBezTo>
                  <a:cubicBezTo>
                    <a:pt x="0" y="1564272"/>
                    <a:pt x="4480" y="1815449"/>
                    <a:pt x="8467" y="2066611"/>
                  </a:cubicBezTo>
                  <a:cubicBezTo>
                    <a:pt x="10125" y="2171058"/>
                    <a:pt x="12759" y="2275501"/>
                    <a:pt x="16934" y="2379878"/>
                  </a:cubicBezTo>
                  <a:cubicBezTo>
                    <a:pt x="18486" y="2418675"/>
                    <a:pt x="29951" y="2540004"/>
                    <a:pt x="33867" y="2583078"/>
                  </a:cubicBezTo>
                  <a:cubicBezTo>
                    <a:pt x="36689" y="2662100"/>
                    <a:pt x="37823" y="2741200"/>
                    <a:pt x="42334" y="2820144"/>
                  </a:cubicBezTo>
                  <a:cubicBezTo>
                    <a:pt x="43472" y="2840068"/>
                    <a:pt x="36689" y="2865300"/>
                    <a:pt x="50800" y="2879411"/>
                  </a:cubicBezTo>
                  <a:cubicBezTo>
                    <a:pt x="60976" y="2889587"/>
                    <a:pt x="78793" y="2872139"/>
                    <a:pt x="93134" y="2870944"/>
                  </a:cubicBezTo>
                  <a:cubicBezTo>
                    <a:pt x="146645" y="2866485"/>
                    <a:pt x="200345" y="2864582"/>
                    <a:pt x="254000" y="2862478"/>
                  </a:cubicBezTo>
                  <a:lnTo>
                    <a:pt x="524934" y="2854011"/>
                  </a:lnTo>
                  <a:lnTo>
                    <a:pt x="2159000" y="2862478"/>
                  </a:lnTo>
                  <a:cubicBezTo>
                    <a:pt x="2276843" y="2863680"/>
                    <a:pt x="2029105" y="2896824"/>
                    <a:pt x="2235200" y="2862478"/>
                  </a:cubicBezTo>
                  <a:cubicBezTo>
                    <a:pt x="2273574" y="2708987"/>
                    <a:pt x="2253789" y="2800794"/>
                    <a:pt x="2235200" y="2447611"/>
                  </a:cubicBezTo>
                  <a:cubicBezTo>
                    <a:pt x="2233395" y="2413325"/>
                    <a:pt x="2218267" y="2346011"/>
                    <a:pt x="2218267" y="2346011"/>
                  </a:cubicBezTo>
                  <a:cubicBezTo>
                    <a:pt x="2215445" y="2272633"/>
                    <a:pt x="2214528" y="2199158"/>
                    <a:pt x="2209800" y="2125878"/>
                  </a:cubicBezTo>
                  <a:cubicBezTo>
                    <a:pt x="2208874" y="2111517"/>
                    <a:pt x="2203369" y="2097790"/>
                    <a:pt x="2201334" y="2083544"/>
                  </a:cubicBezTo>
                  <a:cubicBezTo>
                    <a:pt x="2197720" y="2058245"/>
                    <a:pt x="2196612" y="2032624"/>
                    <a:pt x="2192867" y="2007344"/>
                  </a:cubicBezTo>
                  <a:cubicBezTo>
                    <a:pt x="2185320" y="1956399"/>
                    <a:pt x="2167467" y="1854944"/>
                    <a:pt x="2167467" y="1854944"/>
                  </a:cubicBezTo>
                  <a:cubicBezTo>
                    <a:pt x="2164645" y="1812611"/>
                    <a:pt x="2163441" y="1770138"/>
                    <a:pt x="2159000" y="1727944"/>
                  </a:cubicBezTo>
                  <a:cubicBezTo>
                    <a:pt x="2157782" y="1716372"/>
                    <a:pt x="2152303" y="1705579"/>
                    <a:pt x="2150534" y="1694078"/>
                  </a:cubicBezTo>
                  <a:cubicBezTo>
                    <a:pt x="2146648" y="1668819"/>
                    <a:pt x="2144452" y="1643323"/>
                    <a:pt x="2142067" y="1617878"/>
                  </a:cubicBezTo>
                  <a:cubicBezTo>
                    <a:pt x="2135985" y="1553006"/>
                    <a:pt x="2132075" y="1487929"/>
                    <a:pt x="2125134" y="1423144"/>
                  </a:cubicBezTo>
                  <a:cubicBezTo>
                    <a:pt x="2119854" y="1373866"/>
                    <a:pt x="2115497" y="1385768"/>
                    <a:pt x="2099734" y="1338478"/>
                  </a:cubicBezTo>
                  <a:cubicBezTo>
                    <a:pt x="2069133" y="1246675"/>
                    <a:pt x="2098254" y="1310120"/>
                    <a:pt x="2065867" y="1245344"/>
                  </a:cubicBezTo>
                  <a:cubicBezTo>
                    <a:pt x="2063045" y="1222766"/>
                    <a:pt x="2060407" y="1200165"/>
                    <a:pt x="2057400" y="1177611"/>
                  </a:cubicBezTo>
                  <a:cubicBezTo>
                    <a:pt x="2054763" y="1157830"/>
                    <a:pt x="2051409" y="1138146"/>
                    <a:pt x="2048934" y="1118344"/>
                  </a:cubicBezTo>
                  <a:cubicBezTo>
                    <a:pt x="2036389" y="1017979"/>
                    <a:pt x="2045031" y="1068884"/>
                    <a:pt x="2032000" y="974411"/>
                  </a:cubicBezTo>
                  <a:cubicBezTo>
                    <a:pt x="2023820" y="915104"/>
                    <a:pt x="2033374" y="850159"/>
                    <a:pt x="2006600" y="796611"/>
                  </a:cubicBezTo>
                  <a:cubicBezTo>
                    <a:pt x="1931225" y="645861"/>
                    <a:pt x="2030665" y="852542"/>
                    <a:pt x="1964267" y="686544"/>
                  </a:cubicBezTo>
                  <a:cubicBezTo>
                    <a:pt x="1960488" y="677096"/>
                    <a:pt x="1951467" y="670443"/>
                    <a:pt x="1947334" y="661144"/>
                  </a:cubicBezTo>
                  <a:cubicBezTo>
                    <a:pt x="1896736" y="547299"/>
                    <a:pt x="1965822" y="669380"/>
                    <a:pt x="1905000" y="568011"/>
                  </a:cubicBezTo>
                  <a:cubicBezTo>
                    <a:pt x="1902178" y="551078"/>
                    <a:pt x="1901051" y="533773"/>
                    <a:pt x="1896534" y="517211"/>
                  </a:cubicBezTo>
                  <a:cubicBezTo>
                    <a:pt x="1892535" y="502548"/>
                    <a:pt x="1884936" y="489108"/>
                    <a:pt x="1879600" y="474878"/>
                  </a:cubicBezTo>
                  <a:cubicBezTo>
                    <a:pt x="1864576" y="434814"/>
                    <a:pt x="1879893" y="462617"/>
                    <a:pt x="1854200" y="424078"/>
                  </a:cubicBezTo>
                  <a:cubicBezTo>
                    <a:pt x="1832075" y="357697"/>
                    <a:pt x="1862005" y="434871"/>
                    <a:pt x="1828800" y="381744"/>
                  </a:cubicBezTo>
                  <a:cubicBezTo>
                    <a:pt x="1818766" y="365690"/>
                    <a:pt x="1813141" y="347178"/>
                    <a:pt x="1803400" y="330944"/>
                  </a:cubicBezTo>
                  <a:cubicBezTo>
                    <a:pt x="1796140" y="318844"/>
                    <a:pt x="1785479" y="309044"/>
                    <a:pt x="1778000" y="297078"/>
                  </a:cubicBezTo>
                  <a:cubicBezTo>
                    <a:pt x="1771311" y="286375"/>
                    <a:pt x="1767329" y="274170"/>
                    <a:pt x="1761067" y="263211"/>
                  </a:cubicBezTo>
                  <a:cubicBezTo>
                    <a:pt x="1749666" y="243258"/>
                    <a:pt x="1731713" y="222115"/>
                    <a:pt x="1718734" y="203944"/>
                  </a:cubicBezTo>
                  <a:cubicBezTo>
                    <a:pt x="1704847" y="184503"/>
                    <a:pt x="1693888" y="167230"/>
                    <a:pt x="1684867" y="144678"/>
                  </a:cubicBezTo>
                  <a:cubicBezTo>
                    <a:pt x="1678238" y="128105"/>
                    <a:pt x="1677835" y="108729"/>
                    <a:pt x="1667934" y="93878"/>
                  </a:cubicBezTo>
                  <a:cubicBezTo>
                    <a:pt x="1662289" y="85411"/>
                    <a:pt x="1657357" y="76424"/>
                    <a:pt x="1651000" y="68478"/>
                  </a:cubicBezTo>
                  <a:cubicBezTo>
                    <a:pt x="1638163" y="52431"/>
                    <a:pt x="1615574" y="37126"/>
                    <a:pt x="1600200" y="26144"/>
                  </a:cubicBezTo>
                  <a:cubicBezTo>
                    <a:pt x="1591920" y="20230"/>
                    <a:pt x="1583901" y="13762"/>
                    <a:pt x="1574800" y="9211"/>
                  </a:cubicBezTo>
                  <a:cubicBezTo>
                    <a:pt x="1548941" y="-3718"/>
                    <a:pt x="1537884" y="744"/>
                    <a:pt x="1507067" y="744"/>
                  </a:cubicBezTo>
                  <a:lnTo>
                    <a:pt x="1507067" y="744"/>
                  </a:lnTo>
                </a:path>
              </a:pathLst>
            </a:cu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63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6" name="Oval 35"/>
            <p:cNvSpPr/>
            <p:nvPr/>
          </p:nvSpPr>
          <p:spPr>
            <a:xfrm>
              <a:off x="3640666" y="1413935"/>
              <a:ext cx="1515534" cy="1346200"/>
            </a:xfrm>
            <a:prstGeom prst="ellipse">
              <a:avLst/>
            </a:prstGeom>
            <a:solidFill>
              <a:schemeClr val="tx1">
                <a:lumMod val="65000"/>
                <a:lumOff val="35000"/>
              </a:schemeClr>
            </a:solid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63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7" name="Freeform 36"/>
            <p:cNvSpPr/>
            <p:nvPr/>
          </p:nvSpPr>
          <p:spPr>
            <a:xfrm>
              <a:off x="2985738" y="3107267"/>
              <a:ext cx="617631" cy="1161158"/>
            </a:xfrm>
            <a:custGeom>
              <a:avLst/>
              <a:gdLst>
                <a:gd name="connsiteX0" fmla="*/ 617631 w 617631"/>
                <a:gd name="connsiteY0" fmla="*/ 0 h 1161158"/>
                <a:gd name="connsiteX1" fmla="*/ 16498 w 617631"/>
                <a:gd name="connsiteY1" fmla="*/ 1092200 h 1161158"/>
                <a:gd name="connsiteX2" fmla="*/ 228165 w 617631"/>
                <a:gd name="connsiteY2" fmla="*/ 956733 h 1161158"/>
              </a:gdLst>
              <a:ahLst/>
              <a:cxnLst>
                <a:cxn ang="0">
                  <a:pos x="connsiteX0" y="connsiteY0"/>
                </a:cxn>
                <a:cxn ang="0">
                  <a:pos x="connsiteX1" y="connsiteY1"/>
                </a:cxn>
                <a:cxn ang="0">
                  <a:pos x="connsiteX2" y="connsiteY2"/>
                </a:cxn>
              </a:cxnLst>
              <a:rect l="l" t="t" r="r" b="b"/>
              <a:pathLst>
                <a:path w="617631" h="1161158">
                  <a:moveTo>
                    <a:pt x="617631" y="0"/>
                  </a:moveTo>
                  <a:cubicBezTo>
                    <a:pt x="349520" y="466372"/>
                    <a:pt x="81409" y="932745"/>
                    <a:pt x="16498" y="1092200"/>
                  </a:cubicBezTo>
                  <a:cubicBezTo>
                    <a:pt x="-48413" y="1251655"/>
                    <a:pt x="89876" y="1104194"/>
                    <a:pt x="228165" y="956733"/>
                  </a:cubicBezTo>
                </a:path>
              </a:pathLst>
            </a:cu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63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8" name="Freeform 37"/>
            <p:cNvSpPr/>
            <p:nvPr/>
          </p:nvSpPr>
          <p:spPr>
            <a:xfrm flipH="1">
              <a:off x="5351368" y="3048000"/>
              <a:ext cx="617631" cy="1161158"/>
            </a:xfrm>
            <a:custGeom>
              <a:avLst/>
              <a:gdLst>
                <a:gd name="connsiteX0" fmla="*/ 617631 w 617631"/>
                <a:gd name="connsiteY0" fmla="*/ 0 h 1161158"/>
                <a:gd name="connsiteX1" fmla="*/ 16498 w 617631"/>
                <a:gd name="connsiteY1" fmla="*/ 1092200 h 1161158"/>
                <a:gd name="connsiteX2" fmla="*/ 228165 w 617631"/>
                <a:gd name="connsiteY2" fmla="*/ 956733 h 1161158"/>
              </a:gdLst>
              <a:ahLst/>
              <a:cxnLst>
                <a:cxn ang="0">
                  <a:pos x="connsiteX0" y="connsiteY0"/>
                </a:cxn>
                <a:cxn ang="0">
                  <a:pos x="connsiteX1" y="connsiteY1"/>
                </a:cxn>
                <a:cxn ang="0">
                  <a:pos x="connsiteX2" y="connsiteY2"/>
                </a:cxn>
              </a:cxnLst>
              <a:rect l="l" t="t" r="r" b="b"/>
              <a:pathLst>
                <a:path w="617631" h="1161158">
                  <a:moveTo>
                    <a:pt x="617631" y="0"/>
                  </a:moveTo>
                  <a:cubicBezTo>
                    <a:pt x="349520" y="466372"/>
                    <a:pt x="81409" y="932745"/>
                    <a:pt x="16498" y="1092200"/>
                  </a:cubicBezTo>
                  <a:cubicBezTo>
                    <a:pt x="-48413" y="1251655"/>
                    <a:pt x="89876" y="1104194"/>
                    <a:pt x="228165" y="956733"/>
                  </a:cubicBezTo>
                </a:path>
              </a:pathLst>
            </a:cu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63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39" name="Straight Connector 38"/>
            <p:cNvCxnSpPr/>
            <p:nvPr/>
          </p:nvCxnSpPr>
          <p:spPr>
            <a:xfrm>
              <a:off x="4301068" y="5419659"/>
              <a:ext cx="16933" cy="1227667"/>
            </a:xfrm>
            <a:prstGeom prst="line">
              <a:avLst/>
            </a:prstGeom>
            <a:ln w="76200">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5105402" y="5419660"/>
              <a:ext cx="16933" cy="1227667"/>
            </a:xfrm>
            <a:prstGeom prst="line">
              <a:avLst/>
            </a:prstGeom>
            <a:ln w="76200">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grpSp>
      <p:grpSp>
        <p:nvGrpSpPr>
          <p:cNvPr id="3" name="Group 2"/>
          <p:cNvGrpSpPr/>
          <p:nvPr/>
        </p:nvGrpSpPr>
        <p:grpSpPr>
          <a:xfrm>
            <a:off x="2333791" y="2843799"/>
            <a:ext cx="857669" cy="1055612"/>
            <a:chOff x="1459751" y="2723966"/>
            <a:chExt cx="857669" cy="1055612"/>
          </a:xfrm>
        </p:grpSpPr>
        <p:grpSp>
          <p:nvGrpSpPr>
            <p:cNvPr id="41" name="Group 40"/>
            <p:cNvGrpSpPr/>
            <p:nvPr/>
          </p:nvGrpSpPr>
          <p:grpSpPr>
            <a:xfrm>
              <a:off x="1553757" y="2999880"/>
              <a:ext cx="763663" cy="779698"/>
              <a:chOff x="9111660" y="2851932"/>
              <a:chExt cx="1972186" cy="2639598"/>
            </a:xfrm>
          </p:grpSpPr>
          <p:grpSp>
            <p:nvGrpSpPr>
              <p:cNvPr id="42" name="Group 41"/>
              <p:cNvGrpSpPr/>
              <p:nvPr/>
            </p:nvGrpSpPr>
            <p:grpSpPr>
              <a:xfrm>
                <a:off x="9111660" y="2851932"/>
                <a:ext cx="1027462" cy="2319865"/>
                <a:chOff x="2985738" y="1413935"/>
                <a:chExt cx="2983261" cy="5233392"/>
              </a:xfrm>
            </p:grpSpPr>
            <p:sp>
              <p:nvSpPr>
                <p:cNvPr id="57" name="Freeform 56"/>
                <p:cNvSpPr/>
                <p:nvPr/>
              </p:nvSpPr>
              <p:spPr>
                <a:xfrm>
                  <a:off x="3496733" y="2556189"/>
                  <a:ext cx="2257170" cy="2882584"/>
                </a:xfrm>
                <a:custGeom>
                  <a:avLst/>
                  <a:gdLst>
                    <a:gd name="connsiteX0" fmla="*/ 347134 w 2257170"/>
                    <a:gd name="connsiteY0" fmla="*/ 51544 h 2882584"/>
                    <a:gd name="connsiteX1" fmla="*/ 347134 w 2257170"/>
                    <a:gd name="connsiteY1" fmla="*/ 51544 h 2882584"/>
                    <a:gd name="connsiteX2" fmla="*/ 287867 w 2257170"/>
                    <a:gd name="connsiteY2" fmla="*/ 102344 h 2882584"/>
                    <a:gd name="connsiteX3" fmla="*/ 254000 w 2257170"/>
                    <a:gd name="connsiteY3" fmla="*/ 161611 h 2882584"/>
                    <a:gd name="connsiteX4" fmla="*/ 228600 w 2257170"/>
                    <a:gd name="connsiteY4" fmla="*/ 195478 h 2882584"/>
                    <a:gd name="connsiteX5" fmla="*/ 194734 w 2257170"/>
                    <a:gd name="connsiteY5" fmla="*/ 237811 h 2882584"/>
                    <a:gd name="connsiteX6" fmla="*/ 169334 w 2257170"/>
                    <a:gd name="connsiteY6" fmla="*/ 280144 h 2882584"/>
                    <a:gd name="connsiteX7" fmla="*/ 152400 w 2257170"/>
                    <a:gd name="connsiteY7" fmla="*/ 339411 h 2882584"/>
                    <a:gd name="connsiteX8" fmla="*/ 143934 w 2257170"/>
                    <a:gd name="connsiteY8" fmla="*/ 364811 h 2882584"/>
                    <a:gd name="connsiteX9" fmla="*/ 127000 w 2257170"/>
                    <a:gd name="connsiteY9" fmla="*/ 398678 h 2882584"/>
                    <a:gd name="connsiteX10" fmla="*/ 93134 w 2257170"/>
                    <a:gd name="connsiteY10" fmla="*/ 500278 h 2882584"/>
                    <a:gd name="connsiteX11" fmla="*/ 84667 w 2257170"/>
                    <a:gd name="connsiteY11" fmla="*/ 618811 h 2882584"/>
                    <a:gd name="connsiteX12" fmla="*/ 67734 w 2257170"/>
                    <a:gd name="connsiteY12" fmla="*/ 703478 h 2882584"/>
                    <a:gd name="connsiteX13" fmla="*/ 50800 w 2257170"/>
                    <a:gd name="connsiteY13" fmla="*/ 788144 h 2882584"/>
                    <a:gd name="connsiteX14" fmla="*/ 42334 w 2257170"/>
                    <a:gd name="connsiteY14" fmla="*/ 906678 h 2882584"/>
                    <a:gd name="connsiteX15" fmla="*/ 33867 w 2257170"/>
                    <a:gd name="connsiteY15" fmla="*/ 932078 h 2882584"/>
                    <a:gd name="connsiteX16" fmla="*/ 16934 w 2257170"/>
                    <a:gd name="connsiteY16" fmla="*/ 1084478 h 2882584"/>
                    <a:gd name="connsiteX17" fmla="*/ 8467 w 2257170"/>
                    <a:gd name="connsiteY17" fmla="*/ 1219944 h 2882584"/>
                    <a:gd name="connsiteX18" fmla="*/ 0 w 2257170"/>
                    <a:gd name="connsiteY18" fmla="*/ 1313078 h 2882584"/>
                    <a:gd name="connsiteX19" fmla="*/ 8467 w 2257170"/>
                    <a:gd name="connsiteY19" fmla="*/ 2066611 h 2882584"/>
                    <a:gd name="connsiteX20" fmla="*/ 16934 w 2257170"/>
                    <a:gd name="connsiteY20" fmla="*/ 2379878 h 2882584"/>
                    <a:gd name="connsiteX21" fmla="*/ 33867 w 2257170"/>
                    <a:gd name="connsiteY21" fmla="*/ 2583078 h 2882584"/>
                    <a:gd name="connsiteX22" fmla="*/ 42334 w 2257170"/>
                    <a:gd name="connsiteY22" fmla="*/ 2820144 h 2882584"/>
                    <a:gd name="connsiteX23" fmla="*/ 50800 w 2257170"/>
                    <a:gd name="connsiteY23" fmla="*/ 2879411 h 2882584"/>
                    <a:gd name="connsiteX24" fmla="*/ 93134 w 2257170"/>
                    <a:gd name="connsiteY24" fmla="*/ 2870944 h 2882584"/>
                    <a:gd name="connsiteX25" fmla="*/ 254000 w 2257170"/>
                    <a:gd name="connsiteY25" fmla="*/ 2862478 h 2882584"/>
                    <a:gd name="connsiteX26" fmla="*/ 524934 w 2257170"/>
                    <a:gd name="connsiteY26" fmla="*/ 2854011 h 2882584"/>
                    <a:gd name="connsiteX27" fmla="*/ 2159000 w 2257170"/>
                    <a:gd name="connsiteY27" fmla="*/ 2862478 h 2882584"/>
                    <a:gd name="connsiteX28" fmla="*/ 2235200 w 2257170"/>
                    <a:gd name="connsiteY28" fmla="*/ 2862478 h 2882584"/>
                    <a:gd name="connsiteX29" fmla="*/ 2235200 w 2257170"/>
                    <a:gd name="connsiteY29" fmla="*/ 2447611 h 2882584"/>
                    <a:gd name="connsiteX30" fmla="*/ 2218267 w 2257170"/>
                    <a:gd name="connsiteY30" fmla="*/ 2346011 h 2882584"/>
                    <a:gd name="connsiteX31" fmla="*/ 2209800 w 2257170"/>
                    <a:gd name="connsiteY31" fmla="*/ 2125878 h 2882584"/>
                    <a:gd name="connsiteX32" fmla="*/ 2201334 w 2257170"/>
                    <a:gd name="connsiteY32" fmla="*/ 2083544 h 2882584"/>
                    <a:gd name="connsiteX33" fmla="*/ 2192867 w 2257170"/>
                    <a:gd name="connsiteY33" fmla="*/ 2007344 h 2882584"/>
                    <a:gd name="connsiteX34" fmla="*/ 2167467 w 2257170"/>
                    <a:gd name="connsiteY34" fmla="*/ 1854944 h 2882584"/>
                    <a:gd name="connsiteX35" fmla="*/ 2159000 w 2257170"/>
                    <a:gd name="connsiteY35" fmla="*/ 1727944 h 2882584"/>
                    <a:gd name="connsiteX36" fmla="*/ 2150534 w 2257170"/>
                    <a:gd name="connsiteY36" fmla="*/ 1694078 h 2882584"/>
                    <a:gd name="connsiteX37" fmla="*/ 2142067 w 2257170"/>
                    <a:gd name="connsiteY37" fmla="*/ 1617878 h 2882584"/>
                    <a:gd name="connsiteX38" fmla="*/ 2125134 w 2257170"/>
                    <a:gd name="connsiteY38" fmla="*/ 1423144 h 2882584"/>
                    <a:gd name="connsiteX39" fmla="*/ 2099734 w 2257170"/>
                    <a:gd name="connsiteY39" fmla="*/ 1338478 h 2882584"/>
                    <a:gd name="connsiteX40" fmla="*/ 2065867 w 2257170"/>
                    <a:gd name="connsiteY40" fmla="*/ 1245344 h 2882584"/>
                    <a:gd name="connsiteX41" fmla="*/ 2057400 w 2257170"/>
                    <a:gd name="connsiteY41" fmla="*/ 1177611 h 2882584"/>
                    <a:gd name="connsiteX42" fmla="*/ 2048934 w 2257170"/>
                    <a:gd name="connsiteY42" fmla="*/ 1118344 h 2882584"/>
                    <a:gd name="connsiteX43" fmla="*/ 2032000 w 2257170"/>
                    <a:gd name="connsiteY43" fmla="*/ 974411 h 2882584"/>
                    <a:gd name="connsiteX44" fmla="*/ 2006600 w 2257170"/>
                    <a:gd name="connsiteY44" fmla="*/ 796611 h 2882584"/>
                    <a:gd name="connsiteX45" fmla="*/ 1964267 w 2257170"/>
                    <a:gd name="connsiteY45" fmla="*/ 686544 h 2882584"/>
                    <a:gd name="connsiteX46" fmla="*/ 1947334 w 2257170"/>
                    <a:gd name="connsiteY46" fmla="*/ 661144 h 2882584"/>
                    <a:gd name="connsiteX47" fmla="*/ 1905000 w 2257170"/>
                    <a:gd name="connsiteY47" fmla="*/ 568011 h 2882584"/>
                    <a:gd name="connsiteX48" fmla="*/ 1896534 w 2257170"/>
                    <a:gd name="connsiteY48" fmla="*/ 517211 h 2882584"/>
                    <a:gd name="connsiteX49" fmla="*/ 1879600 w 2257170"/>
                    <a:gd name="connsiteY49" fmla="*/ 474878 h 2882584"/>
                    <a:gd name="connsiteX50" fmla="*/ 1854200 w 2257170"/>
                    <a:gd name="connsiteY50" fmla="*/ 424078 h 2882584"/>
                    <a:gd name="connsiteX51" fmla="*/ 1828800 w 2257170"/>
                    <a:gd name="connsiteY51" fmla="*/ 381744 h 2882584"/>
                    <a:gd name="connsiteX52" fmla="*/ 1803400 w 2257170"/>
                    <a:gd name="connsiteY52" fmla="*/ 330944 h 2882584"/>
                    <a:gd name="connsiteX53" fmla="*/ 1778000 w 2257170"/>
                    <a:gd name="connsiteY53" fmla="*/ 297078 h 2882584"/>
                    <a:gd name="connsiteX54" fmla="*/ 1761067 w 2257170"/>
                    <a:gd name="connsiteY54" fmla="*/ 263211 h 2882584"/>
                    <a:gd name="connsiteX55" fmla="*/ 1718734 w 2257170"/>
                    <a:gd name="connsiteY55" fmla="*/ 203944 h 2882584"/>
                    <a:gd name="connsiteX56" fmla="*/ 1684867 w 2257170"/>
                    <a:gd name="connsiteY56" fmla="*/ 144678 h 2882584"/>
                    <a:gd name="connsiteX57" fmla="*/ 1667934 w 2257170"/>
                    <a:gd name="connsiteY57" fmla="*/ 93878 h 2882584"/>
                    <a:gd name="connsiteX58" fmla="*/ 1651000 w 2257170"/>
                    <a:gd name="connsiteY58" fmla="*/ 68478 h 2882584"/>
                    <a:gd name="connsiteX59" fmla="*/ 1600200 w 2257170"/>
                    <a:gd name="connsiteY59" fmla="*/ 26144 h 2882584"/>
                    <a:gd name="connsiteX60" fmla="*/ 1574800 w 2257170"/>
                    <a:gd name="connsiteY60" fmla="*/ 9211 h 2882584"/>
                    <a:gd name="connsiteX61" fmla="*/ 1507067 w 2257170"/>
                    <a:gd name="connsiteY61" fmla="*/ 744 h 2882584"/>
                    <a:gd name="connsiteX62" fmla="*/ 1507067 w 2257170"/>
                    <a:gd name="connsiteY62" fmla="*/ 744 h 2882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257170" h="2882584">
                      <a:moveTo>
                        <a:pt x="347134" y="51544"/>
                      </a:moveTo>
                      <a:lnTo>
                        <a:pt x="347134" y="51544"/>
                      </a:lnTo>
                      <a:cubicBezTo>
                        <a:pt x="327378" y="68477"/>
                        <a:pt x="306266" y="83945"/>
                        <a:pt x="287867" y="102344"/>
                      </a:cubicBezTo>
                      <a:cubicBezTo>
                        <a:pt x="272333" y="117878"/>
                        <a:pt x="265065" y="143907"/>
                        <a:pt x="254000" y="161611"/>
                      </a:cubicBezTo>
                      <a:cubicBezTo>
                        <a:pt x="246521" y="173577"/>
                        <a:pt x="237067" y="184189"/>
                        <a:pt x="228600" y="195478"/>
                      </a:cubicBezTo>
                      <a:cubicBezTo>
                        <a:pt x="209066" y="254086"/>
                        <a:pt x="236511" y="189072"/>
                        <a:pt x="194734" y="237811"/>
                      </a:cubicBezTo>
                      <a:cubicBezTo>
                        <a:pt x="184024" y="250305"/>
                        <a:pt x="177801" y="266033"/>
                        <a:pt x="169334" y="280144"/>
                      </a:cubicBezTo>
                      <a:cubicBezTo>
                        <a:pt x="163689" y="299900"/>
                        <a:pt x="158304" y="319731"/>
                        <a:pt x="152400" y="339411"/>
                      </a:cubicBezTo>
                      <a:cubicBezTo>
                        <a:pt x="149836" y="347959"/>
                        <a:pt x="147450" y="356608"/>
                        <a:pt x="143934" y="364811"/>
                      </a:cubicBezTo>
                      <a:cubicBezTo>
                        <a:pt x="138962" y="376412"/>
                        <a:pt x="131432" y="386860"/>
                        <a:pt x="127000" y="398678"/>
                      </a:cubicBezTo>
                      <a:cubicBezTo>
                        <a:pt x="114465" y="432104"/>
                        <a:pt x="93134" y="500278"/>
                        <a:pt x="93134" y="500278"/>
                      </a:cubicBezTo>
                      <a:cubicBezTo>
                        <a:pt x="90312" y="539789"/>
                        <a:pt x="88609" y="579396"/>
                        <a:pt x="84667" y="618811"/>
                      </a:cubicBezTo>
                      <a:cubicBezTo>
                        <a:pt x="79744" y="668035"/>
                        <a:pt x="76664" y="661805"/>
                        <a:pt x="67734" y="703478"/>
                      </a:cubicBezTo>
                      <a:cubicBezTo>
                        <a:pt x="61704" y="731620"/>
                        <a:pt x="50800" y="788144"/>
                        <a:pt x="50800" y="788144"/>
                      </a:cubicBezTo>
                      <a:cubicBezTo>
                        <a:pt x="47978" y="827655"/>
                        <a:pt x="46962" y="867337"/>
                        <a:pt x="42334" y="906678"/>
                      </a:cubicBezTo>
                      <a:cubicBezTo>
                        <a:pt x="41291" y="915542"/>
                        <a:pt x="34910" y="923214"/>
                        <a:pt x="33867" y="932078"/>
                      </a:cubicBezTo>
                      <a:cubicBezTo>
                        <a:pt x="13208" y="1107675"/>
                        <a:pt x="38345" y="998828"/>
                        <a:pt x="16934" y="1084478"/>
                      </a:cubicBezTo>
                      <a:cubicBezTo>
                        <a:pt x="14112" y="1129633"/>
                        <a:pt x="11809" y="1174824"/>
                        <a:pt x="8467" y="1219944"/>
                      </a:cubicBezTo>
                      <a:cubicBezTo>
                        <a:pt x="6164" y="1251032"/>
                        <a:pt x="0" y="1281905"/>
                        <a:pt x="0" y="1313078"/>
                      </a:cubicBezTo>
                      <a:cubicBezTo>
                        <a:pt x="0" y="1564272"/>
                        <a:pt x="4480" y="1815449"/>
                        <a:pt x="8467" y="2066611"/>
                      </a:cubicBezTo>
                      <a:cubicBezTo>
                        <a:pt x="10125" y="2171058"/>
                        <a:pt x="12759" y="2275501"/>
                        <a:pt x="16934" y="2379878"/>
                      </a:cubicBezTo>
                      <a:cubicBezTo>
                        <a:pt x="18486" y="2418675"/>
                        <a:pt x="29951" y="2540004"/>
                        <a:pt x="33867" y="2583078"/>
                      </a:cubicBezTo>
                      <a:cubicBezTo>
                        <a:pt x="36689" y="2662100"/>
                        <a:pt x="37823" y="2741200"/>
                        <a:pt x="42334" y="2820144"/>
                      </a:cubicBezTo>
                      <a:cubicBezTo>
                        <a:pt x="43472" y="2840068"/>
                        <a:pt x="36689" y="2865300"/>
                        <a:pt x="50800" y="2879411"/>
                      </a:cubicBezTo>
                      <a:cubicBezTo>
                        <a:pt x="60976" y="2889587"/>
                        <a:pt x="78793" y="2872139"/>
                        <a:pt x="93134" y="2870944"/>
                      </a:cubicBezTo>
                      <a:cubicBezTo>
                        <a:pt x="146645" y="2866485"/>
                        <a:pt x="200345" y="2864582"/>
                        <a:pt x="254000" y="2862478"/>
                      </a:cubicBezTo>
                      <a:lnTo>
                        <a:pt x="524934" y="2854011"/>
                      </a:lnTo>
                      <a:lnTo>
                        <a:pt x="2159000" y="2862478"/>
                      </a:lnTo>
                      <a:cubicBezTo>
                        <a:pt x="2276843" y="2863680"/>
                        <a:pt x="2029105" y="2896824"/>
                        <a:pt x="2235200" y="2862478"/>
                      </a:cubicBezTo>
                      <a:cubicBezTo>
                        <a:pt x="2273574" y="2708987"/>
                        <a:pt x="2253789" y="2800794"/>
                        <a:pt x="2235200" y="2447611"/>
                      </a:cubicBezTo>
                      <a:cubicBezTo>
                        <a:pt x="2233395" y="2413325"/>
                        <a:pt x="2218267" y="2346011"/>
                        <a:pt x="2218267" y="2346011"/>
                      </a:cubicBezTo>
                      <a:cubicBezTo>
                        <a:pt x="2215445" y="2272633"/>
                        <a:pt x="2214528" y="2199158"/>
                        <a:pt x="2209800" y="2125878"/>
                      </a:cubicBezTo>
                      <a:cubicBezTo>
                        <a:pt x="2208874" y="2111517"/>
                        <a:pt x="2203369" y="2097790"/>
                        <a:pt x="2201334" y="2083544"/>
                      </a:cubicBezTo>
                      <a:cubicBezTo>
                        <a:pt x="2197720" y="2058245"/>
                        <a:pt x="2196612" y="2032624"/>
                        <a:pt x="2192867" y="2007344"/>
                      </a:cubicBezTo>
                      <a:cubicBezTo>
                        <a:pt x="2185320" y="1956399"/>
                        <a:pt x="2167467" y="1854944"/>
                        <a:pt x="2167467" y="1854944"/>
                      </a:cubicBezTo>
                      <a:cubicBezTo>
                        <a:pt x="2164645" y="1812611"/>
                        <a:pt x="2163441" y="1770138"/>
                        <a:pt x="2159000" y="1727944"/>
                      </a:cubicBezTo>
                      <a:cubicBezTo>
                        <a:pt x="2157782" y="1716372"/>
                        <a:pt x="2152303" y="1705579"/>
                        <a:pt x="2150534" y="1694078"/>
                      </a:cubicBezTo>
                      <a:cubicBezTo>
                        <a:pt x="2146648" y="1668819"/>
                        <a:pt x="2144452" y="1643323"/>
                        <a:pt x="2142067" y="1617878"/>
                      </a:cubicBezTo>
                      <a:cubicBezTo>
                        <a:pt x="2135985" y="1553006"/>
                        <a:pt x="2132075" y="1487929"/>
                        <a:pt x="2125134" y="1423144"/>
                      </a:cubicBezTo>
                      <a:cubicBezTo>
                        <a:pt x="2119854" y="1373866"/>
                        <a:pt x="2115497" y="1385768"/>
                        <a:pt x="2099734" y="1338478"/>
                      </a:cubicBezTo>
                      <a:cubicBezTo>
                        <a:pt x="2069133" y="1246675"/>
                        <a:pt x="2098254" y="1310120"/>
                        <a:pt x="2065867" y="1245344"/>
                      </a:cubicBezTo>
                      <a:cubicBezTo>
                        <a:pt x="2063045" y="1222766"/>
                        <a:pt x="2060407" y="1200165"/>
                        <a:pt x="2057400" y="1177611"/>
                      </a:cubicBezTo>
                      <a:cubicBezTo>
                        <a:pt x="2054763" y="1157830"/>
                        <a:pt x="2051409" y="1138146"/>
                        <a:pt x="2048934" y="1118344"/>
                      </a:cubicBezTo>
                      <a:cubicBezTo>
                        <a:pt x="2036389" y="1017979"/>
                        <a:pt x="2045031" y="1068884"/>
                        <a:pt x="2032000" y="974411"/>
                      </a:cubicBezTo>
                      <a:cubicBezTo>
                        <a:pt x="2023820" y="915104"/>
                        <a:pt x="2033374" y="850159"/>
                        <a:pt x="2006600" y="796611"/>
                      </a:cubicBezTo>
                      <a:cubicBezTo>
                        <a:pt x="1931225" y="645861"/>
                        <a:pt x="2030665" y="852542"/>
                        <a:pt x="1964267" y="686544"/>
                      </a:cubicBezTo>
                      <a:cubicBezTo>
                        <a:pt x="1960488" y="677096"/>
                        <a:pt x="1951467" y="670443"/>
                        <a:pt x="1947334" y="661144"/>
                      </a:cubicBezTo>
                      <a:cubicBezTo>
                        <a:pt x="1896736" y="547299"/>
                        <a:pt x="1965822" y="669380"/>
                        <a:pt x="1905000" y="568011"/>
                      </a:cubicBezTo>
                      <a:cubicBezTo>
                        <a:pt x="1902178" y="551078"/>
                        <a:pt x="1901051" y="533773"/>
                        <a:pt x="1896534" y="517211"/>
                      </a:cubicBezTo>
                      <a:cubicBezTo>
                        <a:pt x="1892535" y="502548"/>
                        <a:pt x="1884936" y="489108"/>
                        <a:pt x="1879600" y="474878"/>
                      </a:cubicBezTo>
                      <a:cubicBezTo>
                        <a:pt x="1864576" y="434814"/>
                        <a:pt x="1879893" y="462617"/>
                        <a:pt x="1854200" y="424078"/>
                      </a:cubicBezTo>
                      <a:cubicBezTo>
                        <a:pt x="1832075" y="357697"/>
                        <a:pt x="1862005" y="434871"/>
                        <a:pt x="1828800" y="381744"/>
                      </a:cubicBezTo>
                      <a:cubicBezTo>
                        <a:pt x="1818766" y="365690"/>
                        <a:pt x="1813141" y="347178"/>
                        <a:pt x="1803400" y="330944"/>
                      </a:cubicBezTo>
                      <a:cubicBezTo>
                        <a:pt x="1796140" y="318844"/>
                        <a:pt x="1785479" y="309044"/>
                        <a:pt x="1778000" y="297078"/>
                      </a:cubicBezTo>
                      <a:cubicBezTo>
                        <a:pt x="1771311" y="286375"/>
                        <a:pt x="1767329" y="274170"/>
                        <a:pt x="1761067" y="263211"/>
                      </a:cubicBezTo>
                      <a:cubicBezTo>
                        <a:pt x="1749666" y="243258"/>
                        <a:pt x="1731713" y="222115"/>
                        <a:pt x="1718734" y="203944"/>
                      </a:cubicBezTo>
                      <a:cubicBezTo>
                        <a:pt x="1704847" y="184503"/>
                        <a:pt x="1693888" y="167230"/>
                        <a:pt x="1684867" y="144678"/>
                      </a:cubicBezTo>
                      <a:cubicBezTo>
                        <a:pt x="1678238" y="128105"/>
                        <a:pt x="1677835" y="108729"/>
                        <a:pt x="1667934" y="93878"/>
                      </a:cubicBezTo>
                      <a:cubicBezTo>
                        <a:pt x="1662289" y="85411"/>
                        <a:pt x="1657357" y="76424"/>
                        <a:pt x="1651000" y="68478"/>
                      </a:cubicBezTo>
                      <a:cubicBezTo>
                        <a:pt x="1638163" y="52431"/>
                        <a:pt x="1615574" y="37126"/>
                        <a:pt x="1600200" y="26144"/>
                      </a:cubicBezTo>
                      <a:cubicBezTo>
                        <a:pt x="1591920" y="20230"/>
                        <a:pt x="1583901" y="13762"/>
                        <a:pt x="1574800" y="9211"/>
                      </a:cubicBezTo>
                      <a:cubicBezTo>
                        <a:pt x="1548941" y="-3718"/>
                        <a:pt x="1537884" y="744"/>
                        <a:pt x="1507067" y="744"/>
                      </a:cubicBezTo>
                      <a:lnTo>
                        <a:pt x="1507067" y="744"/>
                      </a:lnTo>
                    </a:path>
                  </a:pathLst>
                </a:cu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63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8" name="Oval 57"/>
                <p:cNvSpPr/>
                <p:nvPr/>
              </p:nvSpPr>
              <p:spPr>
                <a:xfrm>
                  <a:off x="3640666" y="1413935"/>
                  <a:ext cx="1515534" cy="1346200"/>
                </a:xfrm>
                <a:prstGeom prst="ellipse">
                  <a:avLst/>
                </a:prstGeom>
                <a:solidFill>
                  <a:schemeClr val="tx1">
                    <a:lumMod val="65000"/>
                    <a:lumOff val="35000"/>
                  </a:schemeClr>
                </a:solid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63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9" name="Freeform 58"/>
                <p:cNvSpPr/>
                <p:nvPr/>
              </p:nvSpPr>
              <p:spPr>
                <a:xfrm>
                  <a:off x="2985738" y="3107267"/>
                  <a:ext cx="617631" cy="1161158"/>
                </a:xfrm>
                <a:custGeom>
                  <a:avLst/>
                  <a:gdLst>
                    <a:gd name="connsiteX0" fmla="*/ 617631 w 617631"/>
                    <a:gd name="connsiteY0" fmla="*/ 0 h 1161158"/>
                    <a:gd name="connsiteX1" fmla="*/ 16498 w 617631"/>
                    <a:gd name="connsiteY1" fmla="*/ 1092200 h 1161158"/>
                    <a:gd name="connsiteX2" fmla="*/ 228165 w 617631"/>
                    <a:gd name="connsiteY2" fmla="*/ 956733 h 1161158"/>
                  </a:gdLst>
                  <a:ahLst/>
                  <a:cxnLst>
                    <a:cxn ang="0">
                      <a:pos x="connsiteX0" y="connsiteY0"/>
                    </a:cxn>
                    <a:cxn ang="0">
                      <a:pos x="connsiteX1" y="connsiteY1"/>
                    </a:cxn>
                    <a:cxn ang="0">
                      <a:pos x="connsiteX2" y="connsiteY2"/>
                    </a:cxn>
                  </a:cxnLst>
                  <a:rect l="l" t="t" r="r" b="b"/>
                  <a:pathLst>
                    <a:path w="617631" h="1161158">
                      <a:moveTo>
                        <a:pt x="617631" y="0"/>
                      </a:moveTo>
                      <a:cubicBezTo>
                        <a:pt x="349520" y="466372"/>
                        <a:pt x="81409" y="932745"/>
                        <a:pt x="16498" y="1092200"/>
                      </a:cubicBezTo>
                      <a:cubicBezTo>
                        <a:pt x="-48413" y="1251655"/>
                        <a:pt x="89876" y="1104194"/>
                        <a:pt x="228165" y="956733"/>
                      </a:cubicBezTo>
                    </a:path>
                  </a:pathLst>
                </a:cu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63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0" name="Freeform 59"/>
                <p:cNvSpPr/>
                <p:nvPr/>
              </p:nvSpPr>
              <p:spPr>
                <a:xfrm flipH="1">
                  <a:off x="5351368" y="3048000"/>
                  <a:ext cx="617631" cy="1161158"/>
                </a:xfrm>
                <a:custGeom>
                  <a:avLst/>
                  <a:gdLst>
                    <a:gd name="connsiteX0" fmla="*/ 617631 w 617631"/>
                    <a:gd name="connsiteY0" fmla="*/ 0 h 1161158"/>
                    <a:gd name="connsiteX1" fmla="*/ 16498 w 617631"/>
                    <a:gd name="connsiteY1" fmla="*/ 1092200 h 1161158"/>
                    <a:gd name="connsiteX2" fmla="*/ 228165 w 617631"/>
                    <a:gd name="connsiteY2" fmla="*/ 956733 h 1161158"/>
                  </a:gdLst>
                  <a:ahLst/>
                  <a:cxnLst>
                    <a:cxn ang="0">
                      <a:pos x="connsiteX0" y="connsiteY0"/>
                    </a:cxn>
                    <a:cxn ang="0">
                      <a:pos x="connsiteX1" y="connsiteY1"/>
                    </a:cxn>
                    <a:cxn ang="0">
                      <a:pos x="connsiteX2" y="connsiteY2"/>
                    </a:cxn>
                  </a:cxnLst>
                  <a:rect l="l" t="t" r="r" b="b"/>
                  <a:pathLst>
                    <a:path w="617631" h="1161158">
                      <a:moveTo>
                        <a:pt x="617631" y="0"/>
                      </a:moveTo>
                      <a:cubicBezTo>
                        <a:pt x="349520" y="466372"/>
                        <a:pt x="81409" y="932745"/>
                        <a:pt x="16498" y="1092200"/>
                      </a:cubicBezTo>
                      <a:cubicBezTo>
                        <a:pt x="-48413" y="1251655"/>
                        <a:pt x="89876" y="1104194"/>
                        <a:pt x="228165" y="956733"/>
                      </a:cubicBezTo>
                    </a:path>
                  </a:pathLst>
                </a:cu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63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61" name="Straight Connector 60"/>
                <p:cNvCxnSpPr/>
                <p:nvPr/>
              </p:nvCxnSpPr>
              <p:spPr>
                <a:xfrm>
                  <a:off x="4301068" y="5419659"/>
                  <a:ext cx="16933" cy="1227667"/>
                </a:xfrm>
                <a:prstGeom prst="line">
                  <a:avLst/>
                </a:prstGeom>
                <a:ln w="76200">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5105402" y="5419660"/>
                  <a:ext cx="16933" cy="1227667"/>
                </a:xfrm>
                <a:prstGeom prst="line">
                  <a:avLst/>
                </a:prstGeom>
                <a:ln w="76200">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grpSp>
          <p:grpSp>
            <p:nvGrpSpPr>
              <p:cNvPr id="43" name="Group 42"/>
              <p:cNvGrpSpPr/>
              <p:nvPr/>
            </p:nvGrpSpPr>
            <p:grpSpPr>
              <a:xfrm>
                <a:off x="10056384" y="3006003"/>
                <a:ext cx="1027462" cy="2319865"/>
                <a:chOff x="2985738" y="1413935"/>
                <a:chExt cx="2983261" cy="5233392"/>
              </a:xfrm>
            </p:grpSpPr>
            <p:sp>
              <p:nvSpPr>
                <p:cNvPr id="51" name="Freeform 50"/>
                <p:cNvSpPr/>
                <p:nvPr/>
              </p:nvSpPr>
              <p:spPr>
                <a:xfrm>
                  <a:off x="3496733" y="2556189"/>
                  <a:ext cx="2257170" cy="2882584"/>
                </a:xfrm>
                <a:custGeom>
                  <a:avLst/>
                  <a:gdLst>
                    <a:gd name="connsiteX0" fmla="*/ 347134 w 2257170"/>
                    <a:gd name="connsiteY0" fmla="*/ 51544 h 2882584"/>
                    <a:gd name="connsiteX1" fmla="*/ 347134 w 2257170"/>
                    <a:gd name="connsiteY1" fmla="*/ 51544 h 2882584"/>
                    <a:gd name="connsiteX2" fmla="*/ 287867 w 2257170"/>
                    <a:gd name="connsiteY2" fmla="*/ 102344 h 2882584"/>
                    <a:gd name="connsiteX3" fmla="*/ 254000 w 2257170"/>
                    <a:gd name="connsiteY3" fmla="*/ 161611 h 2882584"/>
                    <a:gd name="connsiteX4" fmla="*/ 228600 w 2257170"/>
                    <a:gd name="connsiteY4" fmla="*/ 195478 h 2882584"/>
                    <a:gd name="connsiteX5" fmla="*/ 194734 w 2257170"/>
                    <a:gd name="connsiteY5" fmla="*/ 237811 h 2882584"/>
                    <a:gd name="connsiteX6" fmla="*/ 169334 w 2257170"/>
                    <a:gd name="connsiteY6" fmla="*/ 280144 h 2882584"/>
                    <a:gd name="connsiteX7" fmla="*/ 152400 w 2257170"/>
                    <a:gd name="connsiteY7" fmla="*/ 339411 h 2882584"/>
                    <a:gd name="connsiteX8" fmla="*/ 143934 w 2257170"/>
                    <a:gd name="connsiteY8" fmla="*/ 364811 h 2882584"/>
                    <a:gd name="connsiteX9" fmla="*/ 127000 w 2257170"/>
                    <a:gd name="connsiteY9" fmla="*/ 398678 h 2882584"/>
                    <a:gd name="connsiteX10" fmla="*/ 93134 w 2257170"/>
                    <a:gd name="connsiteY10" fmla="*/ 500278 h 2882584"/>
                    <a:gd name="connsiteX11" fmla="*/ 84667 w 2257170"/>
                    <a:gd name="connsiteY11" fmla="*/ 618811 h 2882584"/>
                    <a:gd name="connsiteX12" fmla="*/ 67734 w 2257170"/>
                    <a:gd name="connsiteY12" fmla="*/ 703478 h 2882584"/>
                    <a:gd name="connsiteX13" fmla="*/ 50800 w 2257170"/>
                    <a:gd name="connsiteY13" fmla="*/ 788144 h 2882584"/>
                    <a:gd name="connsiteX14" fmla="*/ 42334 w 2257170"/>
                    <a:gd name="connsiteY14" fmla="*/ 906678 h 2882584"/>
                    <a:gd name="connsiteX15" fmla="*/ 33867 w 2257170"/>
                    <a:gd name="connsiteY15" fmla="*/ 932078 h 2882584"/>
                    <a:gd name="connsiteX16" fmla="*/ 16934 w 2257170"/>
                    <a:gd name="connsiteY16" fmla="*/ 1084478 h 2882584"/>
                    <a:gd name="connsiteX17" fmla="*/ 8467 w 2257170"/>
                    <a:gd name="connsiteY17" fmla="*/ 1219944 h 2882584"/>
                    <a:gd name="connsiteX18" fmla="*/ 0 w 2257170"/>
                    <a:gd name="connsiteY18" fmla="*/ 1313078 h 2882584"/>
                    <a:gd name="connsiteX19" fmla="*/ 8467 w 2257170"/>
                    <a:gd name="connsiteY19" fmla="*/ 2066611 h 2882584"/>
                    <a:gd name="connsiteX20" fmla="*/ 16934 w 2257170"/>
                    <a:gd name="connsiteY20" fmla="*/ 2379878 h 2882584"/>
                    <a:gd name="connsiteX21" fmla="*/ 33867 w 2257170"/>
                    <a:gd name="connsiteY21" fmla="*/ 2583078 h 2882584"/>
                    <a:gd name="connsiteX22" fmla="*/ 42334 w 2257170"/>
                    <a:gd name="connsiteY22" fmla="*/ 2820144 h 2882584"/>
                    <a:gd name="connsiteX23" fmla="*/ 50800 w 2257170"/>
                    <a:gd name="connsiteY23" fmla="*/ 2879411 h 2882584"/>
                    <a:gd name="connsiteX24" fmla="*/ 93134 w 2257170"/>
                    <a:gd name="connsiteY24" fmla="*/ 2870944 h 2882584"/>
                    <a:gd name="connsiteX25" fmla="*/ 254000 w 2257170"/>
                    <a:gd name="connsiteY25" fmla="*/ 2862478 h 2882584"/>
                    <a:gd name="connsiteX26" fmla="*/ 524934 w 2257170"/>
                    <a:gd name="connsiteY26" fmla="*/ 2854011 h 2882584"/>
                    <a:gd name="connsiteX27" fmla="*/ 2159000 w 2257170"/>
                    <a:gd name="connsiteY27" fmla="*/ 2862478 h 2882584"/>
                    <a:gd name="connsiteX28" fmla="*/ 2235200 w 2257170"/>
                    <a:gd name="connsiteY28" fmla="*/ 2862478 h 2882584"/>
                    <a:gd name="connsiteX29" fmla="*/ 2235200 w 2257170"/>
                    <a:gd name="connsiteY29" fmla="*/ 2447611 h 2882584"/>
                    <a:gd name="connsiteX30" fmla="*/ 2218267 w 2257170"/>
                    <a:gd name="connsiteY30" fmla="*/ 2346011 h 2882584"/>
                    <a:gd name="connsiteX31" fmla="*/ 2209800 w 2257170"/>
                    <a:gd name="connsiteY31" fmla="*/ 2125878 h 2882584"/>
                    <a:gd name="connsiteX32" fmla="*/ 2201334 w 2257170"/>
                    <a:gd name="connsiteY32" fmla="*/ 2083544 h 2882584"/>
                    <a:gd name="connsiteX33" fmla="*/ 2192867 w 2257170"/>
                    <a:gd name="connsiteY33" fmla="*/ 2007344 h 2882584"/>
                    <a:gd name="connsiteX34" fmla="*/ 2167467 w 2257170"/>
                    <a:gd name="connsiteY34" fmla="*/ 1854944 h 2882584"/>
                    <a:gd name="connsiteX35" fmla="*/ 2159000 w 2257170"/>
                    <a:gd name="connsiteY35" fmla="*/ 1727944 h 2882584"/>
                    <a:gd name="connsiteX36" fmla="*/ 2150534 w 2257170"/>
                    <a:gd name="connsiteY36" fmla="*/ 1694078 h 2882584"/>
                    <a:gd name="connsiteX37" fmla="*/ 2142067 w 2257170"/>
                    <a:gd name="connsiteY37" fmla="*/ 1617878 h 2882584"/>
                    <a:gd name="connsiteX38" fmla="*/ 2125134 w 2257170"/>
                    <a:gd name="connsiteY38" fmla="*/ 1423144 h 2882584"/>
                    <a:gd name="connsiteX39" fmla="*/ 2099734 w 2257170"/>
                    <a:gd name="connsiteY39" fmla="*/ 1338478 h 2882584"/>
                    <a:gd name="connsiteX40" fmla="*/ 2065867 w 2257170"/>
                    <a:gd name="connsiteY40" fmla="*/ 1245344 h 2882584"/>
                    <a:gd name="connsiteX41" fmla="*/ 2057400 w 2257170"/>
                    <a:gd name="connsiteY41" fmla="*/ 1177611 h 2882584"/>
                    <a:gd name="connsiteX42" fmla="*/ 2048934 w 2257170"/>
                    <a:gd name="connsiteY42" fmla="*/ 1118344 h 2882584"/>
                    <a:gd name="connsiteX43" fmla="*/ 2032000 w 2257170"/>
                    <a:gd name="connsiteY43" fmla="*/ 974411 h 2882584"/>
                    <a:gd name="connsiteX44" fmla="*/ 2006600 w 2257170"/>
                    <a:gd name="connsiteY44" fmla="*/ 796611 h 2882584"/>
                    <a:gd name="connsiteX45" fmla="*/ 1964267 w 2257170"/>
                    <a:gd name="connsiteY45" fmla="*/ 686544 h 2882584"/>
                    <a:gd name="connsiteX46" fmla="*/ 1947334 w 2257170"/>
                    <a:gd name="connsiteY46" fmla="*/ 661144 h 2882584"/>
                    <a:gd name="connsiteX47" fmla="*/ 1905000 w 2257170"/>
                    <a:gd name="connsiteY47" fmla="*/ 568011 h 2882584"/>
                    <a:gd name="connsiteX48" fmla="*/ 1896534 w 2257170"/>
                    <a:gd name="connsiteY48" fmla="*/ 517211 h 2882584"/>
                    <a:gd name="connsiteX49" fmla="*/ 1879600 w 2257170"/>
                    <a:gd name="connsiteY49" fmla="*/ 474878 h 2882584"/>
                    <a:gd name="connsiteX50" fmla="*/ 1854200 w 2257170"/>
                    <a:gd name="connsiteY50" fmla="*/ 424078 h 2882584"/>
                    <a:gd name="connsiteX51" fmla="*/ 1828800 w 2257170"/>
                    <a:gd name="connsiteY51" fmla="*/ 381744 h 2882584"/>
                    <a:gd name="connsiteX52" fmla="*/ 1803400 w 2257170"/>
                    <a:gd name="connsiteY52" fmla="*/ 330944 h 2882584"/>
                    <a:gd name="connsiteX53" fmla="*/ 1778000 w 2257170"/>
                    <a:gd name="connsiteY53" fmla="*/ 297078 h 2882584"/>
                    <a:gd name="connsiteX54" fmla="*/ 1761067 w 2257170"/>
                    <a:gd name="connsiteY54" fmla="*/ 263211 h 2882584"/>
                    <a:gd name="connsiteX55" fmla="*/ 1718734 w 2257170"/>
                    <a:gd name="connsiteY55" fmla="*/ 203944 h 2882584"/>
                    <a:gd name="connsiteX56" fmla="*/ 1684867 w 2257170"/>
                    <a:gd name="connsiteY56" fmla="*/ 144678 h 2882584"/>
                    <a:gd name="connsiteX57" fmla="*/ 1667934 w 2257170"/>
                    <a:gd name="connsiteY57" fmla="*/ 93878 h 2882584"/>
                    <a:gd name="connsiteX58" fmla="*/ 1651000 w 2257170"/>
                    <a:gd name="connsiteY58" fmla="*/ 68478 h 2882584"/>
                    <a:gd name="connsiteX59" fmla="*/ 1600200 w 2257170"/>
                    <a:gd name="connsiteY59" fmla="*/ 26144 h 2882584"/>
                    <a:gd name="connsiteX60" fmla="*/ 1574800 w 2257170"/>
                    <a:gd name="connsiteY60" fmla="*/ 9211 h 2882584"/>
                    <a:gd name="connsiteX61" fmla="*/ 1507067 w 2257170"/>
                    <a:gd name="connsiteY61" fmla="*/ 744 h 2882584"/>
                    <a:gd name="connsiteX62" fmla="*/ 1507067 w 2257170"/>
                    <a:gd name="connsiteY62" fmla="*/ 744 h 2882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257170" h="2882584">
                      <a:moveTo>
                        <a:pt x="347134" y="51544"/>
                      </a:moveTo>
                      <a:lnTo>
                        <a:pt x="347134" y="51544"/>
                      </a:lnTo>
                      <a:cubicBezTo>
                        <a:pt x="327378" y="68477"/>
                        <a:pt x="306266" y="83945"/>
                        <a:pt x="287867" y="102344"/>
                      </a:cubicBezTo>
                      <a:cubicBezTo>
                        <a:pt x="272333" y="117878"/>
                        <a:pt x="265065" y="143907"/>
                        <a:pt x="254000" y="161611"/>
                      </a:cubicBezTo>
                      <a:cubicBezTo>
                        <a:pt x="246521" y="173577"/>
                        <a:pt x="237067" y="184189"/>
                        <a:pt x="228600" y="195478"/>
                      </a:cubicBezTo>
                      <a:cubicBezTo>
                        <a:pt x="209066" y="254086"/>
                        <a:pt x="236511" y="189072"/>
                        <a:pt x="194734" y="237811"/>
                      </a:cubicBezTo>
                      <a:cubicBezTo>
                        <a:pt x="184024" y="250305"/>
                        <a:pt x="177801" y="266033"/>
                        <a:pt x="169334" y="280144"/>
                      </a:cubicBezTo>
                      <a:cubicBezTo>
                        <a:pt x="163689" y="299900"/>
                        <a:pt x="158304" y="319731"/>
                        <a:pt x="152400" y="339411"/>
                      </a:cubicBezTo>
                      <a:cubicBezTo>
                        <a:pt x="149836" y="347959"/>
                        <a:pt x="147450" y="356608"/>
                        <a:pt x="143934" y="364811"/>
                      </a:cubicBezTo>
                      <a:cubicBezTo>
                        <a:pt x="138962" y="376412"/>
                        <a:pt x="131432" y="386860"/>
                        <a:pt x="127000" y="398678"/>
                      </a:cubicBezTo>
                      <a:cubicBezTo>
                        <a:pt x="114465" y="432104"/>
                        <a:pt x="93134" y="500278"/>
                        <a:pt x="93134" y="500278"/>
                      </a:cubicBezTo>
                      <a:cubicBezTo>
                        <a:pt x="90312" y="539789"/>
                        <a:pt x="88609" y="579396"/>
                        <a:pt x="84667" y="618811"/>
                      </a:cubicBezTo>
                      <a:cubicBezTo>
                        <a:pt x="79744" y="668035"/>
                        <a:pt x="76664" y="661805"/>
                        <a:pt x="67734" y="703478"/>
                      </a:cubicBezTo>
                      <a:cubicBezTo>
                        <a:pt x="61704" y="731620"/>
                        <a:pt x="50800" y="788144"/>
                        <a:pt x="50800" y="788144"/>
                      </a:cubicBezTo>
                      <a:cubicBezTo>
                        <a:pt x="47978" y="827655"/>
                        <a:pt x="46962" y="867337"/>
                        <a:pt x="42334" y="906678"/>
                      </a:cubicBezTo>
                      <a:cubicBezTo>
                        <a:pt x="41291" y="915542"/>
                        <a:pt x="34910" y="923214"/>
                        <a:pt x="33867" y="932078"/>
                      </a:cubicBezTo>
                      <a:cubicBezTo>
                        <a:pt x="13208" y="1107675"/>
                        <a:pt x="38345" y="998828"/>
                        <a:pt x="16934" y="1084478"/>
                      </a:cubicBezTo>
                      <a:cubicBezTo>
                        <a:pt x="14112" y="1129633"/>
                        <a:pt x="11809" y="1174824"/>
                        <a:pt x="8467" y="1219944"/>
                      </a:cubicBezTo>
                      <a:cubicBezTo>
                        <a:pt x="6164" y="1251032"/>
                        <a:pt x="0" y="1281905"/>
                        <a:pt x="0" y="1313078"/>
                      </a:cubicBezTo>
                      <a:cubicBezTo>
                        <a:pt x="0" y="1564272"/>
                        <a:pt x="4480" y="1815449"/>
                        <a:pt x="8467" y="2066611"/>
                      </a:cubicBezTo>
                      <a:cubicBezTo>
                        <a:pt x="10125" y="2171058"/>
                        <a:pt x="12759" y="2275501"/>
                        <a:pt x="16934" y="2379878"/>
                      </a:cubicBezTo>
                      <a:cubicBezTo>
                        <a:pt x="18486" y="2418675"/>
                        <a:pt x="29951" y="2540004"/>
                        <a:pt x="33867" y="2583078"/>
                      </a:cubicBezTo>
                      <a:cubicBezTo>
                        <a:pt x="36689" y="2662100"/>
                        <a:pt x="37823" y="2741200"/>
                        <a:pt x="42334" y="2820144"/>
                      </a:cubicBezTo>
                      <a:cubicBezTo>
                        <a:pt x="43472" y="2840068"/>
                        <a:pt x="36689" y="2865300"/>
                        <a:pt x="50800" y="2879411"/>
                      </a:cubicBezTo>
                      <a:cubicBezTo>
                        <a:pt x="60976" y="2889587"/>
                        <a:pt x="78793" y="2872139"/>
                        <a:pt x="93134" y="2870944"/>
                      </a:cubicBezTo>
                      <a:cubicBezTo>
                        <a:pt x="146645" y="2866485"/>
                        <a:pt x="200345" y="2864582"/>
                        <a:pt x="254000" y="2862478"/>
                      </a:cubicBezTo>
                      <a:lnTo>
                        <a:pt x="524934" y="2854011"/>
                      </a:lnTo>
                      <a:lnTo>
                        <a:pt x="2159000" y="2862478"/>
                      </a:lnTo>
                      <a:cubicBezTo>
                        <a:pt x="2276843" y="2863680"/>
                        <a:pt x="2029105" y="2896824"/>
                        <a:pt x="2235200" y="2862478"/>
                      </a:cubicBezTo>
                      <a:cubicBezTo>
                        <a:pt x="2273574" y="2708987"/>
                        <a:pt x="2253789" y="2800794"/>
                        <a:pt x="2235200" y="2447611"/>
                      </a:cubicBezTo>
                      <a:cubicBezTo>
                        <a:pt x="2233395" y="2413325"/>
                        <a:pt x="2218267" y="2346011"/>
                        <a:pt x="2218267" y="2346011"/>
                      </a:cubicBezTo>
                      <a:cubicBezTo>
                        <a:pt x="2215445" y="2272633"/>
                        <a:pt x="2214528" y="2199158"/>
                        <a:pt x="2209800" y="2125878"/>
                      </a:cubicBezTo>
                      <a:cubicBezTo>
                        <a:pt x="2208874" y="2111517"/>
                        <a:pt x="2203369" y="2097790"/>
                        <a:pt x="2201334" y="2083544"/>
                      </a:cubicBezTo>
                      <a:cubicBezTo>
                        <a:pt x="2197720" y="2058245"/>
                        <a:pt x="2196612" y="2032624"/>
                        <a:pt x="2192867" y="2007344"/>
                      </a:cubicBezTo>
                      <a:cubicBezTo>
                        <a:pt x="2185320" y="1956399"/>
                        <a:pt x="2167467" y="1854944"/>
                        <a:pt x="2167467" y="1854944"/>
                      </a:cubicBezTo>
                      <a:cubicBezTo>
                        <a:pt x="2164645" y="1812611"/>
                        <a:pt x="2163441" y="1770138"/>
                        <a:pt x="2159000" y="1727944"/>
                      </a:cubicBezTo>
                      <a:cubicBezTo>
                        <a:pt x="2157782" y="1716372"/>
                        <a:pt x="2152303" y="1705579"/>
                        <a:pt x="2150534" y="1694078"/>
                      </a:cubicBezTo>
                      <a:cubicBezTo>
                        <a:pt x="2146648" y="1668819"/>
                        <a:pt x="2144452" y="1643323"/>
                        <a:pt x="2142067" y="1617878"/>
                      </a:cubicBezTo>
                      <a:cubicBezTo>
                        <a:pt x="2135985" y="1553006"/>
                        <a:pt x="2132075" y="1487929"/>
                        <a:pt x="2125134" y="1423144"/>
                      </a:cubicBezTo>
                      <a:cubicBezTo>
                        <a:pt x="2119854" y="1373866"/>
                        <a:pt x="2115497" y="1385768"/>
                        <a:pt x="2099734" y="1338478"/>
                      </a:cubicBezTo>
                      <a:cubicBezTo>
                        <a:pt x="2069133" y="1246675"/>
                        <a:pt x="2098254" y="1310120"/>
                        <a:pt x="2065867" y="1245344"/>
                      </a:cubicBezTo>
                      <a:cubicBezTo>
                        <a:pt x="2063045" y="1222766"/>
                        <a:pt x="2060407" y="1200165"/>
                        <a:pt x="2057400" y="1177611"/>
                      </a:cubicBezTo>
                      <a:cubicBezTo>
                        <a:pt x="2054763" y="1157830"/>
                        <a:pt x="2051409" y="1138146"/>
                        <a:pt x="2048934" y="1118344"/>
                      </a:cubicBezTo>
                      <a:cubicBezTo>
                        <a:pt x="2036389" y="1017979"/>
                        <a:pt x="2045031" y="1068884"/>
                        <a:pt x="2032000" y="974411"/>
                      </a:cubicBezTo>
                      <a:cubicBezTo>
                        <a:pt x="2023820" y="915104"/>
                        <a:pt x="2033374" y="850159"/>
                        <a:pt x="2006600" y="796611"/>
                      </a:cubicBezTo>
                      <a:cubicBezTo>
                        <a:pt x="1931225" y="645861"/>
                        <a:pt x="2030665" y="852542"/>
                        <a:pt x="1964267" y="686544"/>
                      </a:cubicBezTo>
                      <a:cubicBezTo>
                        <a:pt x="1960488" y="677096"/>
                        <a:pt x="1951467" y="670443"/>
                        <a:pt x="1947334" y="661144"/>
                      </a:cubicBezTo>
                      <a:cubicBezTo>
                        <a:pt x="1896736" y="547299"/>
                        <a:pt x="1965822" y="669380"/>
                        <a:pt x="1905000" y="568011"/>
                      </a:cubicBezTo>
                      <a:cubicBezTo>
                        <a:pt x="1902178" y="551078"/>
                        <a:pt x="1901051" y="533773"/>
                        <a:pt x="1896534" y="517211"/>
                      </a:cubicBezTo>
                      <a:cubicBezTo>
                        <a:pt x="1892535" y="502548"/>
                        <a:pt x="1884936" y="489108"/>
                        <a:pt x="1879600" y="474878"/>
                      </a:cubicBezTo>
                      <a:cubicBezTo>
                        <a:pt x="1864576" y="434814"/>
                        <a:pt x="1879893" y="462617"/>
                        <a:pt x="1854200" y="424078"/>
                      </a:cubicBezTo>
                      <a:cubicBezTo>
                        <a:pt x="1832075" y="357697"/>
                        <a:pt x="1862005" y="434871"/>
                        <a:pt x="1828800" y="381744"/>
                      </a:cubicBezTo>
                      <a:cubicBezTo>
                        <a:pt x="1818766" y="365690"/>
                        <a:pt x="1813141" y="347178"/>
                        <a:pt x="1803400" y="330944"/>
                      </a:cubicBezTo>
                      <a:cubicBezTo>
                        <a:pt x="1796140" y="318844"/>
                        <a:pt x="1785479" y="309044"/>
                        <a:pt x="1778000" y="297078"/>
                      </a:cubicBezTo>
                      <a:cubicBezTo>
                        <a:pt x="1771311" y="286375"/>
                        <a:pt x="1767329" y="274170"/>
                        <a:pt x="1761067" y="263211"/>
                      </a:cubicBezTo>
                      <a:cubicBezTo>
                        <a:pt x="1749666" y="243258"/>
                        <a:pt x="1731713" y="222115"/>
                        <a:pt x="1718734" y="203944"/>
                      </a:cubicBezTo>
                      <a:cubicBezTo>
                        <a:pt x="1704847" y="184503"/>
                        <a:pt x="1693888" y="167230"/>
                        <a:pt x="1684867" y="144678"/>
                      </a:cubicBezTo>
                      <a:cubicBezTo>
                        <a:pt x="1678238" y="128105"/>
                        <a:pt x="1677835" y="108729"/>
                        <a:pt x="1667934" y="93878"/>
                      </a:cubicBezTo>
                      <a:cubicBezTo>
                        <a:pt x="1662289" y="85411"/>
                        <a:pt x="1657357" y="76424"/>
                        <a:pt x="1651000" y="68478"/>
                      </a:cubicBezTo>
                      <a:cubicBezTo>
                        <a:pt x="1638163" y="52431"/>
                        <a:pt x="1615574" y="37126"/>
                        <a:pt x="1600200" y="26144"/>
                      </a:cubicBezTo>
                      <a:cubicBezTo>
                        <a:pt x="1591920" y="20230"/>
                        <a:pt x="1583901" y="13762"/>
                        <a:pt x="1574800" y="9211"/>
                      </a:cubicBezTo>
                      <a:cubicBezTo>
                        <a:pt x="1548941" y="-3718"/>
                        <a:pt x="1537884" y="744"/>
                        <a:pt x="1507067" y="744"/>
                      </a:cubicBezTo>
                      <a:lnTo>
                        <a:pt x="1507067" y="744"/>
                      </a:lnTo>
                    </a:path>
                  </a:pathLst>
                </a:cu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63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2" name="Oval 51"/>
                <p:cNvSpPr/>
                <p:nvPr/>
              </p:nvSpPr>
              <p:spPr>
                <a:xfrm>
                  <a:off x="3640666" y="1413935"/>
                  <a:ext cx="1515534" cy="1346200"/>
                </a:xfrm>
                <a:prstGeom prst="ellipse">
                  <a:avLst/>
                </a:prstGeom>
                <a:solidFill>
                  <a:schemeClr val="tx1">
                    <a:lumMod val="65000"/>
                    <a:lumOff val="35000"/>
                  </a:schemeClr>
                </a:solid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63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3" name="Freeform 52"/>
                <p:cNvSpPr/>
                <p:nvPr/>
              </p:nvSpPr>
              <p:spPr>
                <a:xfrm>
                  <a:off x="2985738" y="3107267"/>
                  <a:ext cx="617631" cy="1161158"/>
                </a:xfrm>
                <a:custGeom>
                  <a:avLst/>
                  <a:gdLst>
                    <a:gd name="connsiteX0" fmla="*/ 617631 w 617631"/>
                    <a:gd name="connsiteY0" fmla="*/ 0 h 1161158"/>
                    <a:gd name="connsiteX1" fmla="*/ 16498 w 617631"/>
                    <a:gd name="connsiteY1" fmla="*/ 1092200 h 1161158"/>
                    <a:gd name="connsiteX2" fmla="*/ 228165 w 617631"/>
                    <a:gd name="connsiteY2" fmla="*/ 956733 h 1161158"/>
                  </a:gdLst>
                  <a:ahLst/>
                  <a:cxnLst>
                    <a:cxn ang="0">
                      <a:pos x="connsiteX0" y="connsiteY0"/>
                    </a:cxn>
                    <a:cxn ang="0">
                      <a:pos x="connsiteX1" y="connsiteY1"/>
                    </a:cxn>
                    <a:cxn ang="0">
                      <a:pos x="connsiteX2" y="connsiteY2"/>
                    </a:cxn>
                  </a:cxnLst>
                  <a:rect l="l" t="t" r="r" b="b"/>
                  <a:pathLst>
                    <a:path w="617631" h="1161158">
                      <a:moveTo>
                        <a:pt x="617631" y="0"/>
                      </a:moveTo>
                      <a:cubicBezTo>
                        <a:pt x="349520" y="466372"/>
                        <a:pt x="81409" y="932745"/>
                        <a:pt x="16498" y="1092200"/>
                      </a:cubicBezTo>
                      <a:cubicBezTo>
                        <a:pt x="-48413" y="1251655"/>
                        <a:pt x="89876" y="1104194"/>
                        <a:pt x="228165" y="956733"/>
                      </a:cubicBezTo>
                    </a:path>
                  </a:pathLst>
                </a:cu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63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4" name="Freeform 53"/>
                <p:cNvSpPr/>
                <p:nvPr/>
              </p:nvSpPr>
              <p:spPr>
                <a:xfrm flipH="1">
                  <a:off x="5351368" y="3048000"/>
                  <a:ext cx="617631" cy="1161158"/>
                </a:xfrm>
                <a:custGeom>
                  <a:avLst/>
                  <a:gdLst>
                    <a:gd name="connsiteX0" fmla="*/ 617631 w 617631"/>
                    <a:gd name="connsiteY0" fmla="*/ 0 h 1161158"/>
                    <a:gd name="connsiteX1" fmla="*/ 16498 w 617631"/>
                    <a:gd name="connsiteY1" fmla="*/ 1092200 h 1161158"/>
                    <a:gd name="connsiteX2" fmla="*/ 228165 w 617631"/>
                    <a:gd name="connsiteY2" fmla="*/ 956733 h 1161158"/>
                  </a:gdLst>
                  <a:ahLst/>
                  <a:cxnLst>
                    <a:cxn ang="0">
                      <a:pos x="connsiteX0" y="connsiteY0"/>
                    </a:cxn>
                    <a:cxn ang="0">
                      <a:pos x="connsiteX1" y="connsiteY1"/>
                    </a:cxn>
                    <a:cxn ang="0">
                      <a:pos x="connsiteX2" y="connsiteY2"/>
                    </a:cxn>
                  </a:cxnLst>
                  <a:rect l="l" t="t" r="r" b="b"/>
                  <a:pathLst>
                    <a:path w="617631" h="1161158">
                      <a:moveTo>
                        <a:pt x="617631" y="0"/>
                      </a:moveTo>
                      <a:cubicBezTo>
                        <a:pt x="349520" y="466372"/>
                        <a:pt x="81409" y="932745"/>
                        <a:pt x="16498" y="1092200"/>
                      </a:cubicBezTo>
                      <a:cubicBezTo>
                        <a:pt x="-48413" y="1251655"/>
                        <a:pt x="89876" y="1104194"/>
                        <a:pt x="228165" y="956733"/>
                      </a:cubicBezTo>
                    </a:path>
                  </a:pathLst>
                </a:cu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63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55" name="Straight Connector 54"/>
                <p:cNvCxnSpPr/>
                <p:nvPr/>
              </p:nvCxnSpPr>
              <p:spPr>
                <a:xfrm>
                  <a:off x="4301068" y="5419659"/>
                  <a:ext cx="16933" cy="1227667"/>
                </a:xfrm>
                <a:prstGeom prst="line">
                  <a:avLst/>
                </a:prstGeom>
                <a:ln w="76200">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5105402" y="5419660"/>
                  <a:ext cx="16933" cy="1227667"/>
                </a:xfrm>
                <a:prstGeom prst="line">
                  <a:avLst/>
                </a:prstGeom>
                <a:ln w="76200">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grpSp>
          <p:grpSp>
            <p:nvGrpSpPr>
              <p:cNvPr id="44" name="Group 43"/>
              <p:cNvGrpSpPr/>
              <p:nvPr/>
            </p:nvGrpSpPr>
            <p:grpSpPr>
              <a:xfrm>
                <a:off x="9802874" y="3756625"/>
                <a:ext cx="672496" cy="1734905"/>
                <a:chOff x="2985738" y="1413935"/>
                <a:chExt cx="2983261" cy="5233392"/>
              </a:xfrm>
            </p:grpSpPr>
            <p:sp>
              <p:nvSpPr>
                <p:cNvPr id="45" name="Freeform 44"/>
                <p:cNvSpPr/>
                <p:nvPr/>
              </p:nvSpPr>
              <p:spPr>
                <a:xfrm>
                  <a:off x="3496733" y="2556189"/>
                  <a:ext cx="2257170" cy="2882584"/>
                </a:xfrm>
                <a:custGeom>
                  <a:avLst/>
                  <a:gdLst>
                    <a:gd name="connsiteX0" fmla="*/ 347134 w 2257170"/>
                    <a:gd name="connsiteY0" fmla="*/ 51544 h 2882584"/>
                    <a:gd name="connsiteX1" fmla="*/ 347134 w 2257170"/>
                    <a:gd name="connsiteY1" fmla="*/ 51544 h 2882584"/>
                    <a:gd name="connsiteX2" fmla="*/ 287867 w 2257170"/>
                    <a:gd name="connsiteY2" fmla="*/ 102344 h 2882584"/>
                    <a:gd name="connsiteX3" fmla="*/ 254000 w 2257170"/>
                    <a:gd name="connsiteY3" fmla="*/ 161611 h 2882584"/>
                    <a:gd name="connsiteX4" fmla="*/ 228600 w 2257170"/>
                    <a:gd name="connsiteY4" fmla="*/ 195478 h 2882584"/>
                    <a:gd name="connsiteX5" fmla="*/ 194734 w 2257170"/>
                    <a:gd name="connsiteY5" fmla="*/ 237811 h 2882584"/>
                    <a:gd name="connsiteX6" fmla="*/ 169334 w 2257170"/>
                    <a:gd name="connsiteY6" fmla="*/ 280144 h 2882584"/>
                    <a:gd name="connsiteX7" fmla="*/ 152400 w 2257170"/>
                    <a:gd name="connsiteY7" fmla="*/ 339411 h 2882584"/>
                    <a:gd name="connsiteX8" fmla="*/ 143934 w 2257170"/>
                    <a:gd name="connsiteY8" fmla="*/ 364811 h 2882584"/>
                    <a:gd name="connsiteX9" fmla="*/ 127000 w 2257170"/>
                    <a:gd name="connsiteY9" fmla="*/ 398678 h 2882584"/>
                    <a:gd name="connsiteX10" fmla="*/ 93134 w 2257170"/>
                    <a:gd name="connsiteY10" fmla="*/ 500278 h 2882584"/>
                    <a:gd name="connsiteX11" fmla="*/ 84667 w 2257170"/>
                    <a:gd name="connsiteY11" fmla="*/ 618811 h 2882584"/>
                    <a:gd name="connsiteX12" fmla="*/ 67734 w 2257170"/>
                    <a:gd name="connsiteY12" fmla="*/ 703478 h 2882584"/>
                    <a:gd name="connsiteX13" fmla="*/ 50800 w 2257170"/>
                    <a:gd name="connsiteY13" fmla="*/ 788144 h 2882584"/>
                    <a:gd name="connsiteX14" fmla="*/ 42334 w 2257170"/>
                    <a:gd name="connsiteY14" fmla="*/ 906678 h 2882584"/>
                    <a:gd name="connsiteX15" fmla="*/ 33867 w 2257170"/>
                    <a:gd name="connsiteY15" fmla="*/ 932078 h 2882584"/>
                    <a:gd name="connsiteX16" fmla="*/ 16934 w 2257170"/>
                    <a:gd name="connsiteY16" fmla="*/ 1084478 h 2882584"/>
                    <a:gd name="connsiteX17" fmla="*/ 8467 w 2257170"/>
                    <a:gd name="connsiteY17" fmla="*/ 1219944 h 2882584"/>
                    <a:gd name="connsiteX18" fmla="*/ 0 w 2257170"/>
                    <a:gd name="connsiteY18" fmla="*/ 1313078 h 2882584"/>
                    <a:gd name="connsiteX19" fmla="*/ 8467 w 2257170"/>
                    <a:gd name="connsiteY19" fmla="*/ 2066611 h 2882584"/>
                    <a:gd name="connsiteX20" fmla="*/ 16934 w 2257170"/>
                    <a:gd name="connsiteY20" fmla="*/ 2379878 h 2882584"/>
                    <a:gd name="connsiteX21" fmla="*/ 33867 w 2257170"/>
                    <a:gd name="connsiteY21" fmla="*/ 2583078 h 2882584"/>
                    <a:gd name="connsiteX22" fmla="*/ 42334 w 2257170"/>
                    <a:gd name="connsiteY22" fmla="*/ 2820144 h 2882584"/>
                    <a:gd name="connsiteX23" fmla="*/ 50800 w 2257170"/>
                    <a:gd name="connsiteY23" fmla="*/ 2879411 h 2882584"/>
                    <a:gd name="connsiteX24" fmla="*/ 93134 w 2257170"/>
                    <a:gd name="connsiteY24" fmla="*/ 2870944 h 2882584"/>
                    <a:gd name="connsiteX25" fmla="*/ 254000 w 2257170"/>
                    <a:gd name="connsiteY25" fmla="*/ 2862478 h 2882584"/>
                    <a:gd name="connsiteX26" fmla="*/ 524934 w 2257170"/>
                    <a:gd name="connsiteY26" fmla="*/ 2854011 h 2882584"/>
                    <a:gd name="connsiteX27" fmla="*/ 2159000 w 2257170"/>
                    <a:gd name="connsiteY27" fmla="*/ 2862478 h 2882584"/>
                    <a:gd name="connsiteX28" fmla="*/ 2235200 w 2257170"/>
                    <a:gd name="connsiteY28" fmla="*/ 2862478 h 2882584"/>
                    <a:gd name="connsiteX29" fmla="*/ 2235200 w 2257170"/>
                    <a:gd name="connsiteY29" fmla="*/ 2447611 h 2882584"/>
                    <a:gd name="connsiteX30" fmla="*/ 2218267 w 2257170"/>
                    <a:gd name="connsiteY30" fmla="*/ 2346011 h 2882584"/>
                    <a:gd name="connsiteX31" fmla="*/ 2209800 w 2257170"/>
                    <a:gd name="connsiteY31" fmla="*/ 2125878 h 2882584"/>
                    <a:gd name="connsiteX32" fmla="*/ 2201334 w 2257170"/>
                    <a:gd name="connsiteY32" fmla="*/ 2083544 h 2882584"/>
                    <a:gd name="connsiteX33" fmla="*/ 2192867 w 2257170"/>
                    <a:gd name="connsiteY33" fmla="*/ 2007344 h 2882584"/>
                    <a:gd name="connsiteX34" fmla="*/ 2167467 w 2257170"/>
                    <a:gd name="connsiteY34" fmla="*/ 1854944 h 2882584"/>
                    <a:gd name="connsiteX35" fmla="*/ 2159000 w 2257170"/>
                    <a:gd name="connsiteY35" fmla="*/ 1727944 h 2882584"/>
                    <a:gd name="connsiteX36" fmla="*/ 2150534 w 2257170"/>
                    <a:gd name="connsiteY36" fmla="*/ 1694078 h 2882584"/>
                    <a:gd name="connsiteX37" fmla="*/ 2142067 w 2257170"/>
                    <a:gd name="connsiteY37" fmla="*/ 1617878 h 2882584"/>
                    <a:gd name="connsiteX38" fmla="*/ 2125134 w 2257170"/>
                    <a:gd name="connsiteY38" fmla="*/ 1423144 h 2882584"/>
                    <a:gd name="connsiteX39" fmla="*/ 2099734 w 2257170"/>
                    <a:gd name="connsiteY39" fmla="*/ 1338478 h 2882584"/>
                    <a:gd name="connsiteX40" fmla="*/ 2065867 w 2257170"/>
                    <a:gd name="connsiteY40" fmla="*/ 1245344 h 2882584"/>
                    <a:gd name="connsiteX41" fmla="*/ 2057400 w 2257170"/>
                    <a:gd name="connsiteY41" fmla="*/ 1177611 h 2882584"/>
                    <a:gd name="connsiteX42" fmla="*/ 2048934 w 2257170"/>
                    <a:gd name="connsiteY42" fmla="*/ 1118344 h 2882584"/>
                    <a:gd name="connsiteX43" fmla="*/ 2032000 w 2257170"/>
                    <a:gd name="connsiteY43" fmla="*/ 974411 h 2882584"/>
                    <a:gd name="connsiteX44" fmla="*/ 2006600 w 2257170"/>
                    <a:gd name="connsiteY44" fmla="*/ 796611 h 2882584"/>
                    <a:gd name="connsiteX45" fmla="*/ 1964267 w 2257170"/>
                    <a:gd name="connsiteY45" fmla="*/ 686544 h 2882584"/>
                    <a:gd name="connsiteX46" fmla="*/ 1947334 w 2257170"/>
                    <a:gd name="connsiteY46" fmla="*/ 661144 h 2882584"/>
                    <a:gd name="connsiteX47" fmla="*/ 1905000 w 2257170"/>
                    <a:gd name="connsiteY47" fmla="*/ 568011 h 2882584"/>
                    <a:gd name="connsiteX48" fmla="*/ 1896534 w 2257170"/>
                    <a:gd name="connsiteY48" fmla="*/ 517211 h 2882584"/>
                    <a:gd name="connsiteX49" fmla="*/ 1879600 w 2257170"/>
                    <a:gd name="connsiteY49" fmla="*/ 474878 h 2882584"/>
                    <a:gd name="connsiteX50" fmla="*/ 1854200 w 2257170"/>
                    <a:gd name="connsiteY50" fmla="*/ 424078 h 2882584"/>
                    <a:gd name="connsiteX51" fmla="*/ 1828800 w 2257170"/>
                    <a:gd name="connsiteY51" fmla="*/ 381744 h 2882584"/>
                    <a:gd name="connsiteX52" fmla="*/ 1803400 w 2257170"/>
                    <a:gd name="connsiteY52" fmla="*/ 330944 h 2882584"/>
                    <a:gd name="connsiteX53" fmla="*/ 1778000 w 2257170"/>
                    <a:gd name="connsiteY53" fmla="*/ 297078 h 2882584"/>
                    <a:gd name="connsiteX54" fmla="*/ 1761067 w 2257170"/>
                    <a:gd name="connsiteY54" fmla="*/ 263211 h 2882584"/>
                    <a:gd name="connsiteX55" fmla="*/ 1718734 w 2257170"/>
                    <a:gd name="connsiteY55" fmla="*/ 203944 h 2882584"/>
                    <a:gd name="connsiteX56" fmla="*/ 1684867 w 2257170"/>
                    <a:gd name="connsiteY56" fmla="*/ 144678 h 2882584"/>
                    <a:gd name="connsiteX57" fmla="*/ 1667934 w 2257170"/>
                    <a:gd name="connsiteY57" fmla="*/ 93878 h 2882584"/>
                    <a:gd name="connsiteX58" fmla="*/ 1651000 w 2257170"/>
                    <a:gd name="connsiteY58" fmla="*/ 68478 h 2882584"/>
                    <a:gd name="connsiteX59" fmla="*/ 1600200 w 2257170"/>
                    <a:gd name="connsiteY59" fmla="*/ 26144 h 2882584"/>
                    <a:gd name="connsiteX60" fmla="*/ 1574800 w 2257170"/>
                    <a:gd name="connsiteY60" fmla="*/ 9211 h 2882584"/>
                    <a:gd name="connsiteX61" fmla="*/ 1507067 w 2257170"/>
                    <a:gd name="connsiteY61" fmla="*/ 744 h 2882584"/>
                    <a:gd name="connsiteX62" fmla="*/ 1507067 w 2257170"/>
                    <a:gd name="connsiteY62" fmla="*/ 744 h 2882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257170" h="2882584">
                      <a:moveTo>
                        <a:pt x="347134" y="51544"/>
                      </a:moveTo>
                      <a:lnTo>
                        <a:pt x="347134" y="51544"/>
                      </a:lnTo>
                      <a:cubicBezTo>
                        <a:pt x="327378" y="68477"/>
                        <a:pt x="306266" y="83945"/>
                        <a:pt x="287867" y="102344"/>
                      </a:cubicBezTo>
                      <a:cubicBezTo>
                        <a:pt x="272333" y="117878"/>
                        <a:pt x="265065" y="143907"/>
                        <a:pt x="254000" y="161611"/>
                      </a:cubicBezTo>
                      <a:cubicBezTo>
                        <a:pt x="246521" y="173577"/>
                        <a:pt x="237067" y="184189"/>
                        <a:pt x="228600" y="195478"/>
                      </a:cubicBezTo>
                      <a:cubicBezTo>
                        <a:pt x="209066" y="254086"/>
                        <a:pt x="236511" y="189072"/>
                        <a:pt x="194734" y="237811"/>
                      </a:cubicBezTo>
                      <a:cubicBezTo>
                        <a:pt x="184024" y="250305"/>
                        <a:pt x="177801" y="266033"/>
                        <a:pt x="169334" y="280144"/>
                      </a:cubicBezTo>
                      <a:cubicBezTo>
                        <a:pt x="163689" y="299900"/>
                        <a:pt x="158304" y="319731"/>
                        <a:pt x="152400" y="339411"/>
                      </a:cubicBezTo>
                      <a:cubicBezTo>
                        <a:pt x="149836" y="347959"/>
                        <a:pt x="147450" y="356608"/>
                        <a:pt x="143934" y="364811"/>
                      </a:cubicBezTo>
                      <a:cubicBezTo>
                        <a:pt x="138962" y="376412"/>
                        <a:pt x="131432" y="386860"/>
                        <a:pt x="127000" y="398678"/>
                      </a:cubicBezTo>
                      <a:cubicBezTo>
                        <a:pt x="114465" y="432104"/>
                        <a:pt x="93134" y="500278"/>
                        <a:pt x="93134" y="500278"/>
                      </a:cubicBezTo>
                      <a:cubicBezTo>
                        <a:pt x="90312" y="539789"/>
                        <a:pt x="88609" y="579396"/>
                        <a:pt x="84667" y="618811"/>
                      </a:cubicBezTo>
                      <a:cubicBezTo>
                        <a:pt x="79744" y="668035"/>
                        <a:pt x="76664" y="661805"/>
                        <a:pt x="67734" y="703478"/>
                      </a:cubicBezTo>
                      <a:cubicBezTo>
                        <a:pt x="61704" y="731620"/>
                        <a:pt x="50800" y="788144"/>
                        <a:pt x="50800" y="788144"/>
                      </a:cubicBezTo>
                      <a:cubicBezTo>
                        <a:pt x="47978" y="827655"/>
                        <a:pt x="46962" y="867337"/>
                        <a:pt x="42334" y="906678"/>
                      </a:cubicBezTo>
                      <a:cubicBezTo>
                        <a:pt x="41291" y="915542"/>
                        <a:pt x="34910" y="923214"/>
                        <a:pt x="33867" y="932078"/>
                      </a:cubicBezTo>
                      <a:cubicBezTo>
                        <a:pt x="13208" y="1107675"/>
                        <a:pt x="38345" y="998828"/>
                        <a:pt x="16934" y="1084478"/>
                      </a:cubicBezTo>
                      <a:cubicBezTo>
                        <a:pt x="14112" y="1129633"/>
                        <a:pt x="11809" y="1174824"/>
                        <a:pt x="8467" y="1219944"/>
                      </a:cubicBezTo>
                      <a:cubicBezTo>
                        <a:pt x="6164" y="1251032"/>
                        <a:pt x="0" y="1281905"/>
                        <a:pt x="0" y="1313078"/>
                      </a:cubicBezTo>
                      <a:cubicBezTo>
                        <a:pt x="0" y="1564272"/>
                        <a:pt x="4480" y="1815449"/>
                        <a:pt x="8467" y="2066611"/>
                      </a:cubicBezTo>
                      <a:cubicBezTo>
                        <a:pt x="10125" y="2171058"/>
                        <a:pt x="12759" y="2275501"/>
                        <a:pt x="16934" y="2379878"/>
                      </a:cubicBezTo>
                      <a:cubicBezTo>
                        <a:pt x="18486" y="2418675"/>
                        <a:pt x="29951" y="2540004"/>
                        <a:pt x="33867" y="2583078"/>
                      </a:cubicBezTo>
                      <a:cubicBezTo>
                        <a:pt x="36689" y="2662100"/>
                        <a:pt x="37823" y="2741200"/>
                        <a:pt x="42334" y="2820144"/>
                      </a:cubicBezTo>
                      <a:cubicBezTo>
                        <a:pt x="43472" y="2840068"/>
                        <a:pt x="36689" y="2865300"/>
                        <a:pt x="50800" y="2879411"/>
                      </a:cubicBezTo>
                      <a:cubicBezTo>
                        <a:pt x="60976" y="2889587"/>
                        <a:pt x="78793" y="2872139"/>
                        <a:pt x="93134" y="2870944"/>
                      </a:cubicBezTo>
                      <a:cubicBezTo>
                        <a:pt x="146645" y="2866485"/>
                        <a:pt x="200345" y="2864582"/>
                        <a:pt x="254000" y="2862478"/>
                      </a:cubicBezTo>
                      <a:lnTo>
                        <a:pt x="524934" y="2854011"/>
                      </a:lnTo>
                      <a:lnTo>
                        <a:pt x="2159000" y="2862478"/>
                      </a:lnTo>
                      <a:cubicBezTo>
                        <a:pt x="2276843" y="2863680"/>
                        <a:pt x="2029105" y="2896824"/>
                        <a:pt x="2235200" y="2862478"/>
                      </a:cubicBezTo>
                      <a:cubicBezTo>
                        <a:pt x="2273574" y="2708987"/>
                        <a:pt x="2253789" y="2800794"/>
                        <a:pt x="2235200" y="2447611"/>
                      </a:cubicBezTo>
                      <a:cubicBezTo>
                        <a:pt x="2233395" y="2413325"/>
                        <a:pt x="2218267" y="2346011"/>
                        <a:pt x="2218267" y="2346011"/>
                      </a:cubicBezTo>
                      <a:cubicBezTo>
                        <a:pt x="2215445" y="2272633"/>
                        <a:pt x="2214528" y="2199158"/>
                        <a:pt x="2209800" y="2125878"/>
                      </a:cubicBezTo>
                      <a:cubicBezTo>
                        <a:pt x="2208874" y="2111517"/>
                        <a:pt x="2203369" y="2097790"/>
                        <a:pt x="2201334" y="2083544"/>
                      </a:cubicBezTo>
                      <a:cubicBezTo>
                        <a:pt x="2197720" y="2058245"/>
                        <a:pt x="2196612" y="2032624"/>
                        <a:pt x="2192867" y="2007344"/>
                      </a:cubicBezTo>
                      <a:cubicBezTo>
                        <a:pt x="2185320" y="1956399"/>
                        <a:pt x="2167467" y="1854944"/>
                        <a:pt x="2167467" y="1854944"/>
                      </a:cubicBezTo>
                      <a:cubicBezTo>
                        <a:pt x="2164645" y="1812611"/>
                        <a:pt x="2163441" y="1770138"/>
                        <a:pt x="2159000" y="1727944"/>
                      </a:cubicBezTo>
                      <a:cubicBezTo>
                        <a:pt x="2157782" y="1716372"/>
                        <a:pt x="2152303" y="1705579"/>
                        <a:pt x="2150534" y="1694078"/>
                      </a:cubicBezTo>
                      <a:cubicBezTo>
                        <a:pt x="2146648" y="1668819"/>
                        <a:pt x="2144452" y="1643323"/>
                        <a:pt x="2142067" y="1617878"/>
                      </a:cubicBezTo>
                      <a:cubicBezTo>
                        <a:pt x="2135985" y="1553006"/>
                        <a:pt x="2132075" y="1487929"/>
                        <a:pt x="2125134" y="1423144"/>
                      </a:cubicBezTo>
                      <a:cubicBezTo>
                        <a:pt x="2119854" y="1373866"/>
                        <a:pt x="2115497" y="1385768"/>
                        <a:pt x="2099734" y="1338478"/>
                      </a:cubicBezTo>
                      <a:cubicBezTo>
                        <a:pt x="2069133" y="1246675"/>
                        <a:pt x="2098254" y="1310120"/>
                        <a:pt x="2065867" y="1245344"/>
                      </a:cubicBezTo>
                      <a:cubicBezTo>
                        <a:pt x="2063045" y="1222766"/>
                        <a:pt x="2060407" y="1200165"/>
                        <a:pt x="2057400" y="1177611"/>
                      </a:cubicBezTo>
                      <a:cubicBezTo>
                        <a:pt x="2054763" y="1157830"/>
                        <a:pt x="2051409" y="1138146"/>
                        <a:pt x="2048934" y="1118344"/>
                      </a:cubicBezTo>
                      <a:cubicBezTo>
                        <a:pt x="2036389" y="1017979"/>
                        <a:pt x="2045031" y="1068884"/>
                        <a:pt x="2032000" y="974411"/>
                      </a:cubicBezTo>
                      <a:cubicBezTo>
                        <a:pt x="2023820" y="915104"/>
                        <a:pt x="2033374" y="850159"/>
                        <a:pt x="2006600" y="796611"/>
                      </a:cubicBezTo>
                      <a:cubicBezTo>
                        <a:pt x="1931225" y="645861"/>
                        <a:pt x="2030665" y="852542"/>
                        <a:pt x="1964267" y="686544"/>
                      </a:cubicBezTo>
                      <a:cubicBezTo>
                        <a:pt x="1960488" y="677096"/>
                        <a:pt x="1951467" y="670443"/>
                        <a:pt x="1947334" y="661144"/>
                      </a:cubicBezTo>
                      <a:cubicBezTo>
                        <a:pt x="1896736" y="547299"/>
                        <a:pt x="1965822" y="669380"/>
                        <a:pt x="1905000" y="568011"/>
                      </a:cubicBezTo>
                      <a:cubicBezTo>
                        <a:pt x="1902178" y="551078"/>
                        <a:pt x="1901051" y="533773"/>
                        <a:pt x="1896534" y="517211"/>
                      </a:cubicBezTo>
                      <a:cubicBezTo>
                        <a:pt x="1892535" y="502548"/>
                        <a:pt x="1884936" y="489108"/>
                        <a:pt x="1879600" y="474878"/>
                      </a:cubicBezTo>
                      <a:cubicBezTo>
                        <a:pt x="1864576" y="434814"/>
                        <a:pt x="1879893" y="462617"/>
                        <a:pt x="1854200" y="424078"/>
                      </a:cubicBezTo>
                      <a:cubicBezTo>
                        <a:pt x="1832075" y="357697"/>
                        <a:pt x="1862005" y="434871"/>
                        <a:pt x="1828800" y="381744"/>
                      </a:cubicBezTo>
                      <a:cubicBezTo>
                        <a:pt x="1818766" y="365690"/>
                        <a:pt x="1813141" y="347178"/>
                        <a:pt x="1803400" y="330944"/>
                      </a:cubicBezTo>
                      <a:cubicBezTo>
                        <a:pt x="1796140" y="318844"/>
                        <a:pt x="1785479" y="309044"/>
                        <a:pt x="1778000" y="297078"/>
                      </a:cubicBezTo>
                      <a:cubicBezTo>
                        <a:pt x="1771311" y="286375"/>
                        <a:pt x="1767329" y="274170"/>
                        <a:pt x="1761067" y="263211"/>
                      </a:cubicBezTo>
                      <a:cubicBezTo>
                        <a:pt x="1749666" y="243258"/>
                        <a:pt x="1731713" y="222115"/>
                        <a:pt x="1718734" y="203944"/>
                      </a:cubicBezTo>
                      <a:cubicBezTo>
                        <a:pt x="1704847" y="184503"/>
                        <a:pt x="1693888" y="167230"/>
                        <a:pt x="1684867" y="144678"/>
                      </a:cubicBezTo>
                      <a:cubicBezTo>
                        <a:pt x="1678238" y="128105"/>
                        <a:pt x="1677835" y="108729"/>
                        <a:pt x="1667934" y="93878"/>
                      </a:cubicBezTo>
                      <a:cubicBezTo>
                        <a:pt x="1662289" y="85411"/>
                        <a:pt x="1657357" y="76424"/>
                        <a:pt x="1651000" y="68478"/>
                      </a:cubicBezTo>
                      <a:cubicBezTo>
                        <a:pt x="1638163" y="52431"/>
                        <a:pt x="1615574" y="37126"/>
                        <a:pt x="1600200" y="26144"/>
                      </a:cubicBezTo>
                      <a:cubicBezTo>
                        <a:pt x="1591920" y="20230"/>
                        <a:pt x="1583901" y="13762"/>
                        <a:pt x="1574800" y="9211"/>
                      </a:cubicBezTo>
                      <a:cubicBezTo>
                        <a:pt x="1548941" y="-3718"/>
                        <a:pt x="1537884" y="744"/>
                        <a:pt x="1507067" y="744"/>
                      </a:cubicBezTo>
                      <a:lnTo>
                        <a:pt x="1507067" y="744"/>
                      </a:lnTo>
                    </a:path>
                  </a:pathLst>
                </a:cu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63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6" name="Oval 45"/>
                <p:cNvSpPr/>
                <p:nvPr/>
              </p:nvSpPr>
              <p:spPr>
                <a:xfrm>
                  <a:off x="3640666" y="1413935"/>
                  <a:ext cx="1515534" cy="1346200"/>
                </a:xfrm>
                <a:prstGeom prst="ellipse">
                  <a:avLst/>
                </a:prstGeom>
                <a:solidFill>
                  <a:schemeClr val="tx1">
                    <a:lumMod val="65000"/>
                    <a:lumOff val="35000"/>
                  </a:schemeClr>
                </a:solid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63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7" name="Freeform 46"/>
                <p:cNvSpPr/>
                <p:nvPr/>
              </p:nvSpPr>
              <p:spPr>
                <a:xfrm>
                  <a:off x="2985738" y="3107267"/>
                  <a:ext cx="617631" cy="1161158"/>
                </a:xfrm>
                <a:custGeom>
                  <a:avLst/>
                  <a:gdLst>
                    <a:gd name="connsiteX0" fmla="*/ 617631 w 617631"/>
                    <a:gd name="connsiteY0" fmla="*/ 0 h 1161158"/>
                    <a:gd name="connsiteX1" fmla="*/ 16498 w 617631"/>
                    <a:gd name="connsiteY1" fmla="*/ 1092200 h 1161158"/>
                    <a:gd name="connsiteX2" fmla="*/ 228165 w 617631"/>
                    <a:gd name="connsiteY2" fmla="*/ 956733 h 1161158"/>
                  </a:gdLst>
                  <a:ahLst/>
                  <a:cxnLst>
                    <a:cxn ang="0">
                      <a:pos x="connsiteX0" y="connsiteY0"/>
                    </a:cxn>
                    <a:cxn ang="0">
                      <a:pos x="connsiteX1" y="connsiteY1"/>
                    </a:cxn>
                    <a:cxn ang="0">
                      <a:pos x="connsiteX2" y="connsiteY2"/>
                    </a:cxn>
                  </a:cxnLst>
                  <a:rect l="l" t="t" r="r" b="b"/>
                  <a:pathLst>
                    <a:path w="617631" h="1161158">
                      <a:moveTo>
                        <a:pt x="617631" y="0"/>
                      </a:moveTo>
                      <a:cubicBezTo>
                        <a:pt x="349520" y="466372"/>
                        <a:pt x="81409" y="932745"/>
                        <a:pt x="16498" y="1092200"/>
                      </a:cubicBezTo>
                      <a:cubicBezTo>
                        <a:pt x="-48413" y="1251655"/>
                        <a:pt x="89876" y="1104194"/>
                        <a:pt x="228165" y="956733"/>
                      </a:cubicBezTo>
                    </a:path>
                  </a:pathLst>
                </a:cu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63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8" name="Freeform 47"/>
                <p:cNvSpPr/>
                <p:nvPr/>
              </p:nvSpPr>
              <p:spPr>
                <a:xfrm flipH="1">
                  <a:off x="5351368" y="3048000"/>
                  <a:ext cx="617631" cy="1161158"/>
                </a:xfrm>
                <a:custGeom>
                  <a:avLst/>
                  <a:gdLst>
                    <a:gd name="connsiteX0" fmla="*/ 617631 w 617631"/>
                    <a:gd name="connsiteY0" fmla="*/ 0 h 1161158"/>
                    <a:gd name="connsiteX1" fmla="*/ 16498 w 617631"/>
                    <a:gd name="connsiteY1" fmla="*/ 1092200 h 1161158"/>
                    <a:gd name="connsiteX2" fmla="*/ 228165 w 617631"/>
                    <a:gd name="connsiteY2" fmla="*/ 956733 h 1161158"/>
                  </a:gdLst>
                  <a:ahLst/>
                  <a:cxnLst>
                    <a:cxn ang="0">
                      <a:pos x="connsiteX0" y="connsiteY0"/>
                    </a:cxn>
                    <a:cxn ang="0">
                      <a:pos x="connsiteX1" y="connsiteY1"/>
                    </a:cxn>
                    <a:cxn ang="0">
                      <a:pos x="connsiteX2" y="connsiteY2"/>
                    </a:cxn>
                  </a:cxnLst>
                  <a:rect l="l" t="t" r="r" b="b"/>
                  <a:pathLst>
                    <a:path w="617631" h="1161158">
                      <a:moveTo>
                        <a:pt x="617631" y="0"/>
                      </a:moveTo>
                      <a:cubicBezTo>
                        <a:pt x="349520" y="466372"/>
                        <a:pt x="81409" y="932745"/>
                        <a:pt x="16498" y="1092200"/>
                      </a:cubicBezTo>
                      <a:cubicBezTo>
                        <a:pt x="-48413" y="1251655"/>
                        <a:pt x="89876" y="1104194"/>
                        <a:pt x="228165" y="956733"/>
                      </a:cubicBezTo>
                    </a:path>
                  </a:pathLst>
                </a:cu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63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49" name="Straight Connector 48"/>
                <p:cNvCxnSpPr/>
                <p:nvPr/>
              </p:nvCxnSpPr>
              <p:spPr>
                <a:xfrm>
                  <a:off x="4301068" y="5419659"/>
                  <a:ext cx="16933" cy="1227667"/>
                </a:xfrm>
                <a:prstGeom prst="line">
                  <a:avLst/>
                </a:prstGeom>
                <a:ln w="76200">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5105402" y="5419660"/>
                  <a:ext cx="16933" cy="1227667"/>
                </a:xfrm>
                <a:prstGeom prst="line">
                  <a:avLst/>
                </a:prstGeom>
                <a:ln w="76200">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grpSp>
        </p:grpSp>
        <p:sp>
          <p:nvSpPr>
            <p:cNvPr id="63" name="Freeform 62"/>
            <p:cNvSpPr/>
            <p:nvPr/>
          </p:nvSpPr>
          <p:spPr>
            <a:xfrm>
              <a:off x="1497796" y="2773996"/>
              <a:ext cx="244736" cy="90633"/>
            </a:xfrm>
            <a:custGeom>
              <a:avLst/>
              <a:gdLst>
                <a:gd name="connsiteX0" fmla="*/ 3877734 w 6316134"/>
                <a:gd name="connsiteY0" fmla="*/ 1464734 h 5207000"/>
                <a:gd name="connsiteX1" fmla="*/ 3742267 w 6316134"/>
                <a:gd name="connsiteY1" fmla="*/ 1473200 h 5207000"/>
                <a:gd name="connsiteX2" fmla="*/ 3699934 w 6316134"/>
                <a:gd name="connsiteY2" fmla="*/ 1507067 h 5207000"/>
                <a:gd name="connsiteX3" fmla="*/ 3496734 w 6316134"/>
                <a:gd name="connsiteY3" fmla="*/ 1667934 h 5207000"/>
                <a:gd name="connsiteX4" fmla="*/ 3429000 w 6316134"/>
                <a:gd name="connsiteY4" fmla="*/ 1752600 h 5207000"/>
                <a:gd name="connsiteX5" fmla="*/ 3378200 w 6316134"/>
                <a:gd name="connsiteY5" fmla="*/ 1828800 h 5207000"/>
                <a:gd name="connsiteX6" fmla="*/ 3318934 w 6316134"/>
                <a:gd name="connsiteY6" fmla="*/ 1896534 h 5207000"/>
                <a:gd name="connsiteX7" fmla="*/ 3302000 w 6316134"/>
                <a:gd name="connsiteY7" fmla="*/ 1972734 h 5207000"/>
                <a:gd name="connsiteX8" fmla="*/ 3310467 w 6316134"/>
                <a:gd name="connsiteY8" fmla="*/ 2082800 h 5207000"/>
                <a:gd name="connsiteX9" fmla="*/ 3335867 w 6316134"/>
                <a:gd name="connsiteY9" fmla="*/ 2116667 h 5207000"/>
                <a:gd name="connsiteX10" fmla="*/ 3386667 w 6316134"/>
                <a:gd name="connsiteY10" fmla="*/ 2150534 h 5207000"/>
                <a:gd name="connsiteX11" fmla="*/ 3539067 w 6316134"/>
                <a:gd name="connsiteY11" fmla="*/ 2175934 h 5207000"/>
                <a:gd name="connsiteX12" fmla="*/ 3970867 w 6316134"/>
                <a:gd name="connsiteY12" fmla="*/ 2150534 h 5207000"/>
                <a:gd name="connsiteX13" fmla="*/ 4461934 w 6316134"/>
                <a:gd name="connsiteY13" fmla="*/ 1998134 h 5207000"/>
                <a:gd name="connsiteX14" fmla="*/ 4986867 w 6316134"/>
                <a:gd name="connsiteY14" fmla="*/ 1752600 h 5207000"/>
                <a:gd name="connsiteX15" fmla="*/ 5046134 w 6316134"/>
                <a:gd name="connsiteY15" fmla="*/ 1684867 h 5207000"/>
                <a:gd name="connsiteX16" fmla="*/ 5088467 w 6316134"/>
                <a:gd name="connsiteY16" fmla="*/ 1625600 h 5207000"/>
                <a:gd name="connsiteX17" fmla="*/ 4842934 w 6316134"/>
                <a:gd name="connsiteY17" fmla="*/ 1617134 h 5207000"/>
                <a:gd name="connsiteX18" fmla="*/ 4461934 w 6316134"/>
                <a:gd name="connsiteY18" fmla="*/ 1727200 h 5207000"/>
                <a:gd name="connsiteX19" fmla="*/ 3937000 w 6316134"/>
                <a:gd name="connsiteY19" fmla="*/ 1964267 h 5207000"/>
                <a:gd name="connsiteX20" fmla="*/ 3699934 w 6316134"/>
                <a:gd name="connsiteY20" fmla="*/ 2057400 h 5207000"/>
                <a:gd name="connsiteX21" fmla="*/ 3268134 w 6316134"/>
                <a:gd name="connsiteY21" fmla="*/ 2252134 h 5207000"/>
                <a:gd name="connsiteX22" fmla="*/ 3158067 w 6316134"/>
                <a:gd name="connsiteY22" fmla="*/ 2277534 h 5207000"/>
                <a:gd name="connsiteX23" fmla="*/ 3073400 w 6316134"/>
                <a:gd name="connsiteY23" fmla="*/ 2269067 h 5207000"/>
                <a:gd name="connsiteX24" fmla="*/ 3081867 w 6316134"/>
                <a:gd name="connsiteY24" fmla="*/ 2209800 h 5207000"/>
                <a:gd name="connsiteX25" fmla="*/ 3132667 w 6316134"/>
                <a:gd name="connsiteY25" fmla="*/ 2133600 h 5207000"/>
                <a:gd name="connsiteX26" fmla="*/ 3285067 w 6316134"/>
                <a:gd name="connsiteY26" fmla="*/ 1862667 h 5207000"/>
                <a:gd name="connsiteX27" fmla="*/ 3496734 w 6316134"/>
                <a:gd name="connsiteY27" fmla="*/ 1574800 h 5207000"/>
                <a:gd name="connsiteX28" fmla="*/ 3581400 w 6316134"/>
                <a:gd name="connsiteY28" fmla="*/ 1422400 h 5207000"/>
                <a:gd name="connsiteX29" fmla="*/ 3623734 w 6316134"/>
                <a:gd name="connsiteY29" fmla="*/ 1337734 h 5207000"/>
                <a:gd name="connsiteX30" fmla="*/ 3657600 w 6316134"/>
                <a:gd name="connsiteY30" fmla="*/ 1286934 h 5207000"/>
                <a:gd name="connsiteX31" fmla="*/ 3632200 w 6316134"/>
                <a:gd name="connsiteY31" fmla="*/ 1337734 h 5207000"/>
                <a:gd name="connsiteX32" fmla="*/ 3589867 w 6316134"/>
                <a:gd name="connsiteY32" fmla="*/ 1439334 h 5207000"/>
                <a:gd name="connsiteX33" fmla="*/ 3522134 w 6316134"/>
                <a:gd name="connsiteY33" fmla="*/ 1625600 h 5207000"/>
                <a:gd name="connsiteX34" fmla="*/ 3429000 w 6316134"/>
                <a:gd name="connsiteY34" fmla="*/ 2142067 h 5207000"/>
                <a:gd name="connsiteX35" fmla="*/ 3344334 w 6316134"/>
                <a:gd name="connsiteY35" fmla="*/ 2506134 h 5207000"/>
                <a:gd name="connsiteX36" fmla="*/ 3318934 w 6316134"/>
                <a:gd name="connsiteY36" fmla="*/ 3158067 h 5207000"/>
                <a:gd name="connsiteX37" fmla="*/ 3403600 w 6316134"/>
                <a:gd name="connsiteY37" fmla="*/ 3589867 h 5207000"/>
                <a:gd name="connsiteX38" fmla="*/ 3471334 w 6316134"/>
                <a:gd name="connsiteY38" fmla="*/ 3632200 h 5207000"/>
                <a:gd name="connsiteX39" fmla="*/ 3589867 w 6316134"/>
                <a:gd name="connsiteY39" fmla="*/ 3640667 h 5207000"/>
                <a:gd name="connsiteX40" fmla="*/ 3877734 w 6316134"/>
                <a:gd name="connsiteY40" fmla="*/ 3623734 h 5207000"/>
                <a:gd name="connsiteX41" fmla="*/ 4089400 w 6316134"/>
                <a:gd name="connsiteY41" fmla="*/ 3547534 h 5207000"/>
                <a:gd name="connsiteX42" fmla="*/ 4580467 w 6316134"/>
                <a:gd name="connsiteY42" fmla="*/ 3285067 h 5207000"/>
                <a:gd name="connsiteX43" fmla="*/ 4766734 w 6316134"/>
                <a:gd name="connsiteY43" fmla="*/ 3141134 h 5207000"/>
                <a:gd name="connsiteX44" fmla="*/ 5088467 w 6316134"/>
                <a:gd name="connsiteY44" fmla="*/ 2700867 h 5207000"/>
                <a:gd name="connsiteX45" fmla="*/ 5164667 w 6316134"/>
                <a:gd name="connsiteY45" fmla="*/ 2565400 h 5207000"/>
                <a:gd name="connsiteX46" fmla="*/ 5207000 w 6316134"/>
                <a:gd name="connsiteY46" fmla="*/ 2472267 h 5207000"/>
                <a:gd name="connsiteX47" fmla="*/ 5215467 w 6316134"/>
                <a:gd name="connsiteY47" fmla="*/ 2455334 h 5207000"/>
                <a:gd name="connsiteX48" fmla="*/ 5164667 w 6316134"/>
                <a:gd name="connsiteY48" fmla="*/ 2523067 h 5207000"/>
                <a:gd name="connsiteX49" fmla="*/ 4986867 w 6316134"/>
                <a:gd name="connsiteY49" fmla="*/ 2768600 h 5207000"/>
                <a:gd name="connsiteX50" fmla="*/ 4461934 w 6316134"/>
                <a:gd name="connsiteY50" fmla="*/ 3234267 h 5207000"/>
                <a:gd name="connsiteX51" fmla="*/ 3623734 w 6316134"/>
                <a:gd name="connsiteY51" fmla="*/ 3564467 h 5207000"/>
                <a:gd name="connsiteX52" fmla="*/ 3048000 w 6316134"/>
                <a:gd name="connsiteY52" fmla="*/ 3598334 h 5207000"/>
                <a:gd name="connsiteX53" fmla="*/ 1845734 w 6316134"/>
                <a:gd name="connsiteY53" fmla="*/ 3496734 h 5207000"/>
                <a:gd name="connsiteX54" fmla="*/ 1261534 w 6316134"/>
                <a:gd name="connsiteY54" fmla="*/ 3268134 h 5207000"/>
                <a:gd name="connsiteX55" fmla="*/ 719667 w 6316134"/>
                <a:gd name="connsiteY55" fmla="*/ 2937934 h 5207000"/>
                <a:gd name="connsiteX56" fmla="*/ 677334 w 6316134"/>
                <a:gd name="connsiteY56" fmla="*/ 2810934 h 5207000"/>
                <a:gd name="connsiteX57" fmla="*/ 719667 w 6316134"/>
                <a:gd name="connsiteY57" fmla="*/ 2556934 h 5207000"/>
                <a:gd name="connsiteX58" fmla="*/ 1126067 w 6316134"/>
                <a:gd name="connsiteY58" fmla="*/ 2116667 h 5207000"/>
                <a:gd name="connsiteX59" fmla="*/ 2057400 w 6316134"/>
                <a:gd name="connsiteY59" fmla="*/ 1532467 h 5207000"/>
                <a:gd name="connsiteX60" fmla="*/ 2429934 w 6316134"/>
                <a:gd name="connsiteY60" fmla="*/ 1422400 h 5207000"/>
                <a:gd name="connsiteX61" fmla="*/ 3251200 w 6316134"/>
                <a:gd name="connsiteY61" fmla="*/ 1329267 h 5207000"/>
                <a:gd name="connsiteX62" fmla="*/ 3530600 w 6316134"/>
                <a:gd name="connsiteY62" fmla="*/ 1388534 h 5207000"/>
                <a:gd name="connsiteX63" fmla="*/ 3572934 w 6316134"/>
                <a:gd name="connsiteY63" fmla="*/ 1456267 h 5207000"/>
                <a:gd name="connsiteX64" fmla="*/ 3589867 w 6316134"/>
                <a:gd name="connsiteY64" fmla="*/ 1515534 h 5207000"/>
                <a:gd name="connsiteX65" fmla="*/ 3564467 w 6316134"/>
                <a:gd name="connsiteY65" fmla="*/ 1879600 h 5207000"/>
                <a:gd name="connsiteX66" fmla="*/ 3293534 w 6316134"/>
                <a:gd name="connsiteY66" fmla="*/ 2353734 h 5207000"/>
                <a:gd name="connsiteX67" fmla="*/ 3073400 w 6316134"/>
                <a:gd name="connsiteY67" fmla="*/ 2633134 h 5207000"/>
                <a:gd name="connsiteX68" fmla="*/ 2827867 w 6316134"/>
                <a:gd name="connsiteY68" fmla="*/ 2895600 h 5207000"/>
                <a:gd name="connsiteX69" fmla="*/ 2345267 w 6316134"/>
                <a:gd name="connsiteY69" fmla="*/ 3335867 h 5207000"/>
                <a:gd name="connsiteX70" fmla="*/ 2201334 w 6316134"/>
                <a:gd name="connsiteY70" fmla="*/ 3429000 h 5207000"/>
                <a:gd name="connsiteX71" fmla="*/ 2065867 w 6316134"/>
                <a:gd name="connsiteY71" fmla="*/ 3479800 h 5207000"/>
                <a:gd name="connsiteX72" fmla="*/ 2802467 w 6316134"/>
                <a:gd name="connsiteY72" fmla="*/ 3141134 h 5207000"/>
                <a:gd name="connsiteX73" fmla="*/ 3843867 w 6316134"/>
                <a:gd name="connsiteY73" fmla="*/ 2751667 h 5207000"/>
                <a:gd name="connsiteX74" fmla="*/ 4436534 w 6316134"/>
                <a:gd name="connsiteY74" fmla="*/ 2548467 h 5207000"/>
                <a:gd name="connsiteX75" fmla="*/ 5528734 w 6316134"/>
                <a:gd name="connsiteY75" fmla="*/ 2302934 h 5207000"/>
                <a:gd name="connsiteX76" fmla="*/ 6214534 w 6316134"/>
                <a:gd name="connsiteY76" fmla="*/ 2226734 h 5207000"/>
                <a:gd name="connsiteX77" fmla="*/ 6316134 w 6316134"/>
                <a:gd name="connsiteY77" fmla="*/ 2243667 h 5207000"/>
                <a:gd name="connsiteX78" fmla="*/ 6206067 w 6316134"/>
                <a:gd name="connsiteY78" fmla="*/ 2286000 h 5207000"/>
                <a:gd name="connsiteX79" fmla="*/ 6028267 w 6316134"/>
                <a:gd name="connsiteY79" fmla="*/ 2345267 h 5207000"/>
                <a:gd name="connsiteX80" fmla="*/ 4927600 w 6316134"/>
                <a:gd name="connsiteY80" fmla="*/ 2531534 h 5207000"/>
                <a:gd name="connsiteX81" fmla="*/ 3632200 w 6316134"/>
                <a:gd name="connsiteY81" fmla="*/ 2506134 h 5207000"/>
                <a:gd name="connsiteX82" fmla="*/ 3225800 w 6316134"/>
                <a:gd name="connsiteY82" fmla="*/ 2387600 h 5207000"/>
                <a:gd name="connsiteX83" fmla="*/ 2760134 w 6316134"/>
                <a:gd name="connsiteY83" fmla="*/ 2150534 h 5207000"/>
                <a:gd name="connsiteX84" fmla="*/ 2616200 w 6316134"/>
                <a:gd name="connsiteY84" fmla="*/ 1981200 h 5207000"/>
                <a:gd name="connsiteX85" fmla="*/ 2675467 w 6316134"/>
                <a:gd name="connsiteY85" fmla="*/ 1811867 h 5207000"/>
                <a:gd name="connsiteX86" fmla="*/ 2760134 w 6316134"/>
                <a:gd name="connsiteY86" fmla="*/ 1752600 h 5207000"/>
                <a:gd name="connsiteX87" fmla="*/ 3064934 w 6316134"/>
                <a:gd name="connsiteY87" fmla="*/ 1617134 h 5207000"/>
                <a:gd name="connsiteX88" fmla="*/ 3158067 w 6316134"/>
                <a:gd name="connsiteY88" fmla="*/ 1600200 h 5207000"/>
                <a:gd name="connsiteX89" fmla="*/ 3225800 w 6316134"/>
                <a:gd name="connsiteY89" fmla="*/ 1617134 h 5207000"/>
                <a:gd name="connsiteX90" fmla="*/ 3251200 w 6316134"/>
                <a:gd name="connsiteY90" fmla="*/ 1752600 h 5207000"/>
                <a:gd name="connsiteX91" fmla="*/ 3081867 w 6316134"/>
                <a:gd name="connsiteY91" fmla="*/ 2599267 h 5207000"/>
                <a:gd name="connsiteX92" fmla="*/ 2861734 w 6316134"/>
                <a:gd name="connsiteY92" fmla="*/ 3141134 h 5207000"/>
                <a:gd name="connsiteX93" fmla="*/ 2743200 w 6316134"/>
                <a:gd name="connsiteY93" fmla="*/ 3403600 h 5207000"/>
                <a:gd name="connsiteX94" fmla="*/ 2692400 w 6316134"/>
                <a:gd name="connsiteY94" fmla="*/ 3632200 h 5207000"/>
                <a:gd name="connsiteX95" fmla="*/ 2658534 w 6316134"/>
                <a:gd name="connsiteY95" fmla="*/ 3767667 h 5207000"/>
                <a:gd name="connsiteX96" fmla="*/ 2667000 w 6316134"/>
                <a:gd name="connsiteY96" fmla="*/ 3860800 h 5207000"/>
                <a:gd name="connsiteX97" fmla="*/ 2726267 w 6316134"/>
                <a:gd name="connsiteY97" fmla="*/ 3801534 h 5207000"/>
                <a:gd name="connsiteX98" fmla="*/ 2819400 w 6316134"/>
                <a:gd name="connsiteY98" fmla="*/ 3513667 h 5207000"/>
                <a:gd name="connsiteX99" fmla="*/ 2844800 w 6316134"/>
                <a:gd name="connsiteY99" fmla="*/ 3268134 h 5207000"/>
                <a:gd name="connsiteX100" fmla="*/ 2853267 w 6316134"/>
                <a:gd name="connsiteY100" fmla="*/ 1380067 h 5207000"/>
                <a:gd name="connsiteX101" fmla="*/ 2887134 w 6316134"/>
                <a:gd name="connsiteY101" fmla="*/ 1253067 h 5207000"/>
                <a:gd name="connsiteX102" fmla="*/ 3217334 w 6316134"/>
                <a:gd name="connsiteY102" fmla="*/ 1566334 h 5207000"/>
                <a:gd name="connsiteX103" fmla="*/ 3640667 w 6316134"/>
                <a:gd name="connsiteY103" fmla="*/ 2082800 h 5207000"/>
                <a:gd name="connsiteX104" fmla="*/ 3843867 w 6316134"/>
                <a:gd name="connsiteY104" fmla="*/ 2345267 h 5207000"/>
                <a:gd name="connsiteX105" fmla="*/ 4216400 w 6316134"/>
                <a:gd name="connsiteY105" fmla="*/ 3073400 h 5207000"/>
                <a:gd name="connsiteX106" fmla="*/ 4275667 w 6316134"/>
                <a:gd name="connsiteY106" fmla="*/ 3285067 h 5207000"/>
                <a:gd name="connsiteX107" fmla="*/ 4292600 w 6316134"/>
                <a:gd name="connsiteY107" fmla="*/ 3429000 h 5207000"/>
                <a:gd name="connsiteX108" fmla="*/ 4267200 w 6316134"/>
                <a:gd name="connsiteY108" fmla="*/ 3649134 h 5207000"/>
                <a:gd name="connsiteX109" fmla="*/ 4224867 w 6316134"/>
                <a:gd name="connsiteY109" fmla="*/ 3674534 h 5207000"/>
                <a:gd name="connsiteX110" fmla="*/ 4114800 w 6316134"/>
                <a:gd name="connsiteY110" fmla="*/ 3699934 h 5207000"/>
                <a:gd name="connsiteX111" fmla="*/ 3937000 w 6316134"/>
                <a:gd name="connsiteY111" fmla="*/ 3666067 h 5207000"/>
                <a:gd name="connsiteX112" fmla="*/ 3556000 w 6316134"/>
                <a:gd name="connsiteY112" fmla="*/ 3285067 h 5207000"/>
                <a:gd name="connsiteX113" fmla="*/ 3310467 w 6316134"/>
                <a:gd name="connsiteY113" fmla="*/ 3022600 h 5207000"/>
                <a:gd name="connsiteX114" fmla="*/ 2777067 w 6316134"/>
                <a:gd name="connsiteY114" fmla="*/ 2345267 h 5207000"/>
                <a:gd name="connsiteX115" fmla="*/ 2175934 w 6316134"/>
                <a:gd name="connsiteY115" fmla="*/ 1456267 h 5207000"/>
                <a:gd name="connsiteX116" fmla="*/ 2133600 w 6316134"/>
                <a:gd name="connsiteY116" fmla="*/ 1312334 h 5207000"/>
                <a:gd name="connsiteX117" fmla="*/ 2167467 w 6316134"/>
                <a:gd name="connsiteY117" fmla="*/ 1253067 h 5207000"/>
                <a:gd name="connsiteX118" fmla="*/ 2209800 w 6316134"/>
                <a:gd name="connsiteY118" fmla="*/ 1244600 h 5207000"/>
                <a:gd name="connsiteX119" fmla="*/ 2362200 w 6316134"/>
                <a:gd name="connsiteY119" fmla="*/ 1286934 h 5207000"/>
                <a:gd name="connsiteX120" fmla="*/ 3335867 w 6316134"/>
                <a:gd name="connsiteY120" fmla="*/ 2209800 h 5207000"/>
                <a:gd name="connsiteX121" fmla="*/ 3937000 w 6316134"/>
                <a:gd name="connsiteY121" fmla="*/ 2895600 h 5207000"/>
                <a:gd name="connsiteX122" fmla="*/ 4512734 w 6316134"/>
                <a:gd name="connsiteY122" fmla="*/ 3556000 h 5207000"/>
                <a:gd name="connsiteX123" fmla="*/ 4842934 w 6316134"/>
                <a:gd name="connsiteY123" fmla="*/ 4080934 h 5207000"/>
                <a:gd name="connsiteX124" fmla="*/ 4885267 w 6316134"/>
                <a:gd name="connsiteY124" fmla="*/ 4241800 h 5207000"/>
                <a:gd name="connsiteX125" fmla="*/ 4868334 w 6316134"/>
                <a:gd name="connsiteY125" fmla="*/ 4461934 h 5207000"/>
                <a:gd name="connsiteX126" fmla="*/ 4749800 w 6316134"/>
                <a:gd name="connsiteY126" fmla="*/ 4563534 h 5207000"/>
                <a:gd name="connsiteX127" fmla="*/ 4343400 w 6316134"/>
                <a:gd name="connsiteY127" fmla="*/ 4648200 h 5207000"/>
                <a:gd name="connsiteX128" fmla="*/ 4216400 w 6316134"/>
                <a:gd name="connsiteY128" fmla="*/ 4588934 h 5207000"/>
                <a:gd name="connsiteX129" fmla="*/ 4106334 w 6316134"/>
                <a:gd name="connsiteY129" fmla="*/ 4428067 h 5207000"/>
                <a:gd name="connsiteX130" fmla="*/ 4106334 w 6316134"/>
                <a:gd name="connsiteY130" fmla="*/ 3784600 h 5207000"/>
                <a:gd name="connsiteX131" fmla="*/ 4174067 w 6316134"/>
                <a:gd name="connsiteY131" fmla="*/ 3632200 h 5207000"/>
                <a:gd name="connsiteX132" fmla="*/ 4233334 w 6316134"/>
                <a:gd name="connsiteY132" fmla="*/ 3522134 h 5207000"/>
                <a:gd name="connsiteX133" fmla="*/ 4428067 w 6316134"/>
                <a:gd name="connsiteY133" fmla="*/ 3335867 h 5207000"/>
                <a:gd name="connsiteX134" fmla="*/ 4622800 w 6316134"/>
                <a:gd name="connsiteY134" fmla="*/ 3234267 h 5207000"/>
                <a:gd name="connsiteX135" fmla="*/ 4775200 w 6316134"/>
                <a:gd name="connsiteY135" fmla="*/ 3259667 h 5207000"/>
                <a:gd name="connsiteX136" fmla="*/ 4758267 w 6316134"/>
                <a:gd name="connsiteY136" fmla="*/ 3437467 h 5207000"/>
                <a:gd name="connsiteX137" fmla="*/ 4555067 w 6316134"/>
                <a:gd name="connsiteY137" fmla="*/ 3649134 h 5207000"/>
                <a:gd name="connsiteX138" fmla="*/ 4301067 w 6316134"/>
                <a:gd name="connsiteY138" fmla="*/ 3835400 h 5207000"/>
                <a:gd name="connsiteX139" fmla="*/ 3742267 w 6316134"/>
                <a:gd name="connsiteY139" fmla="*/ 4131734 h 5207000"/>
                <a:gd name="connsiteX140" fmla="*/ 3412067 w 6316134"/>
                <a:gd name="connsiteY140" fmla="*/ 4258734 h 5207000"/>
                <a:gd name="connsiteX141" fmla="*/ 2683934 w 6316134"/>
                <a:gd name="connsiteY141" fmla="*/ 4326467 h 5207000"/>
                <a:gd name="connsiteX142" fmla="*/ 2201334 w 6316134"/>
                <a:gd name="connsiteY142" fmla="*/ 4250267 h 5207000"/>
                <a:gd name="connsiteX143" fmla="*/ 2006600 w 6316134"/>
                <a:gd name="connsiteY143" fmla="*/ 4123267 h 5207000"/>
                <a:gd name="connsiteX144" fmla="*/ 1989667 w 6316134"/>
                <a:gd name="connsiteY144" fmla="*/ 4064000 h 5207000"/>
                <a:gd name="connsiteX145" fmla="*/ 2032000 w 6316134"/>
                <a:gd name="connsiteY145" fmla="*/ 3920067 h 5207000"/>
                <a:gd name="connsiteX146" fmla="*/ 2243667 w 6316134"/>
                <a:gd name="connsiteY146" fmla="*/ 3716867 h 5207000"/>
                <a:gd name="connsiteX147" fmla="*/ 2523067 w 6316134"/>
                <a:gd name="connsiteY147" fmla="*/ 3530600 h 5207000"/>
                <a:gd name="connsiteX148" fmla="*/ 3928534 w 6316134"/>
                <a:gd name="connsiteY148" fmla="*/ 2870200 h 5207000"/>
                <a:gd name="connsiteX149" fmla="*/ 4876800 w 6316134"/>
                <a:gd name="connsiteY149" fmla="*/ 2506134 h 5207000"/>
                <a:gd name="connsiteX150" fmla="*/ 5190067 w 6316134"/>
                <a:gd name="connsiteY150" fmla="*/ 2387600 h 5207000"/>
                <a:gd name="connsiteX151" fmla="*/ 5486400 w 6316134"/>
                <a:gd name="connsiteY151" fmla="*/ 2311400 h 5207000"/>
                <a:gd name="connsiteX152" fmla="*/ 3860800 w 6316134"/>
                <a:gd name="connsiteY152" fmla="*/ 2294467 h 5207000"/>
                <a:gd name="connsiteX153" fmla="*/ 3098800 w 6316134"/>
                <a:gd name="connsiteY153" fmla="*/ 2277534 h 5207000"/>
                <a:gd name="connsiteX154" fmla="*/ 2514600 w 6316134"/>
                <a:gd name="connsiteY154" fmla="*/ 2175934 h 5207000"/>
                <a:gd name="connsiteX155" fmla="*/ 2345267 w 6316134"/>
                <a:gd name="connsiteY155" fmla="*/ 2116667 h 5207000"/>
                <a:gd name="connsiteX156" fmla="*/ 2548467 w 6316134"/>
                <a:gd name="connsiteY156" fmla="*/ 1955800 h 5207000"/>
                <a:gd name="connsiteX157" fmla="*/ 2709334 w 6316134"/>
                <a:gd name="connsiteY157" fmla="*/ 1854200 h 5207000"/>
                <a:gd name="connsiteX158" fmla="*/ 3158067 w 6316134"/>
                <a:gd name="connsiteY158" fmla="*/ 1676400 h 5207000"/>
                <a:gd name="connsiteX159" fmla="*/ 3598334 w 6316134"/>
                <a:gd name="connsiteY159" fmla="*/ 1456267 h 5207000"/>
                <a:gd name="connsiteX160" fmla="*/ 3750734 w 6316134"/>
                <a:gd name="connsiteY160" fmla="*/ 1371600 h 5207000"/>
                <a:gd name="connsiteX161" fmla="*/ 3869267 w 6316134"/>
                <a:gd name="connsiteY161" fmla="*/ 1278467 h 5207000"/>
                <a:gd name="connsiteX162" fmla="*/ 3877734 w 6316134"/>
                <a:gd name="connsiteY162" fmla="*/ 1253067 h 5207000"/>
                <a:gd name="connsiteX163" fmla="*/ 3860800 w 6316134"/>
                <a:gd name="connsiteY163" fmla="*/ 1236134 h 5207000"/>
                <a:gd name="connsiteX164" fmla="*/ 3742267 w 6316134"/>
                <a:gd name="connsiteY164" fmla="*/ 1219200 h 5207000"/>
                <a:gd name="connsiteX165" fmla="*/ 3335867 w 6316134"/>
                <a:gd name="connsiteY165" fmla="*/ 1210734 h 5207000"/>
                <a:gd name="connsiteX166" fmla="*/ 2937934 w 6316134"/>
                <a:gd name="connsiteY166" fmla="*/ 1219200 h 5207000"/>
                <a:gd name="connsiteX167" fmla="*/ 2785534 w 6316134"/>
                <a:gd name="connsiteY167" fmla="*/ 1253067 h 5207000"/>
                <a:gd name="connsiteX168" fmla="*/ 2438400 w 6316134"/>
                <a:gd name="connsiteY168" fmla="*/ 1397000 h 5207000"/>
                <a:gd name="connsiteX169" fmla="*/ 2319867 w 6316134"/>
                <a:gd name="connsiteY169" fmla="*/ 1532467 h 5207000"/>
                <a:gd name="connsiteX170" fmla="*/ 2294467 w 6316134"/>
                <a:gd name="connsiteY170" fmla="*/ 1591734 h 5207000"/>
                <a:gd name="connsiteX171" fmla="*/ 2582334 w 6316134"/>
                <a:gd name="connsiteY171" fmla="*/ 1913467 h 5207000"/>
                <a:gd name="connsiteX172" fmla="*/ 3708400 w 6316134"/>
                <a:gd name="connsiteY172" fmla="*/ 2700867 h 5207000"/>
                <a:gd name="connsiteX173" fmla="*/ 4749800 w 6316134"/>
                <a:gd name="connsiteY173" fmla="*/ 3462867 h 5207000"/>
                <a:gd name="connsiteX174" fmla="*/ 5283200 w 6316134"/>
                <a:gd name="connsiteY174" fmla="*/ 3835400 h 5207000"/>
                <a:gd name="connsiteX175" fmla="*/ 5334000 w 6316134"/>
                <a:gd name="connsiteY175" fmla="*/ 3987800 h 5207000"/>
                <a:gd name="connsiteX176" fmla="*/ 5139267 w 6316134"/>
                <a:gd name="connsiteY176" fmla="*/ 4191000 h 5207000"/>
                <a:gd name="connsiteX177" fmla="*/ 4944534 w 6316134"/>
                <a:gd name="connsiteY177" fmla="*/ 4301067 h 5207000"/>
                <a:gd name="connsiteX178" fmla="*/ 4411134 w 6316134"/>
                <a:gd name="connsiteY178" fmla="*/ 4470400 h 5207000"/>
                <a:gd name="connsiteX179" fmla="*/ 4097867 w 6316134"/>
                <a:gd name="connsiteY179" fmla="*/ 4521200 h 5207000"/>
                <a:gd name="connsiteX180" fmla="*/ 3767667 w 6316134"/>
                <a:gd name="connsiteY180" fmla="*/ 4529667 h 5207000"/>
                <a:gd name="connsiteX181" fmla="*/ 2946400 w 6316134"/>
                <a:gd name="connsiteY181" fmla="*/ 4453467 h 5207000"/>
                <a:gd name="connsiteX182" fmla="*/ 2904067 w 6316134"/>
                <a:gd name="connsiteY182" fmla="*/ 4411134 h 5207000"/>
                <a:gd name="connsiteX183" fmla="*/ 2912534 w 6316134"/>
                <a:gd name="connsiteY183" fmla="*/ 3835400 h 5207000"/>
                <a:gd name="connsiteX184" fmla="*/ 3225800 w 6316134"/>
                <a:gd name="connsiteY184" fmla="*/ 3141134 h 5207000"/>
                <a:gd name="connsiteX185" fmla="*/ 3403600 w 6316134"/>
                <a:gd name="connsiteY185" fmla="*/ 2878667 h 5207000"/>
                <a:gd name="connsiteX186" fmla="*/ 3843867 w 6316134"/>
                <a:gd name="connsiteY186" fmla="*/ 2379134 h 5207000"/>
                <a:gd name="connsiteX187" fmla="*/ 4038600 w 6316134"/>
                <a:gd name="connsiteY187" fmla="*/ 2201334 h 5207000"/>
                <a:gd name="connsiteX188" fmla="*/ 4123267 w 6316134"/>
                <a:gd name="connsiteY188" fmla="*/ 2108200 h 5207000"/>
                <a:gd name="connsiteX189" fmla="*/ 4055534 w 6316134"/>
                <a:gd name="connsiteY189" fmla="*/ 2159000 h 5207000"/>
                <a:gd name="connsiteX190" fmla="*/ 3920067 w 6316134"/>
                <a:gd name="connsiteY190" fmla="*/ 2243667 h 5207000"/>
                <a:gd name="connsiteX191" fmla="*/ 3479800 w 6316134"/>
                <a:gd name="connsiteY191" fmla="*/ 2463800 h 5207000"/>
                <a:gd name="connsiteX192" fmla="*/ 3022600 w 6316134"/>
                <a:gd name="connsiteY192" fmla="*/ 2667000 h 5207000"/>
                <a:gd name="connsiteX193" fmla="*/ 2565400 w 6316134"/>
                <a:gd name="connsiteY193" fmla="*/ 2777067 h 5207000"/>
                <a:gd name="connsiteX194" fmla="*/ 2209800 w 6316134"/>
                <a:gd name="connsiteY194" fmla="*/ 2802467 h 5207000"/>
                <a:gd name="connsiteX195" fmla="*/ 2116667 w 6316134"/>
                <a:gd name="connsiteY195" fmla="*/ 2810934 h 5207000"/>
                <a:gd name="connsiteX196" fmla="*/ 2150534 w 6316134"/>
                <a:gd name="connsiteY196" fmla="*/ 2709334 h 5207000"/>
                <a:gd name="connsiteX197" fmla="*/ 2480734 w 6316134"/>
                <a:gd name="connsiteY197" fmla="*/ 2429934 h 5207000"/>
                <a:gd name="connsiteX198" fmla="*/ 3200400 w 6316134"/>
                <a:gd name="connsiteY198" fmla="*/ 1913467 h 5207000"/>
                <a:gd name="connsiteX199" fmla="*/ 3759200 w 6316134"/>
                <a:gd name="connsiteY199" fmla="*/ 1447800 h 5207000"/>
                <a:gd name="connsiteX200" fmla="*/ 3869267 w 6316134"/>
                <a:gd name="connsiteY200" fmla="*/ 1295400 h 5207000"/>
                <a:gd name="connsiteX201" fmla="*/ 3793067 w 6316134"/>
                <a:gd name="connsiteY201" fmla="*/ 1236134 h 5207000"/>
                <a:gd name="connsiteX202" fmla="*/ 3183467 w 6316134"/>
                <a:gd name="connsiteY202" fmla="*/ 1278467 h 5207000"/>
                <a:gd name="connsiteX203" fmla="*/ 2641600 w 6316134"/>
                <a:gd name="connsiteY203" fmla="*/ 1405467 h 5207000"/>
                <a:gd name="connsiteX204" fmla="*/ 1854200 w 6316134"/>
                <a:gd name="connsiteY204" fmla="*/ 1735667 h 5207000"/>
                <a:gd name="connsiteX205" fmla="*/ 1676400 w 6316134"/>
                <a:gd name="connsiteY205" fmla="*/ 1837267 h 5207000"/>
                <a:gd name="connsiteX206" fmla="*/ 1583267 w 6316134"/>
                <a:gd name="connsiteY206" fmla="*/ 1947334 h 5207000"/>
                <a:gd name="connsiteX207" fmla="*/ 1540934 w 6316134"/>
                <a:gd name="connsiteY207" fmla="*/ 2006600 h 5207000"/>
                <a:gd name="connsiteX208" fmla="*/ 1549400 w 6316134"/>
                <a:gd name="connsiteY208" fmla="*/ 2099734 h 5207000"/>
                <a:gd name="connsiteX209" fmla="*/ 1617134 w 6316134"/>
                <a:gd name="connsiteY209" fmla="*/ 2159000 h 5207000"/>
                <a:gd name="connsiteX210" fmla="*/ 1828800 w 6316134"/>
                <a:gd name="connsiteY210" fmla="*/ 2311400 h 5207000"/>
                <a:gd name="connsiteX211" fmla="*/ 2387600 w 6316134"/>
                <a:gd name="connsiteY211" fmla="*/ 2556934 h 5207000"/>
                <a:gd name="connsiteX212" fmla="*/ 2692400 w 6316134"/>
                <a:gd name="connsiteY212" fmla="*/ 2700867 h 5207000"/>
                <a:gd name="connsiteX213" fmla="*/ 3310467 w 6316134"/>
                <a:gd name="connsiteY213" fmla="*/ 2963334 h 5207000"/>
                <a:gd name="connsiteX214" fmla="*/ 3826934 w 6316134"/>
                <a:gd name="connsiteY214" fmla="*/ 3242734 h 5207000"/>
                <a:gd name="connsiteX215" fmla="*/ 4241800 w 6316134"/>
                <a:gd name="connsiteY215" fmla="*/ 3547534 h 5207000"/>
                <a:gd name="connsiteX216" fmla="*/ 4326467 w 6316134"/>
                <a:gd name="connsiteY216" fmla="*/ 3683000 h 5207000"/>
                <a:gd name="connsiteX217" fmla="*/ 4343400 w 6316134"/>
                <a:gd name="connsiteY217" fmla="*/ 3784600 h 5207000"/>
                <a:gd name="connsiteX218" fmla="*/ 4250267 w 6316134"/>
                <a:gd name="connsiteY218" fmla="*/ 4114800 h 5207000"/>
                <a:gd name="connsiteX219" fmla="*/ 4148667 w 6316134"/>
                <a:gd name="connsiteY219" fmla="*/ 4267200 h 5207000"/>
                <a:gd name="connsiteX220" fmla="*/ 3674534 w 6316134"/>
                <a:gd name="connsiteY220" fmla="*/ 4749800 h 5207000"/>
                <a:gd name="connsiteX221" fmla="*/ 3344334 w 6316134"/>
                <a:gd name="connsiteY221" fmla="*/ 5020734 h 5207000"/>
                <a:gd name="connsiteX222" fmla="*/ 3208867 w 6316134"/>
                <a:gd name="connsiteY222" fmla="*/ 5147734 h 5207000"/>
                <a:gd name="connsiteX223" fmla="*/ 3191934 w 6316134"/>
                <a:gd name="connsiteY223" fmla="*/ 5181600 h 5207000"/>
                <a:gd name="connsiteX224" fmla="*/ 3276600 w 6316134"/>
                <a:gd name="connsiteY224" fmla="*/ 5156200 h 5207000"/>
                <a:gd name="connsiteX225" fmla="*/ 3386667 w 6316134"/>
                <a:gd name="connsiteY225" fmla="*/ 4995334 h 5207000"/>
                <a:gd name="connsiteX226" fmla="*/ 3361267 w 6316134"/>
                <a:gd name="connsiteY226" fmla="*/ 4732867 h 5207000"/>
                <a:gd name="connsiteX227" fmla="*/ 3225800 w 6316134"/>
                <a:gd name="connsiteY227" fmla="*/ 4453467 h 5207000"/>
                <a:gd name="connsiteX228" fmla="*/ 2599267 w 6316134"/>
                <a:gd name="connsiteY228" fmla="*/ 3683000 h 5207000"/>
                <a:gd name="connsiteX229" fmla="*/ 2167467 w 6316134"/>
                <a:gd name="connsiteY229" fmla="*/ 3234267 h 5207000"/>
                <a:gd name="connsiteX230" fmla="*/ 1989667 w 6316134"/>
                <a:gd name="connsiteY230" fmla="*/ 3098800 h 5207000"/>
                <a:gd name="connsiteX231" fmla="*/ 1998134 w 6316134"/>
                <a:gd name="connsiteY231" fmla="*/ 3073400 h 5207000"/>
                <a:gd name="connsiteX232" fmla="*/ 2184400 w 6316134"/>
                <a:gd name="connsiteY232" fmla="*/ 2988734 h 5207000"/>
                <a:gd name="connsiteX233" fmla="*/ 2717800 w 6316134"/>
                <a:gd name="connsiteY233" fmla="*/ 2887134 h 5207000"/>
                <a:gd name="connsiteX234" fmla="*/ 4580467 w 6316134"/>
                <a:gd name="connsiteY234" fmla="*/ 2895600 h 5207000"/>
                <a:gd name="connsiteX235" fmla="*/ 4834467 w 6316134"/>
                <a:gd name="connsiteY235" fmla="*/ 2912534 h 5207000"/>
                <a:gd name="connsiteX236" fmla="*/ 4741334 w 6316134"/>
                <a:gd name="connsiteY236" fmla="*/ 2954867 h 5207000"/>
                <a:gd name="connsiteX237" fmla="*/ 4267200 w 6316134"/>
                <a:gd name="connsiteY237" fmla="*/ 3031067 h 5207000"/>
                <a:gd name="connsiteX238" fmla="*/ 2175934 w 6316134"/>
                <a:gd name="connsiteY238" fmla="*/ 3022600 h 5207000"/>
                <a:gd name="connsiteX239" fmla="*/ 1608667 w 6316134"/>
                <a:gd name="connsiteY239" fmla="*/ 3005667 h 5207000"/>
                <a:gd name="connsiteX240" fmla="*/ 1024467 w 6316134"/>
                <a:gd name="connsiteY240" fmla="*/ 2946400 h 5207000"/>
                <a:gd name="connsiteX241" fmla="*/ 558800 w 6316134"/>
                <a:gd name="connsiteY241" fmla="*/ 2921000 h 5207000"/>
                <a:gd name="connsiteX242" fmla="*/ 42334 w 6316134"/>
                <a:gd name="connsiteY242" fmla="*/ 2810934 h 5207000"/>
                <a:gd name="connsiteX243" fmla="*/ 0 w 6316134"/>
                <a:gd name="connsiteY243" fmla="*/ 2785534 h 5207000"/>
                <a:gd name="connsiteX244" fmla="*/ 270934 w 6316134"/>
                <a:gd name="connsiteY244" fmla="*/ 2633134 h 5207000"/>
                <a:gd name="connsiteX245" fmla="*/ 575734 w 6316134"/>
                <a:gd name="connsiteY245" fmla="*/ 2531534 h 5207000"/>
                <a:gd name="connsiteX246" fmla="*/ 2159000 w 6316134"/>
                <a:gd name="connsiteY246" fmla="*/ 2362200 h 5207000"/>
                <a:gd name="connsiteX247" fmla="*/ 2760134 w 6316134"/>
                <a:gd name="connsiteY247" fmla="*/ 2302934 h 5207000"/>
                <a:gd name="connsiteX248" fmla="*/ 3843867 w 6316134"/>
                <a:gd name="connsiteY248" fmla="*/ 2150534 h 5207000"/>
                <a:gd name="connsiteX249" fmla="*/ 4292600 w 6316134"/>
                <a:gd name="connsiteY249" fmla="*/ 2032000 h 5207000"/>
                <a:gd name="connsiteX250" fmla="*/ 4792134 w 6316134"/>
                <a:gd name="connsiteY250" fmla="*/ 1896534 h 5207000"/>
                <a:gd name="connsiteX251" fmla="*/ 4546600 w 6316134"/>
                <a:gd name="connsiteY251" fmla="*/ 2006600 h 5207000"/>
                <a:gd name="connsiteX252" fmla="*/ 4309534 w 6316134"/>
                <a:gd name="connsiteY252" fmla="*/ 2108200 h 5207000"/>
                <a:gd name="connsiteX253" fmla="*/ 3979334 w 6316134"/>
                <a:gd name="connsiteY253" fmla="*/ 2226734 h 5207000"/>
                <a:gd name="connsiteX254" fmla="*/ 3276600 w 6316134"/>
                <a:gd name="connsiteY254" fmla="*/ 2514600 h 5207000"/>
                <a:gd name="connsiteX255" fmla="*/ 2277534 w 6316134"/>
                <a:gd name="connsiteY255" fmla="*/ 2785534 h 5207000"/>
                <a:gd name="connsiteX256" fmla="*/ 2006600 w 6316134"/>
                <a:gd name="connsiteY256" fmla="*/ 2760134 h 5207000"/>
                <a:gd name="connsiteX257" fmla="*/ 2099734 w 6316134"/>
                <a:gd name="connsiteY257" fmla="*/ 2480734 h 5207000"/>
                <a:gd name="connsiteX258" fmla="*/ 2362200 w 6316134"/>
                <a:gd name="connsiteY258" fmla="*/ 1998134 h 5207000"/>
                <a:gd name="connsiteX259" fmla="*/ 2540000 w 6316134"/>
                <a:gd name="connsiteY259" fmla="*/ 1735667 h 5207000"/>
                <a:gd name="connsiteX260" fmla="*/ 2937934 w 6316134"/>
                <a:gd name="connsiteY260" fmla="*/ 1227667 h 5207000"/>
                <a:gd name="connsiteX261" fmla="*/ 3064934 w 6316134"/>
                <a:gd name="connsiteY261" fmla="*/ 982134 h 5207000"/>
                <a:gd name="connsiteX262" fmla="*/ 3208867 w 6316134"/>
                <a:gd name="connsiteY262" fmla="*/ 736600 h 5207000"/>
                <a:gd name="connsiteX263" fmla="*/ 3208867 w 6316134"/>
                <a:gd name="connsiteY263" fmla="*/ 575734 h 5207000"/>
                <a:gd name="connsiteX264" fmla="*/ 3132667 w 6316134"/>
                <a:gd name="connsiteY264" fmla="*/ 550334 h 5207000"/>
                <a:gd name="connsiteX265" fmla="*/ 2870200 w 6316134"/>
                <a:gd name="connsiteY265" fmla="*/ 575734 h 5207000"/>
                <a:gd name="connsiteX266" fmla="*/ 2751667 w 6316134"/>
                <a:gd name="connsiteY266" fmla="*/ 643467 h 5207000"/>
                <a:gd name="connsiteX267" fmla="*/ 2345267 w 6316134"/>
                <a:gd name="connsiteY267" fmla="*/ 872067 h 5207000"/>
                <a:gd name="connsiteX268" fmla="*/ 2167467 w 6316134"/>
                <a:gd name="connsiteY268" fmla="*/ 1041400 h 5207000"/>
                <a:gd name="connsiteX269" fmla="*/ 1896534 w 6316134"/>
                <a:gd name="connsiteY269" fmla="*/ 1498600 h 5207000"/>
                <a:gd name="connsiteX270" fmla="*/ 1820334 w 6316134"/>
                <a:gd name="connsiteY270" fmla="*/ 1710267 h 5207000"/>
                <a:gd name="connsiteX271" fmla="*/ 1938867 w 6316134"/>
                <a:gd name="connsiteY271" fmla="*/ 2396067 h 5207000"/>
                <a:gd name="connsiteX272" fmla="*/ 2099734 w 6316134"/>
                <a:gd name="connsiteY272" fmla="*/ 2650067 h 5207000"/>
                <a:gd name="connsiteX273" fmla="*/ 2709334 w 6316134"/>
                <a:gd name="connsiteY273" fmla="*/ 3268134 h 5207000"/>
                <a:gd name="connsiteX274" fmla="*/ 3022600 w 6316134"/>
                <a:gd name="connsiteY274" fmla="*/ 3564467 h 5207000"/>
                <a:gd name="connsiteX275" fmla="*/ 4199467 w 6316134"/>
                <a:gd name="connsiteY275" fmla="*/ 4419600 h 5207000"/>
                <a:gd name="connsiteX276" fmla="*/ 5105400 w 6316134"/>
                <a:gd name="connsiteY276" fmla="*/ 4868334 h 5207000"/>
                <a:gd name="connsiteX277" fmla="*/ 5283200 w 6316134"/>
                <a:gd name="connsiteY277" fmla="*/ 4944534 h 5207000"/>
                <a:gd name="connsiteX278" fmla="*/ 4969934 w 6316134"/>
                <a:gd name="connsiteY278" fmla="*/ 4910667 h 5207000"/>
                <a:gd name="connsiteX279" fmla="*/ 3937000 w 6316134"/>
                <a:gd name="connsiteY279" fmla="*/ 4478867 h 5207000"/>
                <a:gd name="connsiteX280" fmla="*/ 2311400 w 6316134"/>
                <a:gd name="connsiteY280" fmla="*/ 3852334 h 5207000"/>
                <a:gd name="connsiteX281" fmla="*/ 1422400 w 6316134"/>
                <a:gd name="connsiteY281" fmla="*/ 3606800 h 5207000"/>
                <a:gd name="connsiteX282" fmla="*/ 838200 w 6316134"/>
                <a:gd name="connsiteY282" fmla="*/ 3479800 h 5207000"/>
                <a:gd name="connsiteX283" fmla="*/ 905934 w 6316134"/>
                <a:gd name="connsiteY283" fmla="*/ 3420534 h 5207000"/>
                <a:gd name="connsiteX284" fmla="*/ 1312334 w 6316134"/>
                <a:gd name="connsiteY284" fmla="*/ 3293534 h 5207000"/>
                <a:gd name="connsiteX285" fmla="*/ 2125134 w 6316134"/>
                <a:gd name="connsiteY285" fmla="*/ 3132667 h 5207000"/>
                <a:gd name="connsiteX286" fmla="*/ 2548467 w 6316134"/>
                <a:gd name="connsiteY286" fmla="*/ 3081867 h 5207000"/>
                <a:gd name="connsiteX287" fmla="*/ 3344334 w 6316134"/>
                <a:gd name="connsiteY287" fmla="*/ 3022600 h 5207000"/>
                <a:gd name="connsiteX288" fmla="*/ 3581400 w 6316134"/>
                <a:gd name="connsiteY288" fmla="*/ 2997200 h 5207000"/>
                <a:gd name="connsiteX289" fmla="*/ 3733800 w 6316134"/>
                <a:gd name="connsiteY289" fmla="*/ 2971800 h 5207000"/>
                <a:gd name="connsiteX290" fmla="*/ 3767667 w 6316134"/>
                <a:gd name="connsiteY290" fmla="*/ 2963334 h 5207000"/>
                <a:gd name="connsiteX291" fmla="*/ 3708400 w 6316134"/>
                <a:gd name="connsiteY291" fmla="*/ 2971800 h 5207000"/>
                <a:gd name="connsiteX292" fmla="*/ 3285067 w 6316134"/>
                <a:gd name="connsiteY292" fmla="*/ 3048000 h 5207000"/>
                <a:gd name="connsiteX293" fmla="*/ 2929467 w 6316134"/>
                <a:gd name="connsiteY293" fmla="*/ 3081867 h 5207000"/>
                <a:gd name="connsiteX294" fmla="*/ 1778000 w 6316134"/>
                <a:gd name="connsiteY294" fmla="*/ 3124200 h 5207000"/>
                <a:gd name="connsiteX295" fmla="*/ 1507067 w 6316134"/>
                <a:gd name="connsiteY295" fmla="*/ 3081867 h 5207000"/>
                <a:gd name="connsiteX296" fmla="*/ 1727200 w 6316134"/>
                <a:gd name="connsiteY296" fmla="*/ 3005667 h 5207000"/>
                <a:gd name="connsiteX297" fmla="*/ 2116667 w 6316134"/>
                <a:gd name="connsiteY297" fmla="*/ 2912534 h 5207000"/>
                <a:gd name="connsiteX298" fmla="*/ 3115734 w 6316134"/>
                <a:gd name="connsiteY298" fmla="*/ 2844800 h 5207000"/>
                <a:gd name="connsiteX299" fmla="*/ 3759200 w 6316134"/>
                <a:gd name="connsiteY299" fmla="*/ 2827867 h 5207000"/>
                <a:gd name="connsiteX300" fmla="*/ 5232400 w 6316134"/>
                <a:gd name="connsiteY300" fmla="*/ 2844800 h 5207000"/>
                <a:gd name="connsiteX301" fmla="*/ 5283200 w 6316134"/>
                <a:gd name="connsiteY301" fmla="*/ 2878667 h 5207000"/>
                <a:gd name="connsiteX302" fmla="*/ 5207000 w 6316134"/>
                <a:gd name="connsiteY302" fmla="*/ 3005667 h 5207000"/>
                <a:gd name="connsiteX303" fmla="*/ 4758267 w 6316134"/>
                <a:gd name="connsiteY303" fmla="*/ 3259667 h 5207000"/>
                <a:gd name="connsiteX304" fmla="*/ 3403600 w 6316134"/>
                <a:gd name="connsiteY304" fmla="*/ 3953934 h 5207000"/>
                <a:gd name="connsiteX305" fmla="*/ 2413000 w 6316134"/>
                <a:gd name="connsiteY305" fmla="*/ 4301067 h 5207000"/>
                <a:gd name="connsiteX306" fmla="*/ 1845734 w 6316134"/>
                <a:gd name="connsiteY306" fmla="*/ 4538134 h 5207000"/>
                <a:gd name="connsiteX307" fmla="*/ 1752600 w 6316134"/>
                <a:gd name="connsiteY307" fmla="*/ 4588934 h 5207000"/>
                <a:gd name="connsiteX308" fmla="*/ 1701800 w 6316134"/>
                <a:gd name="connsiteY308" fmla="*/ 4605867 h 5207000"/>
                <a:gd name="connsiteX309" fmla="*/ 1744134 w 6316134"/>
                <a:gd name="connsiteY309" fmla="*/ 4580467 h 5207000"/>
                <a:gd name="connsiteX310" fmla="*/ 1879600 w 6316134"/>
                <a:gd name="connsiteY310" fmla="*/ 4453467 h 5207000"/>
                <a:gd name="connsiteX311" fmla="*/ 2108200 w 6316134"/>
                <a:gd name="connsiteY311" fmla="*/ 4284134 h 5207000"/>
                <a:gd name="connsiteX312" fmla="*/ 2692400 w 6316134"/>
                <a:gd name="connsiteY312" fmla="*/ 3699934 h 5207000"/>
                <a:gd name="connsiteX313" fmla="*/ 4165600 w 6316134"/>
                <a:gd name="connsiteY313" fmla="*/ 2497667 h 5207000"/>
                <a:gd name="connsiteX314" fmla="*/ 4741334 w 6316134"/>
                <a:gd name="connsiteY314" fmla="*/ 2074334 h 5207000"/>
                <a:gd name="connsiteX315" fmla="*/ 4953000 w 6316134"/>
                <a:gd name="connsiteY315" fmla="*/ 1989667 h 5207000"/>
                <a:gd name="connsiteX316" fmla="*/ 4919134 w 6316134"/>
                <a:gd name="connsiteY316" fmla="*/ 2235200 h 5207000"/>
                <a:gd name="connsiteX317" fmla="*/ 4707467 w 6316134"/>
                <a:gd name="connsiteY317" fmla="*/ 2794000 h 5207000"/>
                <a:gd name="connsiteX318" fmla="*/ 4343400 w 6316134"/>
                <a:gd name="connsiteY318" fmla="*/ 3429000 h 5207000"/>
                <a:gd name="connsiteX319" fmla="*/ 3572934 w 6316134"/>
                <a:gd name="connsiteY319" fmla="*/ 4343400 h 5207000"/>
                <a:gd name="connsiteX320" fmla="*/ 3285067 w 6316134"/>
                <a:gd name="connsiteY320" fmla="*/ 4580467 h 5207000"/>
                <a:gd name="connsiteX321" fmla="*/ 3098800 w 6316134"/>
                <a:gd name="connsiteY321" fmla="*/ 4749800 h 5207000"/>
                <a:gd name="connsiteX322" fmla="*/ 2802467 w 6316134"/>
                <a:gd name="connsiteY322" fmla="*/ 4876800 h 5207000"/>
                <a:gd name="connsiteX323" fmla="*/ 2599267 w 6316134"/>
                <a:gd name="connsiteY323" fmla="*/ 4834467 h 5207000"/>
                <a:gd name="connsiteX324" fmla="*/ 2379134 w 6316134"/>
                <a:gd name="connsiteY324" fmla="*/ 4605867 h 5207000"/>
                <a:gd name="connsiteX325" fmla="*/ 2065867 w 6316134"/>
                <a:gd name="connsiteY325" fmla="*/ 4106334 h 5207000"/>
                <a:gd name="connsiteX326" fmla="*/ 1947334 w 6316134"/>
                <a:gd name="connsiteY326" fmla="*/ 3776134 h 5207000"/>
                <a:gd name="connsiteX327" fmla="*/ 1854200 w 6316134"/>
                <a:gd name="connsiteY327" fmla="*/ 3132667 h 5207000"/>
                <a:gd name="connsiteX328" fmla="*/ 1845734 w 6316134"/>
                <a:gd name="connsiteY328" fmla="*/ 2387600 h 5207000"/>
                <a:gd name="connsiteX329" fmla="*/ 1854200 w 6316134"/>
                <a:gd name="connsiteY329" fmla="*/ 2243667 h 5207000"/>
                <a:gd name="connsiteX330" fmla="*/ 1921934 w 6316134"/>
                <a:gd name="connsiteY330" fmla="*/ 2142067 h 5207000"/>
                <a:gd name="connsiteX331" fmla="*/ 1947334 w 6316134"/>
                <a:gd name="connsiteY331" fmla="*/ 2133600 h 5207000"/>
                <a:gd name="connsiteX332" fmla="*/ 2006600 w 6316134"/>
                <a:gd name="connsiteY332" fmla="*/ 2150534 h 5207000"/>
                <a:gd name="connsiteX333" fmla="*/ 2074334 w 6316134"/>
                <a:gd name="connsiteY333" fmla="*/ 2218267 h 5207000"/>
                <a:gd name="connsiteX334" fmla="*/ 2328334 w 6316134"/>
                <a:gd name="connsiteY334" fmla="*/ 2489200 h 5207000"/>
                <a:gd name="connsiteX335" fmla="*/ 2599267 w 6316134"/>
                <a:gd name="connsiteY335" fmla="*/ 2760134 h 5207000"/>
                <a:gd name="connsiteX336" fmla="*/ 3208867 w 6316134"/>
                <a:gd name="connsiteY336" fmla="*/ 3505200 h 5207000"/>
                <a:gd name="connsiteX337" fmla="*/ 4224867 w 6316134"/>
                <a:gd name="connsiteY337" fmla="*/ 4775200 h 5207000"/>
                <a:gd name="connsiteX338" fmla="*/ 4360334 w 6316134"/>
                <a:gd name="connsiteY338" fmla="*/ 4919134 h 5207000"/>
                <a:gd name="connsiteX339" fmla="*/ 4292600 w 6316134"/>
                <a:gd name="connsiteY339" fmla="*/ 4936067 h 5207000"/>
                <a:gd name="connsiteX340" fmla="*/ 4047067 w 6316134"/>
                <a:gd name="connsiteY340" fmla="*/ 4859867 h 5207000"/>
                <a:gd name="connsiteX341" fmla="*/ 3852334 w 6316134"/>
                <a:gd name="connsiteY341" fmla="*/ 4749800 h 5207000"/>
                <a:gd name="connsiteX342" fmla="*/ 3369734 w 6316134"/>
                <a:gd name="connsiteY342" fmla="*/ 4343400 h 5207000"/>
                <a:gd name="connsiteX343" fmla="*/ 2980267 w 6316134"/>
                <a:gd name="connsiteY343" fmla="*/ 3835400 h 5207000"/>
                <a:gd name="connsiteX344" fmla="*/ 2895600 w 6316134"/>
                <a:gd name="connsiteY344" fmla="*/ 3369734 h 5207000"/>
                <a:gd name="connsiteX345" fmla="*/ 2963334 w 6316134"/>
                <a:gd name="connsiteY345" fmla="*/ 2988734 h 5207000"/>
                <a:gd name="connsiteX346" fmla="*/ 3276600 w 6316134"/>
                <a:gd name="connsiteY346" fmla="*/ 2641600 h 5207000"/>
                <a:gd name="connsiteX347" fmla="*/ 3742267 w 6316134"/>
                <a:gd name="connsiteY347" fmla="*/ 2370667 h 5207000"/>
                <a:gd name="connsiteX348" fmla="*/ 4529667 w 6316134"/>
                <a:gd name="connsiteY348" fmla="*/ 2226734 h 5207000"/>
                <a:gd name="connsiteX349" fmla="*/ 4944534 w 6316134"/>
                <a:gd name="connsiteY349" fmla="*/ 2209800 h 5207000"/>
                <a:gd name="connsiteX350" fmla="*/ 5325534 w 6316134"/>
                <a:gd name="connsiteY350" fmla="*/ 2235200 h 5207000"/>
                <a:gd name="connsiteX351" fmla="*/ 5698067 w 6316134"/>
                <a:gd name="connsiteY351" fmla="*/ 2421467 h 5207000"/>
                <a:gd name="connsiteX352" fmla="*/ 5842000 w 6316134"/>
                <a:gd name="connsiteY352" fmla="*/ 2726267 h 5207000"/>
                <a:gd name="connsiteX353" fmla="*/ 5799667 w 6316134"/>
                <a:gd name="connsiteY353" fmla="*/ 2997200 h 5207000"/>
                <a:gd name="connsiteX354" fmla="*/ 5689600 w 6316134"/>
                <a:gd name="connsiteY354" fmla="*/ 3141134 h 5207000"/>
                <a:gd name="connsiteX355" fmla="*/ 5054600 w 6316134"/>
                <a:gd name="connsiteY355" fmla="*/ 3589867 h 5207000"/>
                <a:gd name="connsiteX356" fmla="*/ 4470400 w 6316134"/>
                <a:gd name="connsiteY356" fmla="*/ 3708400 h 5207000"/>
                <a:gd name="connsiteX357" fmla="*/ 4089400 w 6316134"/>
                <a:gd name="connsiteY357" fmla="*/ 3649134 h 5207000"/>
                <a:gd name="connsiteX358" fmla="*/ 3310467 w 6316134"/>
                <a:gd name="connsiteY358" fmla="*/ 3285067 h 5207000"/>
                <a:gd name="connsiteX359" fmla="*/ 2277534 w 6316134"/>
                <a:gd name="connsiteY359" fmla="*/ 2362200 h 5207000"/>
                <a:gd name="connsiteX360" fmla="*/ 1811867 w 6316134"/>
                <a:gd name="connsiteY360" fmla="*/ 1786467 h 5207000"/>
                <a:gd name="connsiteX361" fmla="*/ 1761067 w 6316134"/>
                <a:gd name="connsiteY361" fmla="*/ 1532467 h 5207000"/>
                <a:gd name="connsiteX362" fmla="*/ 1854200 w 6316134"/>
                <a:gd name="connsiteY362" fmla="*/ 1236134 h 5207000"/>
                <a:gd name="connsiteX363" fmla="*/ 1947334 w 6316134"/>
                <a:gd name="connsiteY363" fmla="*/ 1151467 h 5207000"/>
                <a:gd name="connsiteX364" fmla="*/ 2311400 w 6316134"/>
                <a:gd name="connsiteY364" fmla="*/ 1066800 h 5207000"/>
                <a:gd name="connsiteX365" fmla="*/ 2802467 w 6316134"/>
                <a:gd name="connsiteY365" fmla="*/ 1075267 h 5207000"/>
                <a:gd name="connsiteX366" fmla="*/ 3056467 w 6316134"/>
                <a:gd name="connsiteY366" fmla="*/ 1143000 h 5207000"/>
                <a:gd name="connsiteX367" fmla="*/ 3784600 w 6316134"/>
                <a:gd name="connsiteY367" fmla="*/ 1625600 h 5207000"/>
                <a:gd name="connsiteX368" fmla="*/ 4030134 w 6316134"/>
                <a:gd name="connsiteY368" fmla="*/ 2091267 h 5207000"/>
                <a:gd name="connsiteX369" fmla="*/ 3818467 w 6316134"/>
                <a:gd name="connsiteY369" fmla="*/ 3022600 h 5207000"/>
                <a:gd name="connsiteX370" fmla="*/ 3581400 w 6316134"/>
                <a:gd name="connsiteY370" fmla="*/ 3268134 h 5207000"/>
                <a:gd name="connsiteX371" fmla="*/ 3014134 w 6316134"/>
                <a:gd name="connsiteY371" fmla="*/ 3725334 h 5207000"/>
                <a:gd name="connsiteX372" fmla="*/ 2683934 w 6316134"/>
                <a:gd name="connsiteY372" fmla="*/ 3877734 h 5207000"/>
                <a:gd name="connsiteX373" fmla="*/ 1938867 w 6316134"/>
                <a:gd name="connsiteY373" fmla="*/ 4021667 h 5207000"/>
                <a:gd name="connsiteX374" fmla="*/ 1363134 w 6316134"/>
                <a:gd name="connsiteY374" fmla="*/ 3962400 h 5207000"/>
                <a:gd name="connsiteX375" fmla="*/ 1312334 w 6316134"/>
                <a:gd name="connsiteY375" fmla="*/ 3886200 h 5207000"/>
                <a:gd name="connsiteX376" fmla="*/ 1405467 w 6316134"/>
                <a:gd name="connsiteY376" fmla="*/ 3556000 h 5207000"/>
                <a:gd name="connsiteX377" fmla="*/ 2057400 w 6316134"/>
                <a:gd name="connsiteY377" fmla="*/ 2810934 h 5207000"/>
                <a:gd name="connsiteX378" fmla="*/ 2921000 w 6316134"/>
                <a:gd name="connsiteY378" fmla="*/ 2294467 h 5207000"/>
                <a:gd name="connsiteX379" fmla="*/ 3471334 w 6316134"/>
                <a:gd name="connsiteY379" fmla="*/ 2116667 h 5207000"/>
                <a:gd name="connsiteX380" fmla="*/ 4301067 w 6316134"/>
                <a:gd name="connsiteY380" fmla="*/ 1998134 h 5207000"/>
                <a:gd name="connsiteX381" fmla="*/ 4699000 w 6316134"/>
                <a:gd name="connsiteY381" fmla="*/ 2099734 h 5207000"/>
                <a:gd name="connsiteX382" fmla="*/ 4792134 w 6316134"/>
                <a:gd name="connsiteY382" fmla="*/ 2201334 h 5207000"/>
                <a:gd name="connsiteX383" fmla="*/ 4868334 w 6316134"/>
                <a:gd name="connsiteY383" fmla="*/ 2396067 h 5207000"/>
                <a:gd name="connsiteX384" fmla="*/ 4707467 w 6316134"/>
                <a:gd name="connsiteY384" fmla="*/ 3268134 h 5207000"/>
                <a:gd name="connsiteX385" fmla="*/ 4165600 w 6316134"/>
                <a:gd name="connsiteY385" fmla="*/ 3852334 h 5207000"/>
                <a:gd name="connsiteX386" fmla="*/ 3522134 w 6316134"/>
                <a:gd name="connsiteY386" fmla="*/ 4445000 h 5207000"/>
                <a:gd name="connsiteX387" fmla="*/ 2641600 w 6316134"/>
                <a:gd name="connsiteY387" fmla="*/ 4978400 h 5207000"/>
                <a:gd name="connsiteX388" fmla="*/ 1794934 w 6316134"/>
                <a:gd name="connsiteY388" fmla="*/ 5207000 h 5207000"/>
                <a:gd name="connsiteX389" fmla="*/ 1820334 w 6316134"/>
                <a:gd name="connsiteY389" fmla="*/ 5105400 h 5207000"/>
                <a:gd name="connsiteX390" fmla="*/ 2497667 w 6316134"/>
                <a:gd name="connsiteY390" fmla="*/ 4546600 h 5207000"/>
                <a:gd name="connsiteX391" fmla="*/ 2785534 w 6316134"/>
                <a:gd name="connsiteY391" fmla="*/ 4292600 h 5207000"/>
                <a:gd name="connsiteX392" fmla="*/ 3454400 w 6316134"/>
                <a:gd name="connsiteY392" fmla="*/ 3801534 h 5207000"/>
                <a:gd name="connsiteX393" fmla="*/ 4191000 w 6316134"/>
                <a:gd name="connsiteY393" fmla="*/ 3166534 h 5207000"/>
                <a:gd name="connsiteX394" fmla="*/ 4250267 w 6316134"/>
                <a:gd name="connsiteY394" fmla="*/ 3081867 h 5207000"/>
                <a:gd name="connsiteX395" fmla="*/ 4191000 w 6316134"/>
                <a:gd name="connsiteY395" fmla="*/ 3064934 h 5207000"/>
                <a:gd name="connsiteX396" fmla="*/ 3970867 w 6316134"/>
                <a:gd name="connsiteY396" fmla="*/ 3081867 h 5207000"/>
                <a:gd name="connsiteX397" fmla="*/ 2726267 w 6316134"/>
                <a:gd name="connsiteY397" fmla="*/ 3022600 h 5207000"/>
                <a:gd name="connsiteX398" fmla="*/ 2616200 w 6316134"/>
                <a:gd name="connsiteY398" fmla="*/ 2988734 h 5207000"/>
                <a:gd name="connsiteX399" fmla="*/ 2489200 w 6316134"/>
                <a:gd name="connsiteY399" fmla="*/ 2921000 h 5207000"/>
                <a:gd name="connsiteX400" fmla="*/ 2463800 w 6316134"/>
                <a:gd name="connsiteY400" fmla="*/ 2895600 h 5207000"/>
                <a:gd name="connsiteX401" fmla="*/ 2556934 w 6316134"/>
                <a:gd name="connsiteY401" fmla="*/ 2726267 h 5207000"/>
                <a:gd name="connsiteX402" fmla="*/ 2844800 w 6316134"/>
                <a:gd name="connsiteY402" fmla="*/ 2463800 h 5207000"/>
                <a:gd name="connsiteX403" fmla="*/ 2971800 w 6316134"/>
                <a:gd name="connsiteY403" fmla="*/ 2362200 h 5207000"/>
                <a:gd name="connsiteX404" fmla="*/ 2988734 w 6316134"/>
                <a:gd name="connsiteY404" fmla="*/ 2336800 h 5207000"/>
                <a:gd name="connsiteX405" fmla="*/ 2269067 w 6316134"/>
                <a:gd name="connsiteY405" fmla="*/ 2319867 h 5207000"/>
                <a:gd name="connsiteX406" fmla="*/ 1761067 w 6316134"/>
                <a:gd name="connsiteY406" fmla="*/ 2235200 h 5207000"/>
                <a:gd name="connsiteX407" fmla="*/ 1583267 w 6316134"/>
                <a:gd name="connsiteY407" fmla="*/ 2167467 h 5207000"/>
                <a:gd name="connsiteX408" fmla="*/ 1591734 w 6316134"/>
                <a:gd name="connsiteY408" fmla="*/ 2040467 h 5207000"/>
                <a:gd name="connsiteX409" fmla="*/ 1778000 w 6316134"/>
                <a:gd name="connsiteY409" fmla="*/ 1786467 h 5207000"/>
                <a:gd name="connsiteX410" fmla="*/ 1998134 w 6316134"/>
                <a:gd name="connsiteY410" fmla="*/ 1591734 h 5207000"/>
                <a:gd name="connsiteX411" fmla="*/ 2277534 w 6316134"/>
                <a:gd name="connsiteY411" fmla="*/ 1388534 h 5207000"/>
                <a:gd name="connsiteX412" fmla="*/ 2463800 w 6316134"/>
                <a:gd name="connsiteY412" fmla="*/ 1329267 h 5207000"/>
                <a:gd name="connsiteX413" fmla="*/ 2683934 w 6316134"/>
                <a:gd name="connsiteY413" fmla="*/ 1286934 h 5207000"/>
                <a:gd name="connsiteX414" fmla="*/ 3369734 w 6316134"/>
                <a:gd name="connsiteY414" fmla="*/ 1794934 h 5207000"/>
                <a:gd name="connsiteX415" fmla="*/ 4123267 w 6316134"/>
                <a:gd name="connsiteY415" fmla="*/ 2819400 h 5207000"/>
                <a:gd name="connsiteX416" fmla="*/ 4673600 w 6316134"/>
                <a:gd name="connsiteY416" fmla="*/ 3835400 h 5207000"/>
                <a:gd name="connsiteX417" fmla="*/ 5003800 w 6316134"/>
                <a:gd name="connsiteY417" fmla="*/ 4631267 h 5207000"/>
                <a:gd name="connsiteX418" fmla="*/ 5105400 w 6316134"/>
                <a:gd name="connsiteY418" fmla="*/ 4868334 h 5207000"/>
                <a:gd name="connsiteX419" fmla="*/ 5156200 w 6316134"/>
                <a:gd name="connsiteY419" fmla="*/ 4995334 h 5207000"/>
                <a:gd name="connsiteX420" fmla="*/ 5173134 w 6316134"/>
                <a:gd name="connsiteY420" fmla="*/ 5080000 h 5207000"/>
                <a:gd name="connsiteX421" fmla="*/ 5037667 w 6316134"/>
                <a:gd name="connsiteY421" fmla="*/ 5012267 h 5207000"/>
                <a:gd name="connsiteX422" fmla="*/ 3505200 w 6316134"/>
                <a:gd name="connsiteY422" fmla="*/ 2980267 h 5207000"/>
                <a:gd name="connsiteX423" fmla="*/ 2954867 w 6316134"/>
                <a:gd name="connsiteY423" fmla="*/ 2201334 h 5207000"/>
                <a:gd name="connsiteX424" fmla="*/ 2794000 w 6316134"/>
                <a:gd name="connsiteY424" fmla="*/ 1837267 h 5207000"/>
                <a:gd name="connsiteX425" fmla="*/ 2785534 w 6316134"/>
                <a:gd name="connsiteY425" fmla="*/ 1778000 h 5207000"/>
                <a:gd name="connsiteX426" fmla="*/ 2836334 w 6316134"/>
                <a:gd name="connsiteY426" fmla="*/ 1794934 h 5207000"/>
                <a:gd name="connsiteX427" fmla="*/ 2904067 w 6316134"/>
                <a:gd name="connsiteY427" fmla="*/ 1871134 h 5207000"/>
                <a:gd name="connsiteX428" fmla="*/ 3048000 w 6316134"/>
                <a:gd name="connsiteY428" fmla="*/ 2006600 h 5207000"/>
                <a:gd name="connsiteX429" fmla="*/ 3843867 w 6316134"/>
                <a:gd name="connsiteY429" fmla="*/ 2870200 h 5207000"/>
                <a:gd name="connsiteX430" fmla="*/ 4385734 w 6316134"/>
                <a:gd name="connsiteY430" fmla="*/ 3462867 h 5207000"/>
                <a:gd name="connsiteX431" fmla="*/ 4682067 w 6316134"/>
                <a:gd name="connsiteY431" fmla="*/ 3759200 h 5207000"/>
                <a:gd name="connsiteX432" fmla="*/ 4961467 w 6316134"/>
                <a:gd name="connsiteY432" fmla="*/ 4106334 h 5207000"/>
                <a:gd name="connsiteX433" fmla="*/ 4885267 w 6316134"/>
                <a:gd name="connsiteY433" fmla="*/ 4114800 h 5207000"/>
                <a:gd name="connsiteX434" fmla="*/ 4732867 w 6316134"/>
                <a:gd name="connsiteY434" fmla="*/ 4021667 h 5207000"/>
                <a:gd name="connsiteX435" fmla="*/ 4470400 w 6316134"/>
                <a:gd name="connsiteY435" fmla="*/ 3843867 h 5207000"/>
                <a:gd name="connsiteX436" fmla="*/ 3285067 w 6316134"/>
                <a:gd name="connsiteY436" fmla="*/ 2895600 h 5207000"/>
                <a:gd name="connsiteX437" fmla="*/ 2785534 w 6316134"/>
                <a:gd name="connsiteY437" fmla="*/ 2556934 h 5207000"/>
                <a:gd name="connsiteX438" fmla="*/ 1718734 w 6316134"/>
                <a:gd name="connsiteY438" fmla="*/ 1608667 h 5207000"/>
                <a:gd name="connsiteX439" fmla="*/ 1625600 w 6316134"/>
                <a:gd name="connsiteY439" fmla="*/ 1532467 h 5207000"/>
                <a:gd name="connsiteX440" fmla="*/ 1591734 w 6316134"/>
                <a:gd name="connsiteY440" fmla="*/ 1498600 h 5207000"/>
                <a:gd name="connsiteX441" fmla="*/ 1608667 w 6316134"/>
                <a:gd name="connsiteY441" fmla="*/ 1524000 h 5207000"/>
                <a:gd name="connsiteX442" fmla="*/ 1837267 w 6316134"/>
                <a:gd name="connsiteY442" fmla="*/ 1744134 h 5207000"/>
                <a:gd name="connsiteX443" fmla="*/ 2760134 w 6316134"/>
                <a:gd name="connsiteY443" fmla="*/ 2895600 h 5207000"/>
                <a:gd name="connsiteX444" fmla="*/ 2997200 w 6316134"/>
                <a:gd name="connsiteY444" fmla="*/ 3420534 h 5207000"/>
                <a:gd name="connsiteX445" fmla="*/ 3056467 w 6316134"/>
                <a:gd name="connsiteY445" fmla="*/ 4106334 h 5207000"/>
                <a:gd name="connsiteX446" fmla="*/ 3014134 w 6316134"/>
                <a:gd name="connsiteY446" fmla="*/ 4148667 h 5207000"/>
                <a:gd name="connsiteX447" fmla="*/ 3073400 w 6316134"/>
                <a:gd name="connsiteY447" fmla="*/ 4038600 h 5207000"/>
                <a:gd name="connsiteX448" fmla="*/ 3183467 w 6316134"/>
                <a:gd name="connsiteY448" fmla="*/ 3920067 h 5207000"/>
                <a:gd name="connsiteX449" fmla="*/ 3352800 w 6316134"/>
                <a:gd name="connsiteY449" fmla="*/ 3708400 h 5207000"/>
                <a:gd name="connsiteX450" fmla="*/ 4385734 w 6316134"/>
                <a:gd name="connsiteY450" fmla="*/ 2743200 h 5207000"/>
                <a:gd name="connsiteX451" fmla="*/ 4969934 w 6316134"/>
                <a:gd name="connsiteY451" fmla="*/ 2413000 h 5207000"/>
                <a:gd name="connsiteX452" fmla="*/ 4876800 w 6316134"/>
                <a:gd name="connsiteY452" fmla="*/ 2768600 h 5207000"/>
                <a:gd name="connsiteX453" fmla="*/ 3589867 w 6316134"/>
                <a:gd name="connsiteY453" fmla="*/ 4097867 h 5207000"/>
                <a:gd name="connsiteX454" fmla="*/ 3386667 w 6316134"/>
                <a:gd name="connsiteY454" fmla="*/ 4292600 h 5207000"/>
                <a:gd name="connsiteX455" fmla="*/ 3310467 w 6316134"/>
                <a:gd name="connsiteY455" fmla="*/ 4334934 h 5207000"/>
                <a:gd name="connsiteX456" fmla="*/ 3276600 w 6316134"/>
                <a:gd name="connsiteY456" fmla="*/ 4360334 h 5207000"/>
                <a:gd name="connsiteX457" fmla="*/ 3318934 w 6316134"/>
                <a:gd name="connsiteY457" fmla="*/ 4309534 h 5207000"/>
                <a:gd name="connsiteX458" fmla="*/ 3784600 w 6316134"/>
                <a:gd name="connsiteY458" fmla="*/ 3818467 h 5207000"/>
                <a:gd name="connsiteX459" fmla="*/ 4284134 w 6316134"/>
                <a:gd name="connsiteY459" fmla="*/ 3310467 h 5207000"/>
                <a:gd name="connsiteX460" fmla="*/ 4546600 w 6316134"/>
                <a:gd name="connsiteY460" fmla="*/ 3039534 h 5207000"/>
                <a:gd name="connsiteX461" fmla="*/ 5003800 w 6316134"/>
                <a:gd name="connsiteY461" fmla="*/ 2556934 h 5207000"/>
                <a:gd name="connsiteX462" fmla="*/ 5139267 w 6316134"/>
                <a:gd name="connsiteY462" fmla="*/ 2429934 h 5207000"/>
                <a:gd name="connsiteX463" fmla="*/ 5012267 w 6316134"/>
                <a:gd name="connsiteY463" fmla="*/ 2429934 h 5207000"/>
                <a:gd name="connsiteX464" fmla="*/ 4199467 w 6316134"/>
                <a:gd name="connsiteY464" fmla="*/ 2667000 h 5207000"/>
                <a:gd name="connsiteX465" fmla="*/ 2997200 w 6316134"/>
                <a:gd name="connsiteY465" fmla="*/ 2929467 h 5207000"/>
                <a:gd name="connsiteX466" fmla="*/ 2667000 w 6316134"/>
                <a:gd name="connsiteY466" fmla="*/ 2954867 h 5207000"/>
                <a:gd name="connsiteX467" fmla="*/ 2184400 w 6316134"/>
                <a:gd name="connsiteY467" fmla="*/ 2988734 h 5207000"/>
                <a:gd name="connsiteX468" fmla="*/ 2209800 w 6316134"/>
                <a:gd name="connsiteY468" fmla="*/ 2946400 h 5207000"/>
                <a:gd name="connsiteX469" fmla="*/ 2675467 w 6316134"/>
                <a:gd name="connsiteY469" fmla="*/ 2328334 h 5207000"/>
                <a:gd name="connsiteX470" fmla="*/ 2937934 w 6316134"/>
                <a:gd name="connsiteY470" fmla="*/ 1921934 h 5207000"/>
                <a:gd name="connsiteX471" fmla="*/ 3031067 w 6316134"/>
                <a:gd name="connsiteY471" fmla="*/ 1659467 h 5207000"/>
                <a:gd name="connsiteX472" fmla="*/ 2844800 w 6316134"/>
                <a:gd name="connsiteY472" fmla="*/ 1761067 h 5207000"/>
                <a:gd name="connsiteX473" fmla="*/ 2717800 w 6316134"/>
                <a:gd name="connsiteY473" fmla="*/ 1905000 h 5207000"/>
                <a:gd name="connsiteX474" fmla="*/ 2650067 w 6316134"/>
                <a:gd name="connsiteY474" fmla="*/ 2108200 h 5207000"/>
                <a:gd name="connsiteX475" fmla="*/ 2726267 w 6316134"/>
                <a:gd name="connsiteY475" fmla="*/ 2396067 h 5207000"/>
                <a:gd name="connsiteX476" fmla="*/ 2802467 w 6316134"/>
                <a:gd name="connsiteY476" fmla="*/ 2480734 h 5207000"/>
                <a:gd name="connsiteX477" fmla="*/ 3217334 w 6316134"/>
                <a:gd name="connsiteY477" fmla="*/ 2667000 h 5207000"/>
                <a:gd name="connsiteX478" fmla="*/ 3843867 w 6316134"/>
                <a:gd name="connsiteY478" fmla="*/ 2887134 h 5207000"/>
                <a:gd name="connsiteX479" fmla="*/ 4165600 w 6316134"/>
                <a:gd name="connsiteY479" fmla="*/ 2946400 h 5207000"/>
                <a:gd name="connsiteX480" fmla="*/ 4944534 w 6316134"/>
                <a:gd name="connsiteY480" fmla="*/ 3158067 h 5207000"/>
                <a:gd name="connsiteX481" fmla="*/ 5130800 w 6316134"/>
                <a:gd name="connsiteY481" fmla="*/ 3268134 h 5207000"/>
                <a:gd name="connsiteX482" fmla="*/ 5173134 w 6316134"/>
                <a:gd name="connsiteY482" fmla="*/ 3361267 h 5207000"/>
                <a:gd name="connsiteX483" fmla="*/ 5164667 w 6316134"/>
                <a:gd name="connsiteY483" fmla="*/ 3420534 h 5207000"/>
                <a:gd name="connsiteX484" fmla="*/ 4978400 w 6316134"/>
                <a:gd name="connsiteY484" fmla="*/ 3632200 h 5207000"/>
                <a:gd name="connsiteX485" fmla="*/ 4546600 w 6316134"/>
                <a:gd name="connsiteY485" fmla="*/ 4004734 h 5207000"/>
                <a:gd name="connsiteX486" fmla="*/ 3970867 w 6316134"/>
                <a:gd name="connsiteY486" fmla="*/ 4394200 h 5207000"/>
                <a:gd name="connsiteX487" fmla="*/ 3200400 w 6316134"/>
                <a:gd name="connsiteY487" fmla="*/ 4580467 h 5207000"/>
                <a:gd name="connsiteX488" fmla="*/ 2201334 w 6316134"/>
                <a:gd name="connsiteY488" fmla="*/ 4563534 h 5207000"/>
                <a:gd name="connsiteX489" fmla="*/ 2057400 w 6316134"/>
                <a:gd name="connsiteY489" fmla="*/ 4512734 h 5207000"/>
                <a:gd name="connsiteX490" fmla="*/ 1938867 w 6316134"/>
                <a:gd name="connsiteY490" fmla="*/ 4411134 h 5207000"/>
                <a:gd name="connsiteX491" fmla="*/ 2108200 w 6316134"/>
                <a:gd name="connsiteY491" fmla="*/ 3928534 h 5207000"/>
                <a:gd name="connsiteX492" fmla="*/ 2599267 w 6316134"/>
                <a:gd name="connsiteY492" fmla="*/ 3378200 h 5207000"/>
                <a:gd name="connsiteX493" fmla="*/ 3843867 w 6316134"/>
                <a:gd name="connsiteY493" fmla="*/ 2616200 h 5207000"/>
                <a:gd name="connsiteX494" fmla="*/ 4284134 w 6316134"/>
                <a:gd name="connsiteY494" fmla="*/ 2531534 h 5207000"/>
                <a:gd name="connsiteX495" fmla="*/ 4377267 w 6316134"/>
                <a:gd name="connsiteY495" fmla="*/ 2540000 h 5207000"/>
                <a:gd name="connsiteX496" fmla="*/ 4436534 w 6316134"/>
                <a:gd name="connsiteY496" fmla="*/ 2700867 h 5207000"/>
                <a:gd name="connsiteX497" fmla="*/ 4038600 w 6316134"/>
                <a:gd name="connsiteY497" fmla="*/ 3031067 h 5207000"/>
                <a:gd name="connsiteX498" fmla="*/ 3132667 w 6316134"/>
                <a:gd name="connsiteY498" fmla="*/ 3310467 h 5207000"/>
                <a:gd name="connsiteX499" fmla="*/ 2827867 w 6316134"/>
                <a:gd name="connsiteY499" fmla="*/ 3327400 h 5207000"/>
                <a:gd name="connsiteX500" fmla="*/ 1972734 w 6316134"/>
                <a:gd name="connsiteY500" fmla="*/ 3175000 h 5207000"/>
                <a:gd name="connsiteX501" fmla="*/ 1947334 w 6316134"/>
                <a:gd name="connsiteY501" fmla="*/ 3132667 h 5207000"/>
                <a:gd name="connsiteX502" fmla="*/ 2074334 w 6316134"/>
                <a:gd name="connsiteY502" fmla="*/ 2768600 h 5207000"/>
                <a:gd name="connsiteX503" fmla="*/ 2540000 w 6316134"/>
                <a:gd name="connsiteY503" fmla="*/ 2226734 h 5207000"/>
                <a:gd name="connsiteX504" fmla="*/ 2802467 w 6316134"/>
                <a:gd name="connsiteY504" fmla="*/ 1972734 h 5207000"/>
                <a:gd name="connsiteX505" fmla="*/ 3674534 w 6316134"/>
                <a:gd name="connsiteY505" fmla="*/ 1261534 h 5207000"/>
                <a:gd name="connsiteX506" fmla="*/ 4148667 w 6316134"/>
                <a:gd name="connsiteY506" fmla="*/ 1032934 h 5207000"/>
                <a:gd name="connsiteX507" fmla="*/ 4047067 w 6316134"/>
                <a:gd name="connsiteY507" fmla="*/ 1083734 h 5207000"/>
                <a:gd name="connsiteX508" fmla="*/ 2819400 w 6316134"/>
                <a:gd name="connsiteY508" fmla="*/ 1261534 h 5207000"/>
                <a:gd name="connsiteX509" fmla="*/ 2446867 w 6316134"/>
                <a:gd name="connsiteY509" fmla="*/ 1253067 h 5207000"/>
                <a:gd name="connsiteX510" fmla="*/ 1659467 w 6316134"/>
                <a:gd name="connsiteY510" fmla="*/ 1159934 h 5207000"/>
                <a:gd name="connsiteX511" fmla="*/ 1490134 w 6316134"/>
                <a:gd name="connsiteY511" fmla="*/ 1083734 h 5207000"/>
                <a:gd name="connsiteX512" fmla="*/ 1515534 w 6316134"/>
                <a:gd name="connsiteY512" fmla="*/ 1007534 h 5207000"/>
                <a:gd name="connsiteX513" fmla="*/ 1566334 w 6316134"/>
                <a:gd name="connsiteY513" fmla="*/ 965200 h 5207000"/>
                <a:gd name="connsiteX514" fmla="*/ 1744134 w 6316134"/>
                <a:gd name="connsiteY514" fmla="*/ 897467 h 5207000"/>
                <a:gd name="connsiteX515" fmla="*/ 2116667 w 6316134"/>
                <a:gd name="connsiteY515" fmla="*/ 939800 h 5207000"/>
                <a:gd name="connsiteX516" fmla="*/ 2726267 w 6316134"/>
                <a:gd name="connsiteY516" fmla="*/ 1286934 h 5207000"/>
                <a:gd name="connsiteX517" fmla="*/ 2912534 w 6316134"/>
                <a:gd name="connsiteY517" fmla="*/ 1422400 h 5207000"/>
                <a:gd name="connsiteX518" fmla="*/ 3242734 w 6316134"/>
                <a:gd name="connsiteY518" fmla="*/ 1871134 h 5207000"/>
                <a:gd name="connsiteX519" fmla="*/ 3564467 w 6316134"/>
                <a:gd name="connsiteY519" fmla="*/ 2590800 h 5207000"/>
                <a:gd name="connsiteX520" fmla="*/ 3683000 w 6316134"/>
                <a:gd name="connsiteY520" fmla="*/ 2836334 h 5207000"/>
                <a:gd name="connsiteX521" fmla="*/ 4013200 w 6316134"/>
                <a:gd name="connsiteY521" fmla="*/ 3640667 h 5207000"/>
                <a:gd name="connsiteX522" fmla="*/ 4326467 w 6316134"/>
                <a:gd name="connsiteY522" fmla="*/ 4377267 h 5207000"/>
                <a:gd name="connsiteX523" fmla="*/ 4360334 w 6316134"/>
                <a:gd name="connsiteY523" fmla="*/ 4749800 h 5207000"/>
                <a:gd name="connsiteX524" fmla="*/ 4351867 w 6316134"/>
                <a:gd name="connsiteY524" fmla="*/ 4809067 h 5207000"/>
                <a:gd name="connsiteX525" fmla="*/ 4258734 w 6316134"/>
                <a:gd name="connsiteY525" fmla="*/ 4893734 h 5207000"/>
                <a:gd name="connsiteX526" fmla="*/ 4199467 w 6316134"/>
                <a:gd name="connsiteY526" fmla="*/ 4919134 h 5207000"/>
                <a:gd name="connsiteX527" fmla="*/ 4072467 w 6316134"/>
                <a:gd name="connsiteY527" fmla="*/ 4927600 h 5207000"/>
                <a:gd name="connsiteX528" fmla="*/ 4004734 w 6316134"/>
                <a:gd name="connsiteY528" fmla="*/ 4910667 h 5207000"/>
                <a:gd name="connsiteX529" fmla="*/ 3928534 w 6316134"/>
                <a:gd name="connsiteY529" fmla="*/ 4842934 h 5207000"/>
                <a:gd name="connsiteX530" fmla="*/ 3699934 w 6316134"/>
                <a:gd name="connsiteY530" fmla="*/ 4597400 h 5207000"/>
                <a:gd name="connsiteX531" fmla="*/ 3225800 w 6316134"/>
                <a:gd name="connsiteY531" fmla="*/ 3860800 h 5207000"/>
                <a:gd name="connsiteX532" fmla="*/ 3124200 w 6316134"/>
                <a:gd name="connsiteY532" fmla="*/ 3606800 h 5207000"/>
                <a:gd name="connsiteX533" fmla="*/ 3081867 w 6316134"/>
                <a:gd name="connsiteY533" fmla="*/ 3285067 h 5207000"/>
                <a:gd name="connsiteX534" fmla="*/ 3835400 w 6316134"/>
                <a:gd name="connsiteY534" fmla="*/ 2624667 h 5207000"/>
                <a:gd name="connsiteX535" fmla="*/ 4089400 w 6316134"/>
                <a:gd name="connsiteY535" fmla="*/ 2616200 h 5207000"/>
                <a:gd name="connsiteX536" fmla="*/ 4148667 w 6316134"/>
                <a:gd name="connsiteY536" fmla="*/ 2633134 h 5207000"/>
                <a:gd name="connsiteX537" fmla="*/ 4174067 w 6316134"/>
                <a:gd name="connsiteY537" fmla="*/ 2717800 h 5207000"/>
                <a:gd name="connsiteX538" fmla="*/ 4106334 w 6316134"/>
                <a:gd name="connsiteY538" fmla="*/ 2912534 h 5207000"/>
                <a:gd name="connsiteX539" fmla="*/ 3759200 w 6316134"/>
                <a:gd name="connsiteY539" fmla="*/ 3268134 h 5207000"/>
                <a:gd name="connsiteX540" fmla="*/ 2912534 w 6316134"/>
                <a:gd name="connsiteY540" fmla="*/ 3835400 h 5207000"/>
                <a:gd name="connsiteX541" fmla="*/ 2607734 w 6316134"/>
                <a:gd name="connsiteY541" fmla="*/ 3945467 h 5207000"/>
                <a:gd name="connsiteX542" fmla="*/ 2133600 w 6316134"/>
                <a:gd name="connsiteY542" fmla="*/ 4038600 h 5207000"/>
                <a:gd name="connsiteX543" fmla="*/ 2116667 w 6316134"/>
                <a:gd name="connsiteY543" fmla="*/ 3877734 h 5207000"/>
                <a:gd name="connsiteX544" fmla="*/ 2912534 w 6316134"/>
                <a:gd name="connsiteY544" fmla="*/ 3285067 h 5207000"/>
                <a:gd name="connsiteX545" fmla="*/ 3903134 w 6316134"/>
                <a:gd name="connsiteY545" fmla="*/ 2624667 h 5207000"/>
                <a:gd name="connsiteX546" fmla="*/ 4495800 w 6316134"/>
                <a:gd name="connsiteY546" fmla="*/ 2345267 h 5207000"/>
                <a:gd name="connsiteX547" fmla="*/ 4106334 w 6316134"/>
                <a:gd name="connsiteY547" fmla="*/ 2607734 h 5207000"/>
                <a:gd name="connsiteX548" fmla="*/ 2531534 w 6316134"/>
                <a:gd name="connsiteY548" fmla="*/ 3784600 h 5207000"/>
                <a:gd name="connsiteX549" fmla="*/ 1930400 w 6316134"/>
                <a:gd name="connsiteY549" fmla="*/ 4131734 h 5207000"/>
                <a:gd name="connsiteX550" fmla="*/ 1896534 w 6316134"/>
                <a:gd name="connsiteY550" fmla="*/ 4157134 h 5207000"/>
                <a:gd name="connsiteX551" fmla="*/ 1938867 w 6316134"/>
                <a:gd name="connsiteY551" fmla="*/ 4140200 h 5207000"/>
                <a:gd name="connsiteX552" fmla="*/ 2032000 w 6316134"/>
                <a:gd name="connsiteY552" fmla="*/ 4072467 h 5207000"/>
                <a:gd name="connsiteX553" fmla="*/ 2683934 w 6316134"/>
                <a:gd name="connsiteY553" fmla="*/ 3615267 h 5207000"/>
                <a:gd name="connsiteX554" fmla="*/ 3479800 w 6316134"/>
                <a:gd name="connsiteY554" fmla="*/ 2870200 h 5207000"/>
                <a:gd name="connsiteX555" fmla="*/ 4089400 w 6316134"/>
                <a:gd name="connsiteY555" fmla="*/ 2396067 h 5207000"/>
                <a:gd name="connsiteX556" fmla="*/ 4123267 w 6316134"/>
                <a:gd name="connsiteY556" fmla="*/ 2379134 h 5207000"/>
                <a:gd name="connsiteX557" fmla="*/ 3725334 w 6316134"/>
                <a:gd name="connsiteY557" fmla="*/ 2963334 h 5207000"/>
                <a:gd name="connsiteX558" fmla="*/ 3547534 w 6316134"/>
                <a:gd name="connsiteY558" fmla="*/ 3217334 h 5207000"/>
                <a:gd name="connsiteX559" fmla="*/ 3183467 w 6316134"/>
                <a:gd name="connsiteY559" fmla="*/ 3886200 h 5207000"/>
                <a:gd name="connsiteX560" fmla="*/ 3166534 w 6316134"/>
                <a:gd name="connsiteY560" fmla="*/ 4004734 h 5207000"/>
                <a:gd name="connsiteX561" fmla="*/ 3191934 w 6316134"/>
                <a:gd name="connsiteY561" fmla="*/ 3937000 h 5207000"/>
                <a:gd name="connsiteX562" fmla="*/ 3208867 w 6316134"/>
                <a:gd name="connsiteY562" fmla="*/ 3835400 h 5207000"/>
                <a:gd name="connsiteX563" fmla="*/ 3496734 w 6316134"/>
                <a:gd name="connsiteY563" fmla="*/ 2277534 h 5207000"/>
                <a:gd name="connsiteX564" fmla="*/ 3708400 w 6316134"/>
                <a:gd name="connsiteY564" fmla="*/ 1947334 h 5207000"/>
                <a:gd name="connsiteX565" fmla="*/ 3759200 w 6316134"/>
                <a:gd name="connsiteY565" fmla="*/ 1905000 h 5207000"/>
                <a:gd name="connsiteX566" fmla="*/ 3886200 w 6316134"/>
                <a:gd name="connsiteY566" fmla="*/ 1888067 h 5207000"/>
                <a:gd name="connsiteX567" fmla="*/ 4478867 w 6316134"/>
                <a:gd name="connsiteY567" fmla="*/ 2133600 h 5207000"/>
                <a:gd name="connsiteX568" fmla="*/ 5181600 w 6316134"/>
                <a:gd name="connsiteY568" fmla="*/ 2836334 h 5207000"/>
                <a:gd name="connsiteX569" fmla="*/ 5350934 w 6316134"/>
                <a:gd name="connsiteY569" fmla="*/ 3225800 h 5207000"/>
                <a:gd name="connsiteX570" fmla="*/ 5367867 w 6316134"/>
                <a:gd name="connsiteY570" fmla="*/ 3378200 h 5207000"/>
                <a:gd name="connsiteX571" fmla="*/ 5240867 w 6316134"/>
                <a:gd name="connsiteY571" fmla="*/ 3725334 h 5207000"/>
                <a:gd name="connsiteX572" fmla="*/ 5037667 w 6316134"/>
                <a:gd name="connsiteY572" fmla="*/ 3767667 h 5207000"/>
                <a:gd name="connsiteX573" fmla="*/ 4724400 w 6316134"/>
                <a:gd name="connsiteY573" fmla="*/ 3666067 h 5207000"/>
                <a:gd name="connsiteX574" fmla="*/ 4529667 w 6316134"/>
                <a:gd name="connsiteY574" fmla="*/ 3505200 h 5207000"/>
                <a:gd name="connsiteX575" fmla="*/ 4072467 w 6316134"/>
                <a:gd name="connsiteY575" fmla="*/ 2895600 h 5207000"/>
                <a:gd name="connsiteX576" fmla="*/ 3750734 w 6316134"/>
                <a:gd name="connsiteY576" fmla="*/ 1752600 h 5207000"/>
                <a:gd name="connsiteX577" fmla="*/ 3750734 w 6316134"/>
                <a:gd name="connsiteY577" fmla="*/ 855134 h 5207000"/>
                <a:gd name="connsiteX578" fmla="*/ 3869267 w 6316134"/>
                <a:gd name="connsiteY578" fmla="*/ 592667 h 5207000"/>
                <a:gd name="connsiteX579" fmla="*/ 4351867 w 6316134"/>
                <a:gd name="connsiteY579" fmla="*/ 59267 h 5207000"/>
                <a:gd name="connsiteX580" fmla="*/ 4546600 w 6316134"/>
                <a:gd name="connsiteY580" fmla="*/ 0 h 5207000"/>
                <a:gd name="connsiteX581" fmla="*/ 4656667 w 6316134"/>
                <a:gd name="connsiteY581" fmla="*/ 33867 h 5207000"/>
                <a:gd name="connsiteX582" fmla="*/ 4715934 w 6316134"/>
                <a:gd name="connsiteY582" fmla="*/ 228600 h 5207000"/>
                <a:gd name="connsiteX583" fmla="*/ 4631267 w 6316134"/>
                <a:gd name="connsiteY583" fmla="*/ 956734 h 5207000"/>
                <a:gd name="connsiteX584" fmla="*/ 4064000 w 6316134"/>
                <a:gd name="connsiteY584" fmla="*/ 1930400 h 5207000"/>
                <a:gd name="connsiteX585" fmla="*/ 3208867 w 6316134"/>
                <a:gd name="connsiteY585" fmla="*/ 2760134 h 5207000"/>
                <a:gd name="connsiteX586" fmla="*/ 3166534 w 6316134"/>
                <a:gd name="connsiteY586" fmla="*/ 2819400 h 5207000"/>
                <a:gd name="connsiteX587" fmla="*/ 3327400 w 6316134"/>
                <a:gd name="connsiteY587" fmla="*/ 2726267 h 5207000"/>
                <a:gd name="connsiteX588" fmla="*/ 4588934 w 6316134"/>
                <a:gd name="connsiteY588" fmla="*/ 1921934 h 5207000"/>
                <a:gd name="connsiteX589" fmla="*/ 5249334 w 6316134"/>
                <a:gd name="connsiteY589" fmla="*/ 1642534 h 5207000"/>
                <a:gd name="connsiteX590" fmla="*/ 5359400 w 6316134"/>
                <a:gd name="connsiteY590" fmla="*/ 1651000 h 5207000"/>
                <a:gd name="connsiteX591" fmla="*/ 5215467 w 6316134"/>
                <a:gd name="connsiteY591" fmla="*/ 1905000 h 5207000"/>
                <a:gd name="connsiteX592" fmla="*/ 4690534 w 6316134"/>
                <a:gd name="connsiteY592" fmla="*/ 2455334 h 5207000"/>
                <a:gd name="connsiteX593" fmla="*/ 3606800 w 6316134"/>
                <a:gd name="connsiteY593" fmla="*/ 3217334 h 5207000"/>
                <a:gd name="connsiteX594" fmla="*/ 2810934 w 6316134"/>
                <a:gd name="connsiteY594" fmla="*/ 3572934 h 5207000"/>
                <a:gd name="connsiteX595" fmla="*/ 2167467 w 6316134"/>
                <a:gd name="connsiteY595" fmla="*/ 3826934 h 5207000"/>
                <a:gd name="connsiteX596" fmla="*/ 2142067 w 6316134"/>
                <a:gd name="connsiteY596" fmla="*/ 3843867 h 5207000"/>
                <a:gd name="connsiteX597" fmla="*/ 2184400 w 6316134"/>
                <a:gd name="connsiteY597" fmla="*/ 3826934 h 5207000"/>
                <a:gd name="connsiteX598" fmla="*/ 2294467 w 6316134"/>
                <a:gd name="connsiteY598" fmla="*/ 3750734 h 5207000"/>
                <a:gd name="connsiteX599" fmla="*/ 3208867 w 6316134"/>
                <a:gd name="connsiteY599" fmla="*/ 3208867 h 5207000"/>
                <a:gd name="connsiteX600" fmla="*/ 4148667 w 6316134"/>
                <a:gd name="connsiteY600" fmla="*/ 2836334 h 5207000"/>
                <a:gd name="connsiteX601" fmla="*/ 4013200 w 6316134"/>
                <a:gd name="connsiteY601" fmla="*/ 2954867 h 5207000"/>
                <a:gd name="connsiteX602" fmla="*/ 3471334 w 6316134"/>
                <a:gd name="connsiteY602" fmla="*/ 3251200 h 5207000"/>
                <a:gd name="connsiteX603" fmla="*/ 2286000 w 6316134"/>
                <a:gd name="connsiteY603" fmla="*/ 3564467 h 5207000"/>
                <a:gd name="connsiteX604" fmla="*/ 1524000 w 6316134"/>
                <a:gd name="connsiteY604" fmla="*/ 3581400 h 5207000"/>
                <a:gd name="connsiteX605" fmla="*/ 1007534 w 6316134"/>
                <a:gd name="connsiteY605" fmla="*/ 3403600 h 5207000"/>
                <a:gd name="connsiteX606" fmla="*/ 914400 w 6316134"/>
                <a:gd name="connsiteY606" fmla="*/ 3217334 h 5207000"/>
                <a:gd name="connsiteX607" fmla="*/ 956734 w 6316134"/>
                <a:gd name="connsiteY607" fmla="*/ 2751667 h 5207000"/>
                <a:gd name="connsiteX608" fmla="*/ 1219200 w 6316134"/>
                <a:gd name="connsiteY608" fmla="*/ 2226734 h 5207000"/>
                <a:gd name="connsiteX609" fmla="*/ 1862667 w 6316134"/>
                <a:gd name="connsiteY609" fmla="*/ 1439334 h 5207000"/>
                <a:gd name="connsiteX610" fmla="*/ 2235200 w 6316134"/>
                <a:gd name="connsiteY610" fmla="*/ 1151467 h 5207000"/>
                <a:gd name="connsiteX611" fmla="*/ 2455334 w 6316134"/>
                <a:gd name="connsiteY611" fmla="*/ 1126067 h 5207000"/>
                <a:gd name="connsiteX612" fmla="*/ 2497667 w 6316134"/>
                <a:gd name="connsiteY612" fmla="*/ 1168400 h 5207000"/>
                <a:gd name="connsiteX613" fmla="*/ 3056467 w 6316134"/>
                <a:gd name="connsiteY613" fmla="*/ 2201334 h 5207000"/>
                <a:gd name="connsiteX614" fmla="*/ 3623734 w 6316134"/>
                <a:gd name="connsiteY614" fmla="*/ 3547534 h 5207000"/>
                <a:gd name="connsiteX615" fmla="*/ 3886200 w 6316134"/>
                <a:gd name="connsiteY615" fmla="*/ 4080934 h 5207000"/>
                <a:gd name="connsiteX616" fmla="*/ 4207934 w 6316134"/>
                <a:gd name="connsiteY616" fmla="*/ 4555067 h 5207000"/>
                <a:gd name="connsiteX617" fmla="*/ 4258734 w 6316134"/>
                <a:gd name="connsiteY617" fmla="*/ 4597400 h 5207000"/>
                <a:gd name="connsiteX618" fmla="*/ 3903134 w 6316134"/>
                <a:gd name="connsiteY618" fmla="*/ 3852334 h 5207000"/>
                <a:gd name="connsiteX619" fmla="*/ 3776134 w 6316134"/>
                <a:gd name="connsiteY619" fmla="*/ 3352800 h 5207000"/>
                <a:gd name="connsiteX620" fmla="*/ 3759200 w 6316134"/>
                <a:gd name="connsiteY620" fmla="*/ 3149600 h 5207000"/>
                <a:gd name="connsiteX621" fmla="*/ 3970867 w 6316134"/>
                <a:gd name="connsiteY621" fmla="*/ 3572934 h 5207000"/>
                <a:gd name="connsiteX622" fmla="*/ 4241800 w 6316134"/>
                <a:gd name="connsiteY622" fmla="*/ 4148667 h 5207000"/>
                <a:gd name="connsiteX623" fmla="*/ 4360334 w 6316134"/>
                <a:gd name="connsiteY623" fmla="*/ 4411134 h 5207000"/>
                <a:gd name="connsiteX624" fmla="*/ 4487334 w 6316134"/>
                <a:gd name="connsiteY624" fmla="*/ 4826000 h 5207000"/>
                <a:gd name="connsiteX625" fmla="*/ 4495800 w 6316134"/>
                <a:gd name="connsiteY625" fmla="*/ 4961467 h 5207000"/>
                <a:gd name="connsiteX626" fmla="*/ 4377267 w 6316134"/>
                <a:gd name="connsiteY626" fmla="*/ 4885267 h 5207000"/>
                <a:gd name="connsiteX627" fmla="*/ 4165600 w 6316134"/>
                <a:gd name="connsiteY627" fmla="*/ 4605867 h 5207000"/>
                <a:gd name="connsiteX628" fmla="*/ 4055534 w 6316134"/>
                <a:gd name="connsiteY628" fmla="*/ 4343400 h 5207000"/>
                <a:gd name="connsiteX629" fmla="*/ 3725334 w 6316134"/>
                <a:gd name="connsiteY629" fmla="*/ 3818467 h 5207000"/>
                <a:gd name="connsiteX630" fmla="*/ 3420534 w 6316134"/>
                <a:gd name="connsiteY630" fmla="*/ 3217334 h 5207000"/>
                <a:gd name="connsiteX631" fmla="*/ 3445934 w 6316134"/>
                <a:gd name="connsiteY631" fmla="*/ 3208867 h 5207000"/>
                <a:gd name="connsiteX632" fmla="*/ 3471334 w 6316134"/>
                <a:gd name="connsiteY632" fmla="*/ 3225800 h 5207000"/>
                <a:gd name="connsiteX633" fmla="*/ 3598334 w 6316134"/>
                <a:gd name="connsiteY633" fmla="*/ 3293534 h 5207000"/>
                <a:gd name="connsiteX634" fmla="*/ 3683000 w 6316134"/>
                <a:gd name="connsiteY634" fmla="*/ 3352800 h 5207000"/>
                <a:gd name="connsiteX635" fmla="*/ 3767667 w 6316134"/>
                <a:gd name="connsiteY635" fmla="*/ 3378200 h 5207000"/>
                <a:gd name="connsiteX636" fmla="*/ 3810000 w 6316134"/>
                <a:gd name="connsiteY636" fmla="*/ 3369734 h 5207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Lst>
              <a:rect l="l" t="t" r="r" b="b"/>
              <a:pathLst>
                <a:path w="6316134" h="5207000">
                  <a:moveTo>
                    <a:pt x="3877734" y="1464734"/>
                  </a:moveTo>
                  <a:cubicBezTo>
                    <a:pt x="3820900" y="1453367"/>
                    <a:pt x="3813512" y="1446483"/>
                    <a:pt x="3742267" y="1473200"/>
                  </a:cubicBezTo>
                  <a:cubicBezTo>
                    <a:pt x="3725347" y="1479545"/>
                    <a:pt x="3714792" y="1496781"/>
                    <a:pt x="3699934" y="1507067"/>
                  </a:cubicBezTo>
                  <a:cubicBezTo>
                    <a:pt x="3613397" y="1566977"/>
                    <a:pt x="3579946" y="1563920"/>
                    <a:pt x="3496734" y="1667934"/>
                  </a:cubicBezTo>
                  <a:cubicBezTo>
                    <a:pt x="3474156" y="1696156"/>
                    <a:pt x="3450440" y="1723504"/>
                    <a:pt x="3429000" y="1752600"/>
                  </a:cubicBezTo>
                  <a:cubicBezTo>
                    <a:pt x="3410891" y="1777176"/>
                    <a:pt x="3396744" y="1804551"/>
                    <a:pt x="3378200" y="1828800"/>
                  </a:cubicBezTo>
                  <a:cubicBezTo>
                    <a:pt x="3359976" y="1852631"/>
                    <a:pt x="3338689" y="1873956"/>
                    <a:pt x="3318934" y="1896534"/>
                  </a:cubicBezTo>
                  <a:cubicBezTo>
                    <a:pt x="3313289" y="1921934"/>
                    <a:pt x="3303182" y="1946741"/>
                    <a:pt x="3302000" y="1972734"/>
                  </a:cubicBezTo>
                  <a:cubicBezTo>
                    <a:pt x="3300329" y="2009493"/>
                    <a:pt x="3302039" y="2046981"/>
                    <a:pt x="3310467" y="2082800"/>
                  </a:cubicBezTo>
                  <a:cubicBezTo>
                    <a:pt x="3313699" y="2096536"/>
                    <a:pt x="3325320" y="2107292"/>
                    <a:pt x="3335867" y="2116667"/>
                  </a:cubicBezTo>
                  <a:cubicBezTo>
                    <a:pt x="3351078" y="2130188"/>
                    <a:pt x="3368189" y="2142006"/>
                    <a:pt x="3386667" y="2150534"/>
                  </a:cubicBezTo>
                  <a:cubicBezTo>
                    <a:pt x="3433570" y="2172182"/>
                    <a:pt x="3489705" y="2171446"/>
                    <a:pt x="3539067" y="2175934"/>
                  </a:cubicBezTo>
                  <a:cubicBezTo>
                    <a:pt x="3683000" y="2167467"/>
                    <a:pt x="3827635" y="2167061"/>
                    <a:pt x="3970867" y="2150534"/>
                  </a:cubicBezTo>
                  <a:cubicBezTo>
                    <a:pt x="4146414" y="2130279"/>
                    <a:pt x="4300500" y="2066743"/>
                    <a:pt x="4461934" y="1998134"/>
                  </a:cubicBezTo>
                  <a:cubicBezTo>
                    <a:pt x="4819097" y="1846339"/>
                    <a:pt x="4769643" y="1869567"/>
                    <a:pt x="4986867" y="1752600"/>
                  </a:cubicBezTo>
                  <a:cubicBezTo>
                    <a:pt x="5006623" y="1730022"/>
                    <a:pt x="5025862" y="1706982"/>
                    <a:pt x="5046134" y="1684867"/>
                  </a:cubicBezTo>
                  <a:cubicBezTo>
                    <a:pt x="5088223" y="1638951"/>
                    <a:pt x="5073882" y="1669353"/>
                    <a:pt x="5088467" y="1625600"/>
                  </a:cubicBezTo>
                  <a:cubicBezTo>
                    <a:pt x="5004948" y="1569922"/>
                    <a:pt x="5051724" y="1593935"/>
                    <a:pt x="4842934" y="1617134"/>
                  </a:cubicBezTo>
                  <a:cubicBezTo>
                    <a:pt x="4728288" y="1629872"/>
                    <a:pt x="4560683" y="1685680"/>
                    <a:pt x="4461934" y="1727200"/>
                  </a:cubicBezTo>
                  <a:cubicBezTo>
                    <a:pt x="4284947" y="1801615"/>
                    <a:pt x="4115699" y="1894064"/>
                    <a:pt x="3937000" y="1964267"/>
                  </a:cubicBezTo>
                  <a:cubicBezTo>
                    <a:pt x="3857978" y="1995311"/>
                    <a:pt x="3777686" y="2023298"/>
                    <a:pt x="3699934" y="2057400"/>
                  </a:cubicBezTo>
                  <a:cubicBezTo>
                    <a:pt x="3506281" y="2142336"/>
                    <a:pt x="3455630" y="2187850"/>
                    <a:pt x="3268134" y="2252134"/>
                  </a:cubicBezTo>
                  <a:cubicBezTo>
                    <a:pt x="3232516" y="2264346"/>
                    <a:pt x="3194756" y="2269067"/>
                    <a:pt x="3158067" y="2277534"/>
                  </a:cubicBezTo>
                  <a:cubicBezTo>
                    <a:pt x="3129845" y="2274712"/>
                    <a:pt x="3094599" y="2287911"/>
                    <a:pt x="3073400" y="2269067"/>
                  </a:cubicBezTo>
                  <a:cubicBezTo>
                    <a:pt x="3058485" y="2255809"/>
                    <a:pt x="3073868" y="2228083"/>
                    <a:pt x="3081867" y="2209800"/>
                  </a:cubicBezTo>
                  <a:cubicBezTo>
                    <a:pt x="3094103" y="2181832"/>
                    <a:pt x="3117245" y="2159945"/>
                    <a:pt x="3132667" y="2133600"/>
                  </a:cubicBezTo>
                  <a:cubicBezTo>
                    <a:pt x="3185013" y="2044176"/>
                    <a:pt x="3223685" y="1946147"/>
                    <a:pt x="3285067" y="1862667"/>
                  </a:cubicBezTo>
                  <a:cubicBezTo>
                    <a:pt x="3355623" y="1766711"/>
                    <a:pt x="3438893" y="1678915"/>
                    <a:pt x="3496734" y="1574800"/>
                  </a:cubicBezTo>
                  <a:cubicBezTo>
                    <a:pt x="3524956" y="1524000"/>
                    <a:pt x="3553958" y="1473625"/>
                    <a:pt x="3581400" y="1422400"/>
                  </a:cubicBezTo>
                  <a:cubicBezTo>
                    <a:pt x="3596300" y="1394586"/>
                    <a:pt x="3608265" y="1365235"/>
                    <a:pt x="3623734" y="1337734"/>
                  </a:cubicBezTo>
                  <a:cubicBezTo>
                    <a:pt x="3633711" y="1319996"/>
                    <a:pt x="3637249" y="1286934"/>
                    <a:pt x="3657600" y="1286934"/>
                  </a:cubicBezTo>
                  <a:cubicBezTo>
                    <a:pt x="3676532" y="1286934"/>
                    <a:pt x="3639889" y="1320434"/>
                    <a:pt x="3632200" y="1337734"/>
                  </a:cubicBezTo>
                  <a:cubicBezTo>
                    <a:pt x="3617299" y="1371261"/>
                    <a:pt x="3602970" y="1405065"/>
                    <a:pt x="3589867" y="1439334"/>
                  </a:cubicBezTo>
                  <a:cubicBezTo>
                    <a:pt x="3566272" y="1501043"/>
                    <a:pt x="3536876" y="1561200"/>
                    <a:pt x="3522134" y="1625600"/>
                  </a:cubicBezTo>
                  <a:cubicBezTo>
                    <a:pt x="3483099" y="1796122"/>
                    <a:pt x="3468624" y="1971681"/>
                    <a:pt x="3429000" y="2142067"/>
                  </a:cubicBezTo>
                  <a:lnTo>
                    <a:pt x="3344334" y="2506134"/>
                  </a:lnTo>
                  <a:cubicBezTo>
                    <a:pt x="3341356" y="2571640"/>
                    <a:pt x="3317532" y="3054327"/>
                    <a:pt x="3318934" y="3158067"/>
                  </a:cubicBezTo>
                  <a:cubicBezTo>
                    <a:pt x="3322019" y="3386322"/>
                    <a:pt x="3268367" y="3463086"/>
                    <a:pt x="3403600" y="3589867"/>
                  </a:cubicBezTo>
                  <a:cubicBezTo>
                    <a:pt x="3423024" y="3608077"/>
                    <a:pt x="3445647" y="3625195"/>
                    <a:pt x="3471334" y="3632200"/>
                  </a:cubicBezTo>
                  <a:cubicBezTo>
                    <a:pt x="3509550" y="3642623"/>
                    <a:pt x="3550356" y="3637845"/>
                    <a:pt x="3589867" y="3640667"/>
                  </a:cubicBezTo>
                  <a:cubicBezTo>
                    <a:pt x="3685823" y="3635023"/>
                    <a:pt x="3783241" y="3641351"/>
                    <a:pt x="3877734" y="3623734"/>
                  </a:cubicBezTo>
                  <a:cubicBezTo>
                    <a:pt x="3951452" y="3609990"/>
                    <a:pt x="4019954" y="3575827"/>
                    <a:pt x="4089400" y="3547534"/>
                  </a:cubicBezTo>
                  <a:cubicBezTo>
                    <a:pt x="4303516" y="3460301"/>
                    <a:pt x="4386875" y="3417924"/>
                    <a:pt x="4580467" y="3285067"/>
                  </a:cubicBezTo>
                  <a:cubicBezTo>
                    <a:pt x="4645163" y="3240668"/>
                    <a:pt x="4712443" y="3197785"/>
                    <a:pt x="4766734" y="3141134"/>
                  </a:cubicBezTo>
                  <a:cubicBezTo>
                    <a:pt x="4851425" y="3052761"/>
                    <a:pt x="5012924" y="2822392"/>
                    <a:pt x="5088467" y="2700867"/>
                  </a:cubicBezTo>
                  <a:cubicBezTo>
                    <a:pt x="5115819" y="2656866"/>
                    <a:pt x="5140818" y="2611394"/>
                    <a:pt x="5164667" y="2565400"/>
                  </a:cubicBezTo>
                  <a:cubicBezTo>
                    <a:pt x="5180364" y="2535127"/>
                    <a:pt x="5192710" y="2503229"/>
                    <a:pt x="5207000" y="2472267"/>
                  </a:cubicBezTo>
                  <a:cubicBezTo>
                    <a:pt x="5209645" y="2466537"/>
                    <a:pt x="5219253" y="2450286"/>
                    <a:pt x="5215467" y="2455334"/>
                  </a:cubicBezTo>
                  <a:cubicBezTo>
                    <a:pt x="5198534" y="2477912"/>
                    <a:pt x="5180604" y="2499775"/>
                    <a:pt x="5164667" y="2523067"/>
                  </a:cubicBezTo>
                  <a:cubicBezTo>
                    <a:pt x="5092808" y="2628091"/>
                    <a:pt x="5089585" y="2661317"/>
                    <a:pt x="4986867" y="2768600"/>
                  </a:cubicBezTo>
                  <a:cubicBezTo>
                    <a:pt x="4908778" y="2850160"/>
                    <a:pt x="4560981" y="3167783"/>
                    <a:pt x="4461934" y="3234267"/>
                  </a:cubicBezTo>
                  <a:cubicBezTo>
                    <a:pt x="4198210" y="3411287"/>
                    <a:pt x="3941671" y="3513597"/>
                    <a:pt x="3623734" y="3564467"/>
                  </a:cubicBezTo>
                  <a:cubicBezTo>
                    <a:pt x="3433905" y="3594840"/>
                    <a:pt x="3239911" y="3587045"/>
                    <a:pt x="3048000" y="3598334"/>
                  </a:cubicBezTo>
                  <a:cubicBezTo>
                    <a:pt x="2647245" y="3564467"/>
                    <a:pt x="2241219" y="3569833"/>
                    <a:pt x="1845734" y="3496734"/>
                  </a:cubicBezTo>
                  <a:cubicBezTo>
                    <a:pt x="1640106" y="3458727"/>
                    <a:pt x="1452911" y="3352410"/>
                    <a:pt x="1261534" y="3268134"/>
                  </a:cubicBezTo>
                  <a:cubicBezTo>
                    <a:pt x="960962" y="3135772"/>
                    <a:pt x="949791" y="3110527"/>
                    <a:pt x="719667" y="2937934"/>
                  </a:cubicBezTo>
                  <a:cubicBezTo>
                    <a:pt x="705556" y="2895601"/>
                    <a:pt x="677334" y="2855557"/>
                    <a:pt x="677334" y="2810934"/>
                  </a:cubicBezTo>
                  <a:cubicBezTo>
                    <a:pt x="677334" y="2725099"/>
                    <a:pt x="687282" y="2636425"/>
                    <a:pt x="719667" y="2556934"/>
                  </a:cubicBezTo>
                  <a:cubicBezTo>
                    <a:pt x="783847" y="2399400"/>
                    <a:pt x="1012066" y="2207868"/>
                    <a:pt x="1126067" y="2116667"/>
                  </a:cubicBezTo>
                  <a:cubicBezTo>
                    <a:pt x="1585566" y="1749068"/>
                    <a:pt x="1600471" y="1693736"/>
                    <a:pt x="2057400" y="1532467"/>
                  </a:cubicBezTo>
                  <a:cubicBezTo>
                    <a:pt x="2179503" y="1489372"/>
                    <a:pt x="2302285" y="1444127"/>
                    <a:pt x="2429934" y="1422400"/>
                  </a:cubicBezTo>
                  <a:cubicBezTo>
                    <a:pt x="2701538" y="1376170"/>
                    <a:pt x="2977445" y="1360311"/>
                    <a:pt x="3251200" y="1329267"/>
                  </a:cubicBezTo>
                  <a:cubicBezTo>
                    <a:pt x="3338204" y="1338589"/>
                    <a:pt x="3464415" y="1309113"/>
                    <a:pt x="3530600" y="1388534"/>
                  </a:cubicBezTo>
                  <a:cubicBezTo>
                    <a:pt x="3547645" y="1408988"/>
                    <a:pt x="3558823" y="1433689"/>
                    <a:pt x="3572934" y="1456267"/>
                  </a:cubicBezTo>
                  <a:cubicBezTo>
                    <a:pt x="3578578" y="1476023"/>
                    <a:pt x="3590278" y="1494992"/>
                    <a:pt x="3589867" y="1515534"/>
                  </a:cubicBezTo>
                  <a:cubicBezTo>
                    <a:pt x="3587434" y="1637160"/>
                    <a:pt x="3591211" y="1760926"/>
                    <a:pt x="3564467" y="1879600"/>
                  </a:cubicBezTo>
                  <a:cubicBezTo>
                    <a:pt x="3532877" y="2019780"/>
                    <a:pt x="3373220" y="2245715"/>
                    <a:pt x="3293534" y="2353734"/>
                  </a:cubicBezTo>
                  <a:cubicBezTo>
                    <a:pt x="3223147" y="2449148"/>
                    <a:pt x="3150678" y="2543211"/>
                    <a:pt x="3073400" y="2633134"/>
                  </a:cubicBezTo>
                  <a:cubicBezTo>
                    <a:pt x="2995316" y="2723995"/>
                    <a:pt x="2914071" y="2812403"/>
                    <a:pt x="2827867" y="2895600"/>
                  </a:cubicBezTo>
                  <a:cubicBezTo>
                    <a:pt x="2671186" y="3046816"/>
                    <a:pt x="2528084" y="3217574"/>
                    <a:pt x="2345267" y="3335867"/>
                  </a:cubicBezTo>
                  <a:cubicBezTo>
                    <a:pt x="2297289" y="3366911"/>
                    <a:pt x="2252135" y="3402830"/>
                    <a:pt x="2201334" y="3429000"/>
                  </a:cubicBezTo>
                  <a:cubicBezTo>
                    <a:pt x="2158462" y="3451085"/>
                    <a:pt x="2022732" y="3501367"/>
                    <a:pt x="2065867" y="3479800"/>
                  </a:cubicBezTo>
                  <a:cubicBezTo>
                    <a:pt x="2307416" y="3359026"/>
                    <a:pt x="2549317" y="3235808"/>
                    <a:pt x="2802467" y="3141134"/>
                  </a:cubicBezTo>
                  <a:lnTo>
                    <a:pt x="3843867" y="2751667"/>
                  </a:lnTo>
                  <a:cubicBezTo>
                    <a:pt x="4040197" y="2680459"/>
                    <a:pt x="4233925" y="2599119"/>
                    <a:pt x="4436534" y="2548467"/>
                  </a:cubicBezTo>
                  <a:cubicBezTo>
                    <a:pt x="4992694" y="2409427"/>
                    <a:pt x="4986505" y="2400633"/>
                    <a:pt x="5528734" y="2302934"/>
                  </a:cubicBezTo>
                  <a:cubicBezTo>
                    <a:pt x="5968962" y="2223613"/>
                    <a:pt x="5851831" y="2238433"/>
                    <a:pt x="6214534" y="2226734"/>
                  </a:cubicBezTo>
                  <a:lnTo>
                    <a:pt x="6316134" y="2243667"/>
                  </a:lnTo>
                  <a:cubicBezTo>
                    <a:pt x="6310575" y="2282581"/>
                    <a:pt x="6243135" y="2272917"/>
                    <a:pt x="6206067" y="2286000"/>
                  </a:cubicBezTo>
                  <a:cubicBezTo>
                    <a:pt x="6147156" y="2306792"/>
                    <a:pt x="6088771" y="2329709"/>
                    <a:pt x="6028267" y="2345267"/>
                  </a:cubicBezTo>
                  <a:cubicBezTo>
                    <a:pt x="5265329" y="2541451"/>
                    <a:pt x="5520712" y="2505746"/>
                    <a:pt x="4927600" y="2531534"/>
                  </a:cubicBezTo>
                  <a:lnTo>
                    <a:pt x="3632200" y="2506134"/>
                  </a:lnTo>
                  <a:cubicBezTo>
                    <a:pt x="3491591" y="2494242"/>
                    <a:pt x="3356466" y="2440881"/>
                    <a:pt x="3225800" y="2387600"/>
                  </a:cubicBezTo>
                  <a:cubicBezTo>
                    <a:pt x="3064514" y="2321833"/>
                    <a:pt x="2760134" y="2150534"/>
                    <a:pt x="2760134" y="2150534"/>
                  </a:cubicBezTo>
                  <a:cubicBezTo>
                    <a:pt x="2730097" y="2120497"/>
                    <a:pt x="2626723" y="2025046"/>
                    <a:pt x="2616200" y="1981200"/>
                  </a:cubicBezTo>
                  <a:cubicBezTo>
                    <a:pt x="2599908" y="1913318"/>
                    <a:pt x="2627654" y="1853305"/>
                    <a:pt x="2675467" y="1811867"/>
                  </a:cubicBezTo>
                  <a:cubicBezTo>
                    <a:pt x="2701500" y="1789305"/>
                    <a:pt x="2730512" y="1770188"/>
                    <a:pt x="2760134" y="1752600"/>
                  </a:cubicBezTo>
                  <a:cubicBezTo>
                    <a:pt x="2910638" y="1663238"/>
                    <a:pt x="2920135" y="1651886"/>
                    <a:pt x="3064934" y="1617134"/>
                  </a:cubicBezTo>
                  <a:cubicBezTo>
                    <a:pt x="3095616" y="1609770"/>
                    <a:pt x="3127023" y="1605845"/>
                    <a:pt x="3158067" y="1600200"/>
                  </a:cubicBezTo>
                  <a:cubicBezTo>
                    <a:pt x="3180645" y="1605845"/>
                    <a:pt x="3207627" y="1602596"/>
                    <a:pt x="3225800" y="1617134"/>
                  </a:cubicBezTo>
                  <a:cubicBezTo>
                    <a:pt x="3245510" y="1632902"/>
                    <a:pt x="3250800" y="1748595"/>
                    <a:pt x="3251200" y="1752600"/>
                  </a:cubicBezTo>
                  <a:cubicBezTo>
                    <a:pt x="3184948" y="2514500"/>
                    <a:pt x="3284356" y="2118353"/>
                    <a:pt x="3081867" y="2599267"/>
                  </a:cubicBezTo>
                  <a:cubicBezTo>
                    <a:pt x="3006212" y="2778947"/>
                    <a:pt x="2937389" y="2961454"/>
                    <a:pt x="2861734" y="3141134"/>
                  </a:cubicBezTo>
                  <a:cubicBezTo>
                    <a:pt x="2824482" y="3229608"/>
                    <a:pt x="2743200" y="3403600"/>
                    <a:pt x="2743200" y="3403600"/>
                  </a:cubicBezTo>
                  <a:cubicBezTo>
                    <a:pt x="2726267" y="3479800"/>
                    <a:pt x="2710081" y="3556170"/>
                    <a:pt x="2692400" y="3632200"/>
                  </a:cubicBezTo>
                  <a:cubicBezTo>
                    <a:pt x="2681857" y="3677536"/>
                    <a:pt x="2663674" y="3721406"/>
                    <a:pt x="2658534" y="3767667"/>
                  </a:cubicBezTo>
                  <a:cubicBezTo>
                    <a:pt x="2655092" y="3798649"/>
                    <a:pt x="2664178" y="3829756"/>
                    <a:pt x="2667000" y="3860800"/>
                  </a:cubicBezTo>
                  <a:cubicBezTo>
                    <a:pt x="2707361" y="3847347"/>
                    <a:pt x="2697360" y="3856456"/>
                    <a:pt x="2726267" y="3801534"/>
                  </a:cubicBezTo>
                  <a:cubicBezTo>
                    <a:pt x="2793747" y="3673322"/>
                    <a:pt x="2781051" y="3674734"/>
                    <a:pt x="2819400" y="3513667"/>
                  </a:cubicBezTo>
                  <a:cubicBezTo>
                    <a:pt x="2827867" y="3431823"/>
                    <a:pt x="2838677" y="3350187"/>
                    <a:pt x="2844800" y="3268134"/>
                  </a:cubicBezTo>
                  <a:cubicBezTo>
                    <a:pt x="2890429" y="2656708"/>
                    <a:pt x="2856225" y="1927298"/>
                    <a:pt x="2853267" y="1380067"/>
                  </a:cubicBezTo>
                  <a:cubicBezTo>
                    <a:pt x="2864556" y="1337734"/>
                    <a:pt x="2843486" y="1249272"/>
                    <a:pt x="2887134" y="1253067"/>
                  </a:cubicBezTo>
                  <a:cubicBezTo>
                    <a:pt x="2912017" y="1255231"/>
                    <a:pt x="3213979" y="1562452"/>
                    <a:pt x="3217334" y="1566334"/>
                  </a:cubicBezTo>
                  <a:cubicBezTo>
                    <a:pt x="3362883" y="1734754"/>
                    <a:pt x="3501152" y="1909349"/>
                    <a:pt x="3640667" y="2082800"/>
                  </a:cubicBezTo>
                  <a:cubicBezTo>
                    <a:pt x="3710014" y="2169015"/>
                    <a:pt x="3787912" y="2249814"/>
                    <a:pt x="3843867" y="2345267"/>
                  </a:cubicBezTo>
                  <a:cubicBezTo>
                    <a:pt x="3965503" y="2552763"/>
                    <a:pt x="4157922" y="2864551"/>
                    <a:pt x="4216400" y="3073400"/>
                  </a:cubicBezTo>
                  <a:lnTo>
                    <a:pt x="4275667" y="3285067"/>
                  </a:lnTo>
                  <a:cubicBezTo>
                    <a:pt x="4281311" y="3333045"/>
                    <a:pt x="4287454" y="3380966"/>
                    <a:pt x="4292600" y="3429000"/>
                  </a:cubicBezTo>
                  <a:cubicBezTo>
                    <a:pt x="4302259" y="3519148"/>
                    <a:pt x="4312999" y="3557535"/>
                    <a:pt x="4267200" y="3649134"/>
                  </a:cubicBezTo>
                  <a:cubicBezTo>
                    <a:pt x="4259841" y="3663853"/>
                    <a:pt x="4240057" y="3668205"/>
                    <a:pt x="4224867" y="3674534"/>
                  </a:cubicBezTo>
                  <a:cubicBezTo>
                    <a:pt x="4188787" y="3689567"/>
                    <a:pt x="4152701" y="3693617"/>
                    <a:pt x="4114800" y="3699934"/>
                  </a:cubicBezTo>
                  <a:cubicBezTo>
                    <a:pt x="4055533" y="3688645"/>
                    <a:pt x="3992243" y="3690320"/>
                    <a:pt x="3937000" y="3666067"/>
                  </a:cubicBezTo>
                  <a:cubicBezTo>
                    <a:pt x="3751554" y="3584652"/>
                    <a:pt x="3686999" y="3435474"/>
                    <a:pt x="3556000" y="3285067"/>
                  </a:cubicBezTo>
                  <a:cubicBezTo>
                    <a:pt x="3477316" y="3194726"/>
                    <a:pt x="3386918" y="3114839"/>
                    <a:pt x="3310467" y="3022600"/>
                  </a:cubicBezTo>
                  <a:cubicBezTo>
                    <a:pt x="3127078" y="2801338"/>
                    <a:pt x="2952218" y="2573106"/>
                    <a:pt x="2777067" y="2345267"/>
                  </a:cubicBezTo>
                  <a:cubicBezTo>
                    <a:pt x="2437837" y="1903993"/>
                    <a:pt x="2324000" y="1844939"/>
                    <a:pt x="2175934" y="1456267"/>
                  </a:cubicBezTo>
                  <a:cubicBezTo>
                    <a:pt x="2158131" y="1409533"/>
                    <a:pt x="2147711" y="1360312"/>
                    <a:pt x="2133600" y="1312334"/>
                  </a:cubicBezTo>
                  <a:cubicBezTo>
                    <a:pt x="2144889" y="1292578"/>
                    <a:pt x="2150461" y="1268184"/>
                    <a:pt x="2167467" y="1253067"/>
                  </a:cubicBezTo>
                  <a:cubicBezTo>
                    <a:pt x="2178223" y="1243506"/>
                    <a:pt x="2195622" y="1242134"/>
                    <a:pt x="2209800" y="1244600"/>
                  </a:cubicBezTo>
                  <a:cubicBezTo>
                    <a:pt x="2261744" y="1253634"/>
                    <a:pt x="2311400" y="1272823"/>
                    <a:pt x="2362200" y="1286934"/>
                  </a:cubicBezTo>
                  <a:cubicBezTo>
                    <a:pt x="2675412" y="1566101"/>
                    <a:pt x="3068569" y="1904854"/>
                    <a:pt x="3335867" y="2209800"/>
                  </a:cubicBezTo>
                  <a:lnTo>
                    <a:pt x="3937000" y="2895600"/>
                  </a:lnTo>
                  <a:cubicBezTo>
                    <a:pt x="4227869" y="3222481"/>
                    <a:pt x="4238971" y="3202598"/>
                    <a:pt x="4512734" y="3556000"/>
                  </a:cubicBezTo>
                  <a:cubicBezTo>
                    <a:pt x="4682881" y="3775644"/>
                    <a:pt x="4707116" y="3839478"/>
                    <a:pt x="4842934" y="4080934"/>
                  </a:cubicBezTo>
                  <a:cubicBezTo>
                    <a:pt x="4857045" y="4134556"/>
                    <a:pt x="4881579" y="4186475"/>
                    <a:pt x="4885267" y="4241800"/>
                  </a:cubicBezTo>
                  <a:cubicBezTo>
                    <a:pt x="4890162" y="4315232"/>
                    <a:pt x="4885673" y="4390411"/>
                    <a:pt x="4868334" y="4461934"/>
                  </a:cubicBezTo>
                  <a:cubicBezTo>
                    <a:pt x="4858183" y="4503808"/>
                    <a:pt x="4780273" y="4545892"/>
                    <a:pt x="4749800" y="4563534"/>
                  </a:cubicBezTo>
                  <a:cubicBezTo>
                    <a:pt x="4577645" y="4663203"/>
                    <a:pt x="4652666" y="4614767"/>
                    <a:pt x="4343400" y="4648200"/>
                  </a:cubicBezTo>
                  <a:cubicBezTo>
                    <a:pt x="4301067" y="4628445"/>
                    <a:pt x="4254998" y="4615251"/>
                    <a:pt x="4216400" y="4588934"/>
                  </a:cubicBezTo>
                  <a:cubicBezTo>
                    <a:pt x="4166902" y="4555185"/>
                    <a:pt x="4132539" y="4476110"/>
                    <a:pt x="4106334" y="4428067"/>
                  </a:cubicBezTo>
                  <a:cubicBezTo>
                    <a:pt x="4065424" y="4182617"/>
                    <a:pt x="4058149" y="4179718"/>
                    <a:pt x="4106334" y="3784600"/>
                  </a:cubicBezTo>
                  <a:cubicBezTo>
                    <a:pt x="4113064" y="3729418"/>
                    <a:pt x="4149854" y="3682241"/>
                    <a:pt x="4174067" y="3632200"/>
                  </a:cubicBezTo>
                  <a:cubicBezTo>
                    <a:pt x="4192217" y="3594691"/>
                    <a:pt x="4208986" y="3555950"/>
                    <a:pt x="4233334" y="3522134"/>
                  </a:cubicBezTo>
                  <a:cubicBezTo>
                    <a:pt x="4269661" y="3471680"/>
                    <a:pt x="4374267" y="3369684"/>
                    <a:pt x="4428067" y="3335867"/>
                  </a:cubicBezTo>
                  <a:cubicBezTo>
                    <a:pt x="4490053" y="3296904"/>
                    <a:pt x="4622800" y="3234267"/>
                    <a:pt x="4622800" y="3234267"/>
                  </a:cubicBezTo>
                  <a:cubicBezTo>
                    <a:pt x="4673600" y="3242734"/>
                    <a:pt x="4734778" y="3227755"/>
                    <a:pt x="4775200" y="3259667"/>
                  </a:cubicBezTo>
                  <a:cubicBezTo>
                    <a:pt x="4811054" y="3287973"/>
                    <a:pt x="4774589" y="3407791"/>
                    <a:pt x="4758267" y="3437467"/>
                  </a:cubicBezTo>
                  <a:cubicBezTo>
                    <a:pt x="4708714" y="3527563"/>
                    <a:pt x="4635842" y="3585919"/>
                    <a:pt x="4555067" y="3649134"/>
                  </a:cubicBezTo>
                  <a:cubicBezTo>
                    <a:pt x="4472385" y="3713842"/>
                    <a:pt x="4387754" y="3776164"/>
                    <a:pt x="4301067" y="3835400"/>
                  </a:cubicBezTo>
                  <a:cubicBezTo>
                    <a:pt x="4058737" y="4000992"/>
                    <a:pt x="4021496" y="4016319"/>
                    <a:pt x="3742267" y="4131734"/>
                  </a:cubicBezTo>
                  <a:cubicBezTo>
                    <a:pt x="3633283" y="4176781"/>
                    <a:pt x="3528047" y="4237394"/>
                    <a:pt x="3412067" y="4258734"/>
                  </a:cubicBezTo>
                  <a:cubicBezTo>
                    <a:pt x="3172333" y="4302845"/>
                    <a:pt x="2926645" y="4303889"/>
                    <a:pt x="2683934" y="4326467"/>
                  </a:cubicBezTo>
                  <a:cubicBezTo>
                    <a:pt x="2514559" y="4310076"/>
                    <a:pt x="2363139" y="4306899"/>
                    <a:pt x="2201334" y="4250267"/>
                  </a:cubicBezTo>
                  <a:cubicBezTo>
                    <a:pt x="2130677" y="4225537"/>
                    <a:pt x="2065112" y="4168776"/>
                    <a:pt x="2006600" y="4123267"/>
                  </a:cubicBezTo>
                  <a:cubicBezTo>
                    <a:pt x="2000956" y="4103511"/>
                    <a:pt x="1987119" y="4084388"/>
                    <a:pt x="1989667" y="4064000"/>
                  </a:cubicBezTo>
                  <a:cubicBezTo>
                    <a:pt x="1995870" y="4014376"/>
                    <a:pt x="2010305" y="3965126"/>
                    <a:pt x="2032000" y="3920067"/>
                  </a:cubicBezTo>
                  <a:cubicBezTo>
                    <a:pt x="2065997" y="3849457"/>
                    <a:pt x="2196620" y="3750741"/>
                    <a:pt x="2243667" y="3716867"/>
                  </a:cubicBezTo>
                  <a:cubicBezTo>
                    <a:pt x="2334504" y="3651464"/>
                    <a:pt x="2425154" y="3584839"/>
                    <a:pt x="2523067" y="3530600"/>
                  </a:cubicBezTo>
                  <a:cubicBezTo>
                    <a:pt x="3536881" y="2968991"/>
                    <a:pt x="3129846" y="3192252"/>
                    <a:pt x="3928534" y="2870200"/>
                  </a:cubicBezTo>
                  <a:cubicBezTo>
                    <a:pt x="5168849" y="2370072"/>
                    <a:pt x="3871503" y="2860944"/>
                    <a:pt x="4876800" y="2506134"/>
                  </a:cubicBezTo>
                  <a:cubicBezTo>
                    <a:pt x="4982083" y="2468975"/>
                    <a:pt x="5084149" y="2422906"/>
                    <a:pt x="5190067" y="2387600"/>
                  </a:cubicBezTo>
                  <a:cubicBezTo>
                    <a:pt x="5293813" y="2353018"/>
                    <a:pt x="5384474" y="2334051"/>
                    <a:pt x="5486400" y="2311400"/>
                  </a:cubicBezTo>
                  <a:cubicBezTo>
                    <a:pt x="4915965" y="2216335"/>
                    <a:pt x="5508900" y="2312381"/>
                    <a:pt x="3860800" y="2294467"/>
                  </a:cubicBezTo>
                  <a:cubicBezTo>
                    <a:pt x="3606752" y="2291706"/>
                    <a:pt x="3352800" y="2283178"/>
                    <a:pt x="3098800" y="2277534"/>
                  </a:cubicBezTo>
                  <a:cubicBezTo>
                    <a:pt x="2902536" y="2248671"/>
                    <a:pt x="2707385" y="2225006"/>
                    <a:pt x="2514600" y="2175934"/>
                  </a:cubicBezTo>
                  <a:cubicBezTo>
                    <a:pt x="2456646" y="2161182"/>
                    <a:pt x="2401711" y="2136423"/>
                    <a:pt x="2345267" y="2116667"/>
                  </a:cubicBezTo>
                  <a:cubicBezTo>
                    <a:pt x="2402067" y="2003066"/>
                    <a:pt x="2353731" y="2077510"/>
                    <a:pt x="2548467" y="1955800"/>
                  </a:cubicBezTo>
                  <a:cubicBezTo>
                    <a:pt x="2602248" y="1922187"/>
                    <a:pt x="2649661" y="1875682"/>
                    <a:pt x="2709334" y="1854200"/>
                  </a:cubicBezTo>
                  <a:cubicBezTo>
                    <a:pt x="2894139" y="1787670"/>
                    <a:pt x="2975613" y="1763065"/>
                    <a:pt x="3158067" y="1676400"/>
                  </a:cubicBezTo>
                  <a:cubicBezTo>
                    <a:pt x="3306275" y="1606001"/>
                    <a:pt x="3452422" y="1531308"/>
                    <a:pt x="3598334" y="1456267"/>
                  </a:cubicBezTo>
                  <a:cubicBezTo>
                    <a:pt x="3650013" y="1429689"/>
                    <a:pt x="3705039" y="1407504"/>
                    <a:pt x="3750734" y="1371600"/>
                  </a:cubicBezTo>
                  <a:lnTo>
                    <a:pt x="3869267" y="1278467"/>
                  </a:lnTo>
                  <a:cubicBezTo>
                    <a:pt x="3872089" y="1270000"/>
                    <a:pt x="3879484" y="1261818"/>
                    <a:pt x="3877734" y="1253067"/>
                  </a:cubicBezTo>
                  <a:cubicBezTo>
                    <a:pt x="3876168" y="1245240"/>
                    <a:pt x="3867940" y="1239704"/>
                    <a:pt x="3860800" y="1236134"/>
                  </a:cubicBezTo>
                  <a:cubicBezTo>
                    <a:pt x="3837938" y="1224703"/>
                    <a:pt x="3744620" y="1219281"/>
                    <a:pt x="3742267" y="1219200"/>
                  </a:cubicBezTo>
                  <a:cubicBezTo>
                    <a:pt x="3606851" y="1214531"/>
                    <a:pt x="3471334" y="1213556"/>
                    <a:pt x="3335867" y="1210734"/>
                  </a:cubicBezTo>
                  <a:cubicBezTo>
                    <a:pt x="3203223" y="1213556"/>
                    <a:pt x="3070218" y="1209024"/>
                    <a:pt x="2937934" y="1219200"/>
                  </a:cubicBezTo>
                  <a:cubicBezTo>
                    <a:pt x="2886048" y="1223191"/>
                    <a:pt x="2835139" y="1237338"/>
                    <a:pt x="2785534" y="1253067"/>
                  </a:cubicBezTo>
                  <a:cubicBezTo>
                    <a:pt x="2682691" y="1285676"/>
                    <a:pt x="2539923" y="1351879"/>
                    <a:pt x="2438400" y="1397000"/>
                  </a:cubicBezTo>
                  <a:cubicBezTo>
                    <a:pt x="2388678" y="1446722"/>
                    <a:pt x="2353581" y="1473468"/>
                    <a:pt x="2319867" y="1532467"/>
                  </a:cubicBezTo>
                  <a:cubicBezTo>
                    <a:pt x="2309203" y="1551129"/>
                    <a:pt x="2302934" y="1571978"/>
                    <a:pt x="2294467" y="1591734"/>
                  </a:cubicBezTo>
                  <a:cubicBezTo>
                    <a:pt x="2373366" y="1796871"/>
                    <a:pt x="2313144" y="1692036"/>
                    <a:pt x="2582334" y="1913467"/>
                  </a:cubicBezTo>
                  <a:cubicBezTo>
                    <a:pt x="3143985" y="2375469"/>
                    <a:pt x="2719080" y="1976975"/>
                    <a:pt x="3708400" y="2700867"/>
                  </a:cubicBezTo>
                  <a:cubicBezTo>
                    <a:pt x="4055533" y="2954867"/>
                    <a:pt x="4378721" y="3245339"/>
                    <a:pt x="4749800" y="3462867"/>
                  </a:cubicBezTo>
                  <a:cubicBezTo>
                    <a:pt x="5101041" y="3668766"/>
                    <a:pt x="4921040" y="3547802"/>
                    <a:pt x="5283200" y="3835400"/>
                  </a:cubicBezTo>
                  <a:cubicBezTo>
                    <a:pt x="5312482" y="3893964"/>
                    <a:pt x="5338370" y="3922255"/>
                    <a:pt x="5334000" y="3987800"/>
                  </a:cubicBezTo>
                  <a:cubicBezTo>
                    <a:pt x="5327126" y="4090909"/>
                    <a:pt x="5214193" y="4146449"/>
                    <a:pt x="5139267" y="4191000"/>
                  </a:cubicBezTo>
                  <a:cubicBezTo>
                    <a:pt x="5075178" y="4229107"/>
                    <a:pt x="5011485" y="4268248"/>
                    <a:pt x="4944534" y="4301067"/>
                  </a:cubicBezTo>
                  <a:cubicBezTo>
                    <a:pt x="4720357" y="4410958"/>
                    <a:pt x="4666325" y="4420780"/>
                    <a:pt x="4411134" y="4470400"/>
                  </a:cubicBezTo>
                  <a:cubicBezTo>
                    <a:pt x="4307292" y="4490591"/>
                    <a:pt x="4203208" y="4511498"/>
                    <a:pt x="4097867" y="4521200"/>
                  </a:cubicBezTo>
                  <a:cubicBezTo>
                    <a:pt x="3988228" y="4531298"/>
                    <a:pt x="3877734" y="4526845"/>
                    <a:pt x="3767667" y="4529667"/>
                  </a:cubicBezTo>
                  <a:cubicBezTo>
                    <a:pt x="3418782" y="4517636"/>
                    <a:pt x="3185388" y="4628725"/>
                    <a:pt x="2946400" y="4453467"/>
                  </a:cubicBezTo>
                  <a:cubicBezTo>
                    <a:pt x="2930307" y="4441666"/>
                    <a:pt x="2918178" y="4425245"/>
                    <a:pt x="2904067" y="4411134"/>
                  </a:cubicBezTo>
                  <a:cubicBezTo>
                    <a:pt x="2813130" y="4198945"/>
                    <a:pt x="2857809" y="4327927"/>
                    <a:pt x="2912534" y="3835400"/>
                  </a:cubicBezTo>
                  <a:cubicBezTo>
                    <a:pt x="2937363" y="3611942"/>
                    <a:pt x="3149054" y="3254426"/>
                    <a:pt x="3225800" y="3141134"/>
                  </a:cubicBezTo>
                  <a:cubicBezTo>
                    <a:pt x="3285067" y="3053645"/>
                    <a:pt x="3337032" y="2960737"/>
                    <a:pt x="3403600" y="2878667"/>
                  </a:cubicBezTo>
                  <a:cubicBezTo>
                    <a:pt x="3543418" y="2706289"/>
                    <a:pt x="3679958" y="2528790"/>
                    <a:pt x="3843867" y="2379134"/>
                  </a:cubicBezTo>
                  <a:cubicBezTo>
                    <a:pt x="3908778" y="2319867"/>
                    <a:pt x="3975498" y="2262524"/>
                    <a:pt x="4038600" y="2201334"/>
                  </a:cubicBezTo>
                  <a:cubicBezTo>
                    <a:pt x="4068720" y="2172127"/>
                    <a:pt x="4094916" y="2139128"/>
                    <a:pt x="4123267" y="2108200"/>
                  </a:cubicBezTo>
                  <a:cubicBezTo>
                    <a:pt x="4149915" y="2079130"/>
                    <a:pt x="4171762" y="2079965"/>
                    <a:pt x="4055534" y="2159000"/>
                  </a:cubicBezTo>
                  <a:cubicBezTo>
                    <a:pt x="4011500" y="2188943"/>
                    <a:pt x="3967128" y="2218752"/>
                    <a:pt x="3920067" y="2243667"/>
                  </a:cubicBezTo>
                  <a:cubicBezTo>
                    <a:pt x="3775057" y="2320437"/>
                    <a:pt x="3626192" y="2389700"/>
                    <a:pt x="3479800" y="2463800"/>
                  </a:cubicBezTo>
                  <a:cubicBezTo>
                    <a:pt x="3246871" y="2581702"/>
                    <a:pt x="3256502" y="2595030"/>
                    <a:pt x="3022600" y="2667000"/>
                  </a:cubicBezTo>
                  <a:cubicBezTo>
                    <a:pt x="2961048" y="2685939"/>
                    <a:pt x="2630272" y="2768605"/>
                    <a:pt x="2565400" y="2777067"/>
                  </a:cubicBezTo>
                  <a:cubicBezTo>
                    <a:pt x="2447563" y="2792437"/>
                    <a:pt x="2328298" y="2793524"/>
                    <a:pt x="2209800" y="2802467"/>
                  </a:cubicBezTo>
                  <a:cubicBezTo>
                    <a:pt x="2178716" y="2804813"/>
                    <a:pt x="2147711" y="2808112"/>
                    <a:pt x="2116667" y="2810934"/>
                  </a:cubicBezTo>
                  <a:cubicBezTo>
                    <a:pt x="2088779" y="2755157"/>
                    <a:pt x="2088435" y="2779712"/>
                    <a:pt x="2150534" y="2709334"/>
                  </a:cubicBezTo>
                  <a:cubicBezTo>
                    <a:pt x="2234696" y="2613951"/>
                    <a:pt x="2406074" y="2482055"/>
                    <a:pt x="2480734" y="2429934"/>
                  </a:cubicBezTo>
                  <a:cubicBezTo>
                    <a:pt x="3340853" y="1829473"/>
                    <a:pt x="2586232" y="2363857"/>
                    <a:pt x="3200400" y="1913467"/>
                  </a:cubicBezTo>
                  <a:cubicBezTo>
                    <a:pt x="3442312" y="1736065"/>
                    <a:pt x="3536897" y="1694801"/>
                    <a:pt x="3759200" y="1447800"/>
                  </a:cubicBezTo>
                  <a:cubicBezTo>
                    <a:pt x="3852287" y="1344371"/>
                    <a:pt x="3818420" y="1397094"/>
                    <a:pt x="3869267" y="1295400"/>
                  </a:cubicBezTo>
                  <a:cubicBezTo>
                    <a:pt x="3850388" y="1238761"/>
                    <a:pt x="3865124" y="1232485"/>
                    <a:pt x="3793067" y="1236134"/>
                  </a:cubicBezTo>
                  <a:cubicBezTo>
                    <a:pt x="3589638" y="1246434"/>
                    <a:pt x="3386667" y="1264356"/>
                    <a:pt x="3183467" y="1278467"/>
                  </a:cubicBezTo>
                  <a:cubicBezTo>
                    <a:pt x="3002845" y="1320800"/>
                    <a:pt x="2818402" y="1349274"/>
                    <a:pt x="2641600" y="1405467"/>
                  </a:cubicBezTo>
                  <a:cubicBezTo>
                    <a:pt x="2613726" y="1414326"/>
                    <a:pt x="2004412" y="1649832"/>
                    <a:pt x="1854200" y="1735667"/>
                  </a:cubicBezTo>
                  <a:lnTo>
                    <a:pt x="1676400" y="1837267"/>
                  </a:lnTo>
                  <a:cubicBezTo>
                    <a:pt x="1645356" y="1873956"/>
                    <a:pt x="1613290" y="1909805"/>
                    <a:pt x="1583267" y="1947334"/>
                  </a:cubicBezTo>
                  <a:cubicBezTo>
                    <a:pt x="1568101" y="1966292"/>
                    <a:pt x="1546201" y="1982901"/>
                    <a:pt x="1540934" y="2006600"/>
                  </a:cubicBezTo>
                  <a:cubicBezTo>
                    <a:pt x="1534172" y="2037030"/>
                    <a:pt x="1535459" y="2071852"/>
                    <a:pt x="1549400" y="2099734"/>
                  </a:cubicBezTo>
                  <a:cubicBezTo>
                    <a:pt x="1562817" y="2126567"/>
                    <a:pt x="1593976" y="2139928"/>
                    <a:pt x="1617134" y="2159000"/>
                  </a:cubicBezTo>
                  <a:cubicBezTo>
                    <a:pt x="1663733" y="2197375"/>
                    <a:pt x="1790886" y="2292905"/>
                    <a:pt x="1828800" y="2311400"/>
                  </a:cubicBezTo>
                  <a:cubicBezTo>
                    <a:pt x="2011659" y="2400599"/>
                    <a:pt x="2202133" y="2473292"/>
                    <a:pt x="2387600" y="2556934"/>
                  </a:cubicBezTo>
                  <a:cubicBezTo>
                    <a:pt x="2490024" y="2603125"/>
                    <a:pt x="2588980" y="2656949"/>
                    <a:pt x="2692400" y="2700867"/>
                  </a:cubicBezTo>
                  <a:cubicBezTo>
                    <a:pt x="2898422" y="2788356"/>
                    <a:pt x="3108492" y="2866868"/>
                    <a:pt x="3310467" y="2963334"/>
                  </a:cubicBezTo>
                  <a:cubicBezTo>
                    <a:pt x="3487089" y="3047691"/>
                    <a:pt x="3655833" y="3147678"/>
                    <a:pt x="3826934" y="3242734"/>
                  </a:cubicBezTo>
                  <a:cubicBezTo>
                    <a:pt x="4021077" y="3350591"/>
                    <a:pt x="4100977" y="3383241"/>
                    <a:pt x="4241800" y="3547534"/>
                  </a:cubicBezTo>
                  <a:cubicBezTo>
                    <a:pt x="4276454" y="3587964"/>
                    <a:pt x="4298245" y="3637845"/>
                    <a:pt x="4326467" y="3683000"/>
                  </a:cubicBezTo>
                  <a:cubicBezTo>
                    <a:pt x="4332111" y="3716867"/>
                    <a:pt x="4349367" y="3750789"/>
                    <a:pt x="4343400" y="3784600"/>
                  </a:cubicBezTo>
                  <a:cubicBezTo>
                    <a:pt x="4323526" y="3897221"/>
                    <a:pt x="4293060" y="4008747"/>
                    <a:pt x="4250267" y="4114800"/>
                  </a:cubicBezTo>
                  <a:cubicBezTo>
                    <a:pt x="4227421" y="4171418"/>
                    <a:pt x="4184577" y="4217823"/>
                    <a:pt x="4148667" y="4267200"/>
                  </a:cubicBezTo>
                  <a:cubicBezTo>
                    <a:pt x="4018337" y="4446403"/>
                    <a:pt x="3837672" y="4615943"/>
                    <a:pt x="3674534" y="4749800"/>
                  </a:cubicBezTo>
                  <a:lnTo>
                    <a:pt x="3344334" y="5020734"/>
                  </a:lnTo>
                  <a:cubicBezTo>
                    <a:pt x="3332028" y="5031031"/>
                    <a:pt x="3229650" y="5121755"/>
                    <a:pt x="3208867" y="5147734"/>
                  </a:cubicBezTo>
                  <a:cubicBezTo>
                    <a:pt x="3200983" y="5157589"/>
                    <a:pt x="3197578" y="5170311"/>
                    <a:pt x="3191934" y="5181600"/>
                  </a:cubicBezTo>
                  <a:cubicBezTo>
                    <a:pt x="3236322" y="5192698"/>
                    <a:pt x="3232246" y="5200554"/>
                    <a:pt x="3276600" y="5156200"/>
                  </a:cubicBezTo>
                  <a:cubicBezTo>
                    <a:pt x="3360263" y="5072537"/>
                    <a:pt x="3351099" y="5078325"/>
                    <a:pt x="3386667" y="4995334"/>
                  </a:cubicBezTo>
                  <a:cubicBezTo>
                    <a:pt x="3378200" y="4907845"/>
                    <a:pt x="3378505" y="4819058"/>
                    <a:pt x="3361267" y="4732867"/>
                  </a:cubicBezTo>
                  <a:cubicBezTo>
                    <a:pt x="3351752" y="4685290"/>
                    <a:pt x="3238643" y="4473839"/>
                    <a:pt x="3225800" y="4453467"/>
                  </a:cubicBezTo>
                  <a:cubicBezTo>
                    <a:pt x="3050152" y="4174852"/>
                    <a:pt x="2813131" y="3925553"/>
                    <a:pt x="2599267" y="3683000"/>
                  </a:cubicBezTo>
                  <a:cubicBezTo>
                    <a:pt x="2571684" y="3651717"/>
                    <a:pt x="2221637" y="3272960"/>
                    <a:pt x="2167467" y="3234267"/>
                  </a:cubicBezTo>
                  <a:cubicBezTo>
                    <a:pt x="2027761" y="3134476"/>
                    <a:pt x="2085800" y="3181199"/>
                    <a:pt x="1989667" y="3098800"/>
                  </a:cubicBezTo>
                  <a:cubicBezTo>
                    <a:pt x="1992489" y="3090333"/>
                    <a:pt x="1992655" y="3080445"/>
                    <a:pt x="1998134" y="3073400"/>
                  </a:cubicBezTo>
                  <a:cubicBezTo>
                    <a:pt x="2060445" y="2993286"/>
                    <a:pt x="2067298" y="3021414"/>
                    <a:pt x="2184400" y="2988734"/>
                  </a:cubicBezTo>
                  <a:cubicBezTo>
                    <a:pt x="2544516" y="2888236"/>
                    <a:pt x="2290918" y="2934564"/>
                    <a:pt x="2717800" y="2887134"/>
                  </a:cubicBezTo>
                  <a:lnTo>
                    <a:pt x="4580467" y="2895600"/>
                  </a:lnTo>
                  <a:cubicBezTo>
                    <a:pt x="4738932" y="2896904"/>
                    <a:pt x="4728144" y="2897345"/>
                    <a:pt x="4834467" y="2912534"/>
                  </a:cubicBezTo>
                  <a:cubicBezTo>
                    <a:pt x="4803423" y="2926645"/>
                    <a:pt x="4774083" y="2945359"/>
                    <a:pt x="4741334" y="2954867"/>
                  </a:cubicBezTo>
                  <a:cubicBezTo>
                    <a:pt x="4632405" y="2986491"/>
                    <a:pt x="4342137" y="3020659"/>
                    <a:pt x="4267200" y="3031067"/>
                  </a:cubicBezTo>
                  <a:lnTo>
                    <a:pt x="2175934" y="3022600"/>
                  </a:lnTo>
                  <a:cubicBezTo>
                    <a:pt x="1986769" y="3020793"/>
                    <a:pt x="1797427" y="3018158"/>
                    <a:pt x="1608667" y="3005667"/>
                  </a:cubicBezTo>
                  <a:cubicBezTo>
                    <a:pt x="1413361" y="2992742"/>
                    <a:pt x="1219566" y="2962134"/>
                    <a:pt x="1024467" y="2946400"/>
                  </a:cubicBezTo>
                  <a:cubicBezTo>
                    <a:pt x="869517" y="2933904"/>
                    <a:pt x="714022" y="2929467"/>
                    <a:pt x="558800" y="2921000"/>
                  </a:cubicBezTo>
                  <a:cubicBezTo>
                    <a:pt x="284652" y="2878823"/>
                    <a:pt x="264246" y="2893123"/>
                    <a:pt x="42334" y="2810934"/>
                  </a:cubicBezTo>
                  <a:cubicBezTo>
                    <a:pt x="26902" y="2805218"/>
                    <a:pt x="14111" y="2794001"/>
                    <a:pt x="0" y="2785534"/>
                  </a:cubicBezTo>
                  <a:cubicBezTo>
                    <a:pt x="90311" y="2734734"/>
                    <a:pt x="172633" y="2665901"/>
                    <a:pt x="270934" y="2633134"/>
                  </a:cubicBezTo>
                  <a:cubicBezTo>
                    <a:pt x="372534" y="2599267"/>
                    <a:pt x="471575" y="2556442"/>
                    <a:pt x="575734" y="2531534"/>
                  </a:cubicBezTo>
                  <a:cubicBezTo>
                    <a:pt x="1114704" y="2402650"/>
                    <a:pt x="1583061" y="2410670"/>
                    <a:pt x="2159000" y="2362200"/>
                  </a:cubicBezTo>
                  <a:cubicBezTo>
                    <a:pt x="2359640" y="2345314"/>
                    <a:pt x="2559964" y="2324692"/>
                    <a:pt x="2760134" y="2302934"/>
                  </a:cubicBezTo>
                  <a:cubicBezTo>
                    <a:pt x="3070934" y="2269151"/>
                    <a:pt x="3533112" y="2215956"/>
                    <a:pt x="3843867" y="2150534"/>
                  </a:cubicBezTo>
                  <a:cubicBezTo>
                    <a:pt x="3995257" y="2118662"/>
                    <a:pt x="4144153" y="2075566"/>
                    <a:pt x="4292600" y="2032000"/>
                  </a:cubicBezTo>
                  <a:cubicBezTo>
                    <a:pt x="4783704" y="1887872"/>
                    <a:pt x="4455544" y="1947022"/>
                    <a:pt x="4792134" y="1896534"/>
                  </a:cubicBezTo>
                  <a:cubicBezTo>
                    <a:pt x="4649057" y="1991919"/>
                    <a:pt x="4778282" y="1914893"/>
                    <a:pt x="4546600" y="2006600"/>
                  </a:cubicBezTo>
                  <a:cubicBezTo>
                    <a:pt x="4466661" y="2038242"/>
                    <a:pt x="4389684" y="2077097"/>
                    <a:pt x="4309534" y="2108200"/>
                  </a:cubicBezTo>
                  <a:cubicBezTo>
                    <a:pt x="4200512" y="2150507"/>
                    <a:pt x="4088158" y="2183918"/>
                    <a:pt x="3979334" y="2226734"/>
                  </a:cubicBezTo>
                  <a:cubicBezTo>
                    <a:pt x="3743774" y="2319413"/>
                    <a:pt x="3519219" y="2442392"/>
                    <a:pt x="3276600" y="2514600"/>
                  </a:cubicBezTo>
                  <a:cubicBezTo>
                    <a:pt x="2471502" y="2754213"/>
                    <a:pt x="2807662" y="2676389"/>
                    <a:pt x="2277534" y="2785534"/>
                  </a:cubicBezTo>
                  <a:cubicBezTo>
                    <a:pt x="2187223" y="2777067"/>
                    <a:pt x="2077669" y="2816499"/>
                    <a:pt x="2006600" y="2760134"/>
                  </a:cubicBezTo>
                  <a:cubicBezTo>
                    <a:pt x="1938262" y="2705935"/>
                    <a:pt x="2077660" y="2520354"/>
                    <a:pt x="2099734" y="2480734"/>
                  </a:cubicBezTo>
                  <a:cubicBezTo>
                    <a:pt x="2188858" y="2320768"/>
                    <a:pt x="2259498" y="2149741"/>
                    <a:pt x="2362200" y="1998134"/>
                  </a:cubicBezTo>
                  <a:cubicBezTo>
                    <a:pt x="2421467" y="1910645"/>
                    <a:pt x="2475760" y="1819572"/>
                    <a:pt x="2540000" y="1735667"/>
                  </a:cubicBezTo>
                  <a:cubicBezTo>
                    <a:pt x="2747726" y="1464351"/>
                    <a:pt x="2775146" y="1495788"/>
                    <a:pt x="2937934" y="1227667"/>
                  </a:cubicBezTo>
                  <a:cubicBezTo>
                    <a:pt x="2985755" y="1148903"/>
                    <a:pt x="3020421" y="1062814"/>
                    <a:pt x="3064934" y="982134"/>
                  </a:cubicBezTo>
                  <a:cubicBezTo>
                    <a:pt x="3110764" y="899067"/>
                    <a:pt x="3160889" y="818445"/>
                    <a:pt x="3208867" y="736600"/>
                  </a:cubicBezTo>
                  <a:cubicBezTo>
                    <a:pt x="3212510" y="696526"/>
                    <a:pt x="3226225" y="619130"/>
                    <a:pt x="3208867" y="575734"/>
                  </a:cubicBezTo>
                  <a:cubicBezTo>
                    <a:pt x="3200363" y="554473"/>
                    <a:pt x="3140904" y="551707"/>
                    <a:pt x="3132667" y="550334"/>
                  </a:cubicBezTo>
                  <a:cubicBezTo>
                    <a:pt x="3045178" y="558801"/>
                    <a:pt x="2955584" y="554862"/>
                    <a:pt x="2870200" y="575734"/>
                  </a:cubicBezTo>
                  <a:cubicBezTo>
                    <a:pt x="2825995" y="586540"/>
                    <a:pt x="2791937" y="622272"/>
                    <a:pt x="2751667" y="643467"/>
                  </a:cubicBezTo>
                  <a:cubicBezTo>
                    <a:pt x="2602321" y="722070"/>
                    <a:pt x="2480528" y="766864"/>
                    <a:pt x="2345267" y="872067"/>
                  </a:cubicBezTo>
                  <a:cubicBezTo>
                    <a:pt x="2280663" y="922315"/>
                    <a:pt x="2219863" y="978525"/>
                    <a:pt x="2167467" y="1041400"/>
                  </a:cubicBezTo>
                  <a:cubicBezTo>
                    <a:pt x="2061787" y="1168216"/>
                    <a:pt x="1962327" y="1346080"/>
                    <a:pt x="1896534" y="1498600"/>
                  </a:cubicBezTo>
                  <a:cubicBezTo>
                    <a:pt x="1866832" y="1567455"/>
                    <a:pt x="1845734" y="1639711"/>
                    <a:pt x="1820334" y="1710267"/>
                  </a:cubicBezTo>
                  <a:cubicBezTo>
                    <a:pt x="1859845" y="1938867"/>
                    <a:pt x="1872757" y="2173697"/>
                    <a:pt x="1938867" y="2396067"/>
                  </a:cubicBezTo>
                  <a:cubicBezTo>
                    <a:pt x="1967426" y="2492130"/>
                    <a:pt x="2033379" y="2574962"/>
                    <a:pt x="2099734" y="2650067"/>
                  </a:cubicBezTo>
                  <a:cubicBezTo>
                    <a:pt x="2291327" y="2866925"/>
                    <a:pt x="2499115" y="3069278"/>
                    <a:pt x="2709334" y="3268134"/>
                  </a:cubicBezTo>
                  <a:cubicBezTo>
                    <a:pt x="2813756" y="3366912"/>
                    <a:pt x="2911669" y="3473060"/>
                    <a:pt x="3022600" y="3564467"/>
                  </a:cubicBezTo>
                  <a:cubicBezTo>
                    <a:pt x="3362775" y="3844771"/>
                    <a:pt x="3799412" y="4188318"/>
                    <a:pt x="4199467" y="4419600"/>
                  </a:cubicBezTo>
                  <a:cubicBezTo>
                    <a:pt x="5014748" y="4890935"/>
                    <a:pt x="4592122" y="4645170"/>
                    <a:pt x="5105400" y="4868334"/>
                  </a:cubicBezTo>
                  <a:cubicBezTo>
                    <a:pt x="5294944" y="4950744"/>
                    <a:pt x="5179617" y="4923816"/>
                    <a:pt x="5283200" y="4944534"/>
                  </a:cubicBezTo>
                  <a:cubicBezTo>
                    <a:pt x="5162941" y="4964576"/>
                    <a:pt x="5156661" y="4971180"/>
                    <a:pt x="4969934" y="4910667"/>
                  </a:cubicBezTo>
                  <a:cubicBezTo>
                    <a:pt x="4223468" y="4668757"/>
                    <a:pt x="4507676" y="4717454"/>
                    <a:pt x="3937000" y="4478867"/>
                  </a:cubicBezTo>
                  <a:cubicBezTo>
                    <a:pt x="3647996" y="4358041"/>
                    <a:pt x="2753597" y="3986333"/>
                    <a:pt x="2311400" y="3852334"/>
                  </a:cubicBezTo>
                  <a:cubicBezTo>
                    <a:pt x="2017184" y="3763177"/>
                    <a:pt x="1722038" y="3675569"/>
                    <a:pt x="1422400" y="3606800"/>
                  </a:cubicBezTo>
                  <a:cubicBezTo>
                    <a:pt x="883757" y="3483177"/>
                    <a:pt x="1081201" y="3510176"/>
                    <a:pt x="838200" y="3479800"/>
                  </a:cubicBezTo>
                  <a:cubicBezTo>
                    <a:pt x="860778" y="3460045"/>
                    <a:pt x="879555" y="3434823"/>
                    <a:pt x="905934" y="3420534"/>
                  </a:cubicBezTo>
                  <a:cubicBezTo>
                    <a:pt x="982413" y="3379108"/>
                    <a:pt x="1280605" y="3300475"/>
                    <a:pt x="1312334" y="3293534"/>
                  </a:cubicBezTo>
                  <a:cubicBezTo>
                    <a:pt x="1582143" y="3234513"/>
                    <a:pt x="1852907" y="3179281"/>
                    <a:pt x="2125134" y="3132667"/>
                  </a:cubicBezTo>
                  <a:cubicBezTo>
                    <a:pt x="2265219" y="3108680"/>
                    <a:pt x="2407249" y="3097881"/>
                    <a:pt x="2548467" y="3081867"/>
                  </a:cubicBezTo>
                  <a:cubicBezTo>
                    <a:pt x="3025912" y="3027724"/>
                    <a:pt x="2865388" y="3042981"/>
                    <a:pt x="3344334" y="3022600"/>
                  </a:cubicBezTo>
                  <a:cubicBezTo>
                    <a:pt x="3423356" y="3014133"/>
                    <a:pt x="3502593" y="3007479"/>
                    <a:pt x="3581400" y="2997200"/>
                  </a:cubicBezTo>
                  <a:cubicBezTo>
                    <a:pt x="3632468" y="2990539"/>
                    <a:pt x="3683130" y="2981013"/>
                    <a:pt x="3733800" y="2971800"/>
                  </a:cubicBezTo>
                  <a:cubicBezTo>
                    <a:pt x="3745249" y="2969718"/>
                    <a:pt x="3779303" y="2963334"/>
                    <a:pt x="3767667" y="2963334"/>
                  </a:cubicBezTo>
                  <a:cubicBezTo>
                    <a:pt x="3747711" y="2963334"/>
                    <a:pt x="3728056" y="2968352"/>
                    <a:pt x="3708400" y="2971800"/>
                  </a:cubicBezTo>
                  <a:cubicBezTo>
                    <a:pt x="3567178" y="2996576"/>
                    <a:pt x="3427800" y="3034406"/>
                    <a:pt x="3285067" y="3048000"/>
                  </a:cubicBezTo>
                  <a:cubicBezTo>
                    <a:pt x="3166534" y="3059289"/>
                    <a:pt x="3048385" y="3075854"/>
                    <a:pt x="2929467" y="3081867"/>
                  </a:cubicBezTo>
                  <a:cubicBezTo>
                    <a:pt x="2545875" y="3101262"/>
                    <a:pt x="1778000" y="3124200"/>
                    <a:pt x="1778000" y="3124200"/>
                  </a:cubicBezTo>
                  <a:cubicBezTo>
                    <a:pt x="1687689" y="3110089"/>
                    <a:pt x="1543074" y="3165883"/>
                    <a:pt x="1507067" y="3081867"/>
                  </a:cubicBezTo>
                  <a:cubicBezTo>
                    <a:pt x="1476479" y="3010496"/>
                    <a:pt x="1652383" y="3026449"/>
                    <a:pt x="1727200" y="3005667"/>
                  </a:cubicBezTo>
                  <a:cubicBezTo>
                    <a:pt x="1855813" y="2969941"/>
                    <a:pt x="1985229" y="2935809"/>
                    <a:pt x="2116667" y="2912534"/>
                  </a:cubicBezTo>
                  <a:cubicBezTo>
                    <a:pt x="2490077" y="2846409"/>
                    <a:pt x="2722896" y="2855712"/>
                    <a:pt x="3115734" y="2844800"/>
                  </a:cubicBezTo>
                  <a:lnTo>
                    <a:pt x="3759200" y="2827867"/>
                  </a:lnTo>
                  <a:cubicBezTo>
                    <a:pt x="4250267" y="2833511"/>
                    <a:pt x="4741574" y="2828439"/>
                    <a:pt x="5232400" y="2844800"/>
                  </a:cubicBezTo>
                  <a:cubicBezTo>
                    <a:pt x="5252740" y="2845478"/>
                    <a:pt x="5274098" y="2860464"/>
                    <a:pt x="5283200" y="2878667"/>
                  </a:cubicBezTo>
                  <a:cubicBezTo>
                    <a:pt x="5304624" y="2921515"/>
                    <a:pt x="5215908" y="2998739"/>
                    <a:pt x="5207000" y="3005667"/>
                  </a:cubicBezTo>
                  <a:cubicBezTo>
                    <a:pt x="5082348" y="3102619"/>
                    <a:pt x="4883039" y="3184804"/>
                    <a:pt x="4758267" y="3259667"/>
                  </a:cubicBezTo>
                  <a:cubicBezTo>
                    <a:pt x="4138282" y="3631658"/>
                    <a:pt x="4440376" y="3590620"/>
                    <a:pt x="3403600" y="3953934"/>
                  </a:cubicBezTo>
                  <a:cubicBezTo>
                    <a:pt x="3073400" y="4069645"/>
                    <a:pt x="2735830" y="4166153"/>
                    <a:pt x="2413000" y="4301067"/>
                  </a:cubicBezTo>
                  <a:cubicBezTo>
                    <a:pt x="2223911" y="4380089"/>
                    <a:pt x="2025647" y="4440000"/>
                    <a:pt x="1845734" y="4538134"/>
                  </a:cubicBezTo>
                  <a:cubicBezTo>
                    <a:pt x="1814689" y="4555067"/>
                    <a:pt x="1784597" y="4573877"/>
                    <a:pt x="1752600" y="4588934"/>
                  </a:cubicBezTo>
                  <a:cubicBezTo>
                    <a:pt x="1736450" y="4596534"/>
                    <a:pt x="1714421" y="4618489"/>
                    <a:pt x="1701800" y="4605867"/>
                  </a:cubicBezTo>
                  <a:cubicBezTo>
                    <a:pt x="1690164" y="4594230"/>
                    <a:pt x="1731639" y="4591177"/>
                    <a:pt x="1744134" y="4580467"/>
                  </a:cubicBezTo>
                  <a:cubicBezTo>
                    <a:pt x="1791129" y="4540186"/>
                    <a:pt x="1831596" y="4492540"/>
                    <a:pt x="1879600" y="4453467"/>
                  </a:cubicBezTo>
                  <a:cubicBezTo>
                    <a:pt x="1953145" y="4393605"/>
                    <a:pt x="2038659" y="4348604"/>
                    <a:pt x="2108200" y="4284134"/>
                  </a:cubicBezTo>
                  <a:cubicBezTo>
                    <a:pt x="2310157" y="4096903"/>
                    <a:pt x="2476876" y="3871374"/>
                    <a:pt x="2692400" y="3699934"/>
                  </a:cubicBezTo>
                  <a:cubicBezTo>
                    <a:pt x="4390442" y="2349219"/>
                    <a:pt x="2490678" y="3870555"/>
                    <a:pt x="4165600" y="2497667"/>
                  </a:cubicBezTo>
                  <a:cubicBezTo>
                    <a:pt x="4277268" y="2406135"/>
                    <a:pt x="4602440" y="2152309"/>
                    <a:pt x="4741334" y="2074334"/>
                  </a:cubicBezTo>
                  <a:cubicBezTo>
                    <a:pt x="4807596" y="2037134"/>
                    <a:pt x="4953000" y="1989667"/>
                    <a:pt x="4953000" y="1989667"/>
                  </a:cubicBezTo>
                  <a:cubicBezTo>
                    <a:pt x="4965396" y="2126022"/>
                    <a:pt x="4971238" y="2068468"/>
                    <a:pt x="4919134" y="2235200"/>
                  </a:cubicBezTo>
                  <a:cubicBezTo>
                    <a:pt x="4849241" y="2458857"/>
                    <a:pt x="4807646" y="2573018"/>
                    <a:pt x="4707467" y="2794000"/>
                  </a:cubicBezTo>
                  <a:cubicBezTo>
                    <a:pt x="4580171" y="3074801"/>
                    <a:pt x="4527695" y="3181079"/>
                    <a:pt x="4343400" y="3429000"/>
                  </a:cubicBezTo>
                  <a:cubicBezTo>
                    <a:pt x="4056783" y="3814568"/>
                    <a:pt x="3896626" y="4049588"/>
                    <a:pt x="3572934" y="4343400"/>
                  </a:cubicBezTo>
                  <a:cubicBezTo>
                    <a:pt x="3480891" y="4426947"/>
                    <a:pt x="3379447" y="4499570"/>
                    <a:pt x="3285067" y="4580467"/>
                  </a:cubicBezTo>
                  <a:cubicBezTo>
                    <a:pt x="3221357" y="4635075"/>
                    <a:pt x="3166662" y="4700446"/>
                    <a:pt x="3098800" y="4749800"/>
                  </a:cubicBezTo>
                  <a:cubicBezTo>
                    <a:pt x="2959792" y="4850896"/>
                    <a:pt x="2938689" y="4845364"/>
                    <a:pt x="2802467" y="4876800"/>
                  </a:cubicBezTo>
                  <a:cubicBezTo>
                    <a:pt x="2734734" y="4862689"/>
                    <a:pt x="2664125" y="4858557"/>
                    <a:pt x="2599267" y="4834467"/>
                  </a:cubicBezTo>
                  <a:cubicBezTo>
                    <a:pt x="2512319" y="4802172"/>
                    <a:pt x="2420575" y="4662274"/>
                    <a:pt x="2379134" y="4605867"/>
                  </a:cubicBezTo>
                  <a:cubicBezTo>
                    <a:pt x="2267772" y="4454291"/>
                    <a:pt x="2142686" y="4280457"/>
                    <a:pt x="2065867" y="4106334"/>
                  </a:cubicBezTo>
                  <a:cubicBezTo>
                    <a:pt x="2018664" y="3999340"/>
                    <a:pt x="1986845" y="3886201"/>
                    <a:pt x="1947334" y="3776134"/>
                  </a:cubicBezTo>
                  <a:cubicBezTo>
                    <a:pt x="1916289" y="3561645"/>
                    <a:pt x="1879866" y="3347866"/>
                    <a:pt x="1854200" y="3132667"/>
                  </a:cubicBezTo>
                  <a:cubicBezTo>
                    <a:pt x="1825676" y="2893508"/>
                    <a:pt x="1839230" y="2621757"/>
                    <a:pt x="1845734" y="2387600"/>
                  </a:cubicBezTo>
                  <a:cubicBezTo>
                    <a:pt x="1847068" y="2339558"/>
                    <a:pt x="1843393" y="2290497"/>
                    <a:pt x="1854200" y="2243667"/>
                  </a:cubicBezTo>
                  <a:cubicBezTo>
                    <a:pt x="1858946" y="2223101"/>
                    <a:pt x="1893873" y="2160774"/>
                    <a:pt x="1921934" y="2142067"/>
                  </a:cubicBezTo>
                  <a:cubicBezTo>
                    <a:pt x="1929360" y="2137116"/>
                    <a:pt x="1938867" y="2136422"/>
                    <a:pt x="1947334" y="2133600"/>
                  </a:cubicBezTo>
                  <a:cubicBezTo>
                    <a:pt x="1967089" y="2139245"/>
                    <a:pt x="1989505" y="2139137"/>
                    <a:pt x="2006600" y="2150534"/>
                  </a:cubicBezTo>
                  <a:cubicBezTo>
                    <a:pt x="2033167" y="2168246"/>
                    <a:pt x="2052342" y="2195118"/>
                    <a:pt x="2074334" y="2218267"/>
                  </a:cubicBezTo>
                  <a:cubicBezTo>
                    <a:pt x="2159596" y="2308016"/>
                    <a:pt x="2242200" y="2400287"/>
                    <a:pt x="2328334" y="2489200"/>
                  </a:cubicBezTo>
                  <a:cubicBezTo>
                    <a:pt x="2417200" y="2580933"/>
                    <a:pt x="2518390" y="2661285"/>
                    <a:pt x="2599267" y="2760134"/>
                  </a:cubicBezTo>
                  <a:cubicBezTo>
                    <a:pt x="2802467" y="3008489"/>
                    <a:pt x="3019104" y="3246432"/>
                    <a:pt x="3208867" y="3505200"/>
                  </a:cubicBezTo>
                  <a:cubicBezTo>
                    <a:pt x="4403978" y="5134896"/>
                    <a:pt x="3194173" y="3538371"/>
                    <a:pt x="4224867" y="4775200"/>
                  </a:cubicBezTo>
                  <a:cubicBezTo>
                    <a:pt x="4323645" y="4893733"/>
                    <a:pt x="4275667" y="4848577"/>
                    <a:pt x="4360334" y="4919134"/>
                  </a:cubicBezTo>
                  <a:cubicBezTo>
                    <a:pt x="4337756" y="4924778"/>
                    <a:pt x="4315873" y="4936067"/>
                    <a:pt x="4292600" y="4936067"/>
                  </a:cubicBezTo>
                  <a:cubicBezTo>
                    <a:pt x="4211260" y="4936067"/>
                    <a:pt x="4114786" y="4893727"/>
                    <a:pt x="4047067" y="4859867"/>
                  </a:cubicBezTo>
                  <a:cubicBezTo>
                    <a:pt x="3980377" y="4826522"/>
                    <a:pt x="3914179" y="4791450"/>
                    <a:pt x="3852334" y="4749800"/>
                  </a:cubicBezTo>
                  <a:cubicBezTo>
                    <a:pt x="3735485" y="4671106"/>
                    <a:pt x="3450369" y="4435555"/>
                    <a:pt x="3369734" y="4343400"/>
                  </a:cubicBezTo>
                  <a:cubicBezTo>
                    <a:pt x="3229228" y="4182821"/>
                    <a:pt x="3110089" y="4004733"/>
                    <a:pt x="2980267" y="3835400"/>
                  </a:cubicBezTo>
                  <a:cubicBezTo>
                    <a:pt x="2923209" y="3645207"/>
                    <a:pt x="2876101" y="3564726"/>
                    <a:pt x="2895600" y="3369734"/>
                  </a:cubicBezTo>
                  <a:cubicBezTo>
                    <a:pt x="2908435" y="3241383"/>
                    <a:pt x="2923118" y="3111296"/>
                    <a:pt x="2963334" y="2988734"/>
                  </a:cubicBezTo>
                  <a:cubicBezTo>
                    <a:pt x="2999123" y="2879663"/>
                    <a:pt x="3203926" y="2691276"/>
                    <a:pt x="3276600" y="2641600"/>
                  </a:cubicBezTo>
                  <a:cubicBezTo>
                    <a:pt x="3424857" y="2540260"/>
                    <a:pt x="3578229" y="2443753"/>
                    <a:pt x="3742267" y="2370667"/>
                  </a:cubicBezTo>
                  <a:cubicBezTo>
                    <a:pt x="4007844" y="2252341"/>
                    <a:pt x="4245978" y="2244465"/>
                    <a:pt x="4529667" y="2226734"/>
                  </a:cubicBezTo>
                  <a:cubicBezTo>
                    <a:pt x="4667802" y="2218101"/>
                    <a:pt x="4806245" y="2215445"/>
                    <a:pt x="4944534" y="2209800"/>
                  </a:cubicBezTo>
                  <a:cubicBezTo>
                    <a:pt x="5071534" y="2218267"/>
                    <a:pt x="5200530" y="2211227"/>
                    <a:pt x="5325534" y="2235200"/>
                  </a:cubicBezTo>
                  <a:cubicBezTo>
                    <a:pt x="5496752" y="2268037"/>
                    <a:pt x="5568056" y="2332085"/>
                    <a:pt x="5698067" y="2421467"/>
                  </a:cubicBezTo>
                  <a:cubicBezTo>
                    <a:pt x="5845345" y="2647293"/>
                    <a:pt x="5813284" y="2539606"/>
                    <a:pt x="5842000" y="2726267"/>
                  </a:cubicBezTo>
                  <a:cubicBezTo>
                    <a:pt x="5827889" y="2816578"/>
                    <a:pt x="5831186" y="2911399"/>
                    <a:pt x="5799667" y="2997200"/>
                  </a:cubicBezTo>
                  <a:cubicBezTo>
                    <a:pt x="5778841" y="3053894"/>
                    <a:pt x="5733407" y="3099554"/>
                    <a:pt x="5689600" y="3141134"/>
                  </a:cubicBezTo>
                  <a:cubicBezTo>
                    <a:pt x="5522705" y="3299544"/>
                    <a:pt x="5297547" y="3520454"/>
                    <a:pt x="5054600" y="3589867"/>
                  </a:cubicBezTo>
                  <a:cubicBezTo>
                    <a:pt x="4863544" y="3644454"/>
                    <a:pt x="4665133" y="3668889"/>
                    <a:pt x="4470400" y="3708400"/>
                  </a:cubicBezTo>
                  <a:cubicBezTo>
                    <a:pt x="4343400" y="3688645"/>
                    <a:pt x="4213678" y="3681911"/>
                    <a:pt x="4089400" y="3649134"/>
                  </a:cubicBezTo>
                  <a:cubicBezTo>
                    <a:pt x="3822183" y="3578659"/>
                    <a:pt x="3537993" y="3438455"/>
                    <a:pt x="3310467" y="3285067"/>
                  </a:cubicBezTo>
                  <a:cubicBezTo>
                    <a:pt x="2972638" y="3057318"/>
                    <a:pt x="2527257" y="2605352"/>
                    <a:pt x="2277534" y="2362200"/>
                  </a:cubicBezTo>
                  <a:cubicBezTo>
                    <a:pt x="1939435" y="2032999"/>
                    <a:pt x="2031896" y="2138514"/>
                    <a:pt x="1811867" y="1786467"/>
                  </a:cubicBezTo>
                  <a:cubicBezTo>
                    <a:pt x="1794934" y="1701800"/>
                    <a:pt x="1754445" y="1618556"/>
                    <a:pt x="1761067" y="1532467"/>
                  </a:cubicBezTo>
                  <a:cubicBezTo>
                    <a:pt x="1769008" y="1429231"/>
                    <a:pt x="1808724" y="1329154"/>
                    <a:pt x="1854200" y="1236134"/>
                  </a:cubicBezTo>
                  <a:cubicBezTo>
                    <a:pt x="1872627" y="1198442"/>
                    <a:pt x="1909808" y="1170230"/>
                    <a:pt x="1947334" y="1151467"/>
                  </a:cubicBezTo>
                  <a:cubicBezTo>
                    <a:pt x="2057291" y="1096489"/>
                    <a:pt x="2192212" y="1084678"/>
                    <a:pt x="2311400" y="1066800"/>
                  </a:cubicBezTo>
                  <a:lnTo>
                    <a:pt x="2802467" y="1075267"/>
                  </a:lnTo>
                  <a:cubicBezTo>
                    <a:pt x="2889638" y="1084182"/>
                    <a:pt x="2976576" y="1107005"/>
                    <a:pt x="3056467" y="1143000"/>
                  </a:cubicBezTo>
                  <a:cubicBezTo>
                    <a:pt x="3331885" y="1267089"/>
                    <a:pt x="3595169" y="1387709"/>
                    <a:pt x="3784600" y="1625600"/>
                  </a:cubicBezTo>
                  <a:cubicBezTo>
                    <a:pt x="3899063" y="1769344"/>
                    <a:pt x="3957813" y="1926903"/>
                    <a:pt x="4030134" y="2091267"/>
                  </a:cubicBezTo>
                  <a:cubicBezTo>
                    <a:pt x="4045238" y="2483995"/>
                    <a:pt x="4070110" y="2496013"/>
                    <a:pt x="3818467" y="3022600"/>
                  </a:cubicBezTo>
                  <a:cubicBezTo>
                    <a:pt x="3769413" y="3125249"/>
                    <a:pt x="3663815" y="3189707"/>
                    <a:pt x="3581400" y="3268134"/>
                  </a:cubicBezTo>
                  <a:cubicBezTo>
                    <a:pt x="3443855" y="3399024"/>
                    <a:pt x="3184045" y="3626219"/>
                    <a:pt x="3014134" y="3725334"/>
                  </a:cubicBezTo>
                  <a:cubicBezTo>
                    <a:pt x="2909423" y="3786415"/>
                    <a:pt x="2798247" y="3837388"/>
                    <a:pt x="2683934" y="3877734"/>
                  </a:cubicBezTo>
                  <a:cubicBezTo>
                    <a:pt x="2377743" y="3985802"/>
                    <a:pt x="2250836" y="3984528"/>
                    <a:pt x="1938867" y="4021667"/>
                  </a:cubicBezTo>
                  <a:cubicBezTo>
                    <a:pt x="1746956" y="4001911"/>
                    <a:pt x="1551702" y="4003172"/>
                    <a:pt x="1363134" y="3962400"/>
                  </a:cubicBezTo>
                  <a:cubicBezTo>
                    <a:pt x="1333296" y="3955949"/>
                    <a:pt x="1309171" y="3916563"/>
                    <a:pt x="1312334" y="3886200"/>
                  </a:cubicBezTo>
                  <a:cubicBezTo>
                    <a:pt x="1324182" y="3772455"/>
                    <a:pt x="1363286" y="3662297"/>
                    <a:pt x="1405467" y="3556000"/>
                  </a:cubicBezTo>
                  <a:cubicBezTo>
                    <a:pt x="1508902" y="3295343"/>
                    <a:pt x="1930556" y="2886791"/>
                    <a:pt x="2057400" y="2810934"/>
                  </a:cubicBezTo>
                  <a:cubicBezTo>
                    <a:pt x="2345267" y="2638778"/>
                    <a:pt x="2619920" y="2442303"/>
                    <a:pt x="2921000" y="2294467"/>
                  </a:cubicBezTo>
                  <a:cubicBezTo>
                    <a:pt x="3094046" y="2209498"/>
                    <a:pt x="3285241" y="2167004"/>
                    <a:pt x="3471334" y="2116667"/>
                  </a:cubicBezTo>
                  <a:cubicBezTo>
                    <a:pt x="3906110" y="1999064"/>
                    <a:pt x="3903326" y="2017536"/>
                    <a:pt x="4301067" y="1998134"/>
                  </a:cubicBezTo>
                  <a:cubicBezTo>
                    <a:pt x="4466195" y="2019440"/>
                    <a:pt x="4568996" y="2003434"/>
                    <a:pt x="4699000" y="2099734"/>
                  </a:cubicBezTo>
                  <a:cubicBezTo>
                    <a:pt x="4735917" y="2127080"/>
                    <a:pt x="4761089" y="2167467"/>
                    <a:pt x="4792134" y="2201334"/>
                  </a:cubicBezTo>
                  <a:cubicBezTo>
                    <a:pt x="4817534" y="2266245"/>
                    <a:pt x="4851428" y="2328445"/>
                    <a:pt x="4868334" y="2396067"/>
                  </a:cubicBezTo>
                  <a:cubicBezTo>
                    <a:pt x="4936361" y="2668174"/>
                    <a:pt x="4785898" y="3092035"/>
                    <a:pt x="4707467" y="3268134"/>
                  </a:cubicBezTo>
                  <a:cubicBezTo>
                    <a:pt x="4666764" y="3359524"/>
                    <a:pt x="4243875" y="3778407"/>
                    <a:pt x="4165600" y="3852334"/>
                  </a:cubicBezTo>
                  <a:cubicBezTo>
                    <a:pt x="3953599" y="4052557"/>
                    <a:pt x="3766835" y="4286397"/>
                    <a:pt x="3522134" y="4445000"/>
                  </a:cubicBezTo>
                  <a:cubicBezTo>
                    <a:pt x="3354560" y="4553613"/>
                    <a:pt x="2844611" y="4898105"/>
                    <a:pt x="2641600" y="4978400"/>
                  </a:cubicBezTo>
                  <a:cubicBezTo>
                    <a:pt x="2159951" y="5168903"/>
                    <a:pt x="2125575" y="5165670"/>
                    <a:pt x="1794934" y="5207000"/>
                  </a:cubicBezTo>
                  <a:cubicBezTo>
                    <a:pt x="1728972" y="5180616"/>
                    <a:pt x="1719493" y="5192490"/>
                    <a:pt x="1820334" y="5105400"/>
                  </a:cubicBezTo>
                  <a:cubicBezTo>
                    <a:pt x="2041853" y="4914088"/>
                    <a:pt x="2278193" y="4740254"/>
                    <a:pt x="2497667" y="4546600"/>
                  </a:cubicBezTo>
                  <a:cubicBezTo>
                    <a:pt x="2593623" y="4461933"/>
                    <a:pt x="2684570" y="4371227"/>
                    <a:pt x="2785534" y="4292600"/>
                  </a:cubicBezTo>
                  <a:cubicBezTo>
                    <a:pt x="3003758" y="4122655"/>
                    <a:pt x="3250011" y="3987889"/>
                    <a:pt x="3454400" y="3801534"/>
                  </a:cubicBezTo>
                  <a:cubicBezTo>
                    <a:pt x="4078146" y="3232825"/>
                    <a:pt x="3815797" y="3423252"/>
                    <a:pt x="4191000" y="3166534"/>
                  </a:cubicBezTo>
                  <a:cubicBezTo>
                    <a:pt x="4210756" y="3138312"/>
                    <a:pt x="4250267" y="3116317"/>
                    <a:pt x="4250267" y="3081867"/>
                  </a:cubicBezTo>
                  <a:cubicBezTo>
                    <a:pt x="4250267" y="3061321"/>
                    <a:pt x="4211546" y="3064934"/>
                    <a:pt x="4191000" y="3064934"/>
                  </a:cubicBezTo>
                  <a:cubicBezTo>
                    <a:pt x="4117406" y="3064934"/>
                    <a:pt x="4044245" y="3076223"/>
                    <a:pt x="3970867" y="3081867"/>
                  </a:cubicBezTo>
                  <a:cubicBezTo>
                    <a:pt x="3556000" y="3062111"/>
                    <a:pt x="3140626" y="3051087"/>
                    <a:pt x="2726267" y="3022600"/>
                  </a:cubicBezTo>
                  <a:cubicBezTo>
                    <a:pt x="2687971" y="3019967"/>
                    <a:pt x="2652142" y="3002212"/>
                    <a:pt x="2616200" y="2988734"/>
                  </a:cubicBezTo>
                  <a:cubicBezTo>
                    <a:pt x="2560546" y="2967864"/>
                    <a:pt x="2529523" y="2955562"/>
                    <a:pt x="2489200" y="2921000"/>
                  </a:cubicBezTo>
                  <a:cubicBezTo>
                    <a:pt x="2480109" y="2913208"/>
                    <a:pt x="2472267" y="2904067"/>
                    <a:pt x="2463800" y="2895600"/>
                  </a:cubicBezTo>
                  <a:cubicBezTo>
                    <a:pt x="2475779" y="2787796"/>
                    <a:pt x="2456917" y="2821738"/>
                    <a:pt x="2556934" y="2726267"/>
                  </a:cubicBezTo>
                  <a:cubicBezTo>
                    <a:pt x="2650864" y="2636607"/>
                    <a:pt x="2740917" y="2541711"/>
                    <a:pt x="2844800" y="2463800"/>
                  </a:cubicBezTo>
                  <a:cubicBezTo>
                    <a:pt x="2883340" y="2434896"/>
                    <a:pt x="2937212" y="2396788"/>
                    <a:pt x="2971800" y="2362200"/>
                  </a:cubicBezTo>
                  <a:cubicBezTo>
                    <a:pt x="2978995" y="2355005"/>
                    <a:pt x="2983089" y="2345267"/>
                    <a:pt x="2988734" y="2336800"/>
                  </a:cubicBezTo>
                  <a:cubicBezTo>
                    <a:pt x="2748845" y="2331156"/>
                    <a:pt x="2508205" y="2339658"/>
                    <a:pt x="2269067" y="2319867"/>
                  </a:cubicBezTo>
                  <a:cubicBezTo>
                    <a:pt x="2097983" y="2305708"/>
                    <a:pt x="1761067" y="2235200"/>
                    <a:pt x="1761067" y="2235200"/>
                  </a:cubicBezTo>
                  <a:cubicBezTo>
                    <a:pt x="1701800" y="2212622"/>
                    <a:pt x="1634558" y="2204770"/>
                    <a:pt x="1583267" y="2167467"/>
                  </a:cubicBezTo>
                  <a:cubicBezTo>
                    <a:pt x="1558128" y="2149184"/>
                    <a:pt x="1581302" y="2058548"/>
                    <a:pt x="1591734" y="2040467"/>
                  </a:cubicBezTo>
                  <a:cubicBezTo>
                    <a:pt x="1631626" y="1971322"/>
                    <a:pt x="1717963" y="1852824"/>
                    <a:pt x="1778000" y="1786467"/>
                  </a:cubicBezTo>
                  <a:cubicBezTo>
                    <a:pt x="1847274" y="1709901"/>
                    <a:pt x="1914101" y="1655188"/>
                    <a:pt x="1998134" y="1591734"/>
                  </a:cubicBezTo>
                  <a:cubicBezTo>
                    <a:pt x="2090036" y="1522339"/>
                    <a:pt x="2177213" y="1445079"/>
                    <a:pt x="2277534" y="1388534"/>
                  </a:cubicBezTo>
                  <a:cubicBezTo>
                    <a:pt x="2334295" y="1356542"/>
                    <a:pt x="2401151" y="1347167"/>
                    <a:pt x="2463800" y="1329267"/>
                  </a:cubicBezTo>
                  <a:cubicBezTo>
                    <a:pt x="2549105" y="1304894"/>
                    <a:pt x="2596722" y="1300351"/>
                    <a:pt x="2683934" y="1286934"/>
                  </a:cubicBezTo>
                  <a:cubicBezTo>
                    <a:pt x="3031276" y="1356402"/>
                    <a:pt x="2897951" y="1308054"/>
                    <a:pt x="3369734" y="1794934"/>
                  </a:cubicBezTo>
                  <a:cubicBezTo>
                    <a:pt x="3696618" y="2132279"/>
                    <a:pt x="3902087" y="2425933"/>
                    <a:pt x="4123267" y="2819400"/>
                  </a:cubicBezTo>
                  <a:cubicBezTo>
                    <a:pt x="4312001" y="3155148"/>
                    <a:pt x="4505248" y="3488983"/>
                    <a:pt x="4673600" y="3835400"/>
                  </a:cubicBezTo>
                  <a:cubicBezTo>
                    <a:pt x="4799141" y="4093726"/>
                    <a:pt x="4893024" y="4366273"/>
                    <a:pt x="5003800" y="4631267"/>
                  </a:cubicBezTo>
                  <a:cubicBezTo>
                    <a:pt x="5036959" y="4710589"/>
                    <a:pt x="5072202" y="4789028"/>
                    <a:pt x="5105400" y="4868334"/>
                  </a:cubicBezTo>
                  <a:cubicBezTo>
                    <a:pt x="5123006" y="4910392"/>
                    <a:pt x="5147258" y="4950625"/>
                    <a:pt x="5156200" y="4995334"/>
                  </a:cubicBezTo>
                  <a:cubicBezTo>
                    <a:pt x="5161845" y="5023556"/>
                    <a:pt x="5201626" y="5075930"/>
                    <a:pt x="5173134" y="5080000"/>
                  </a:cubicBezTo>
                  <a:cubicBezTo>
                    <a:pt x="5123156" y="5087140"/>
                    <a:pt x="5082823" y="5034845"/>
                    <a:pt x="5037667" y="5012267"/>
                  </a:cubicBezTo>
                  <a:cubicBezTo>
                    <a:pt x="3707713" y="3431379"/>
                    <a:pt x="4548562" y="4515500"/>
                    <a:pt x="3505200" y="2980267"/>
                  </a:cubicBezTo>
                  <a:cubicBezTo>
                    <a:pt x="3326506" y="2717331"/>
                    <a:pt x="3083355" y="2492122"/>
                    <a:pt x="2954867" y="2201334"/>
                  </a:cubicBezTo>
                  <a:lnTo>
                    <a:pt x="2794000" y="1837267"/>
                  </a:lnTo>
                  <a:cubicBezTo>
                    <a:pt x="2791178" y="1817511"/>
                    <a:pt x="2771423" y="1792111"/>
                    <a:pt x="2785534" y="1778000"/>
                  </a:cubicBezTo>
                  <a:cubicBezTo>
                    <a:pt x="2798156" y="1765379"/>
                    <a:pt x="2822299" y="1783906"/>
                    <a:pt x="2836334" y="1794934"/>
                  </a:cubicBezTo>
                  <a:cubicBezTo>
                    <a:pt x="2863056" y="1815930"/>
                    <a:pt x="2880037" y="1847104"/>
                    <a:pt x="2904067" y="1871134"/>
                  </a:cubicBezTo>
                  <a:cubicBezTo>
                    <a:pt x="2950655" y="1917722"/>
                    <a:pt x="3002857" y="1958610"/>
                    <a:pt x="3048000" y="2006600"/>
                  </a:cubicBezTo>
                  <a:cubicBezTo>
                    <a:pt x="3316222" y="2291736"/>
                    <a:pt x="3579622" y="2581374"/>
                    <a:pt x="3843867" y="2870200"/>
                  </a:cubicBezTo>
                  <a:cubicBezTo>
                    <a:pt x="4088571" y="3137667"/>
                    <a:pt x="4145812" y="3215448"/>
                    <a:pt x="4385734" y="3462867"/>
                  </a:cubicBezTo>
                  <a:cubicBezTo>
                    <a:pt x="4482981" y="3563152"/>
                    <a:pt x="4594478" y="3650378"/>
                    <a:pt x="4682067" y="3759200"/>
                  </a:cubicBezTo>
                  <a:lnTo>
                    <a:pt x="4961467" y="4106334"/>
                  </a:lnTo>
                  <a:cubicBezTo>
                    <a:pt x="4936067" y="4109156"/>
                    <a:pt x="4909232" y="4123676"/>
                    <a:pt x="4885267" y="4114800"/>
                  </a:cubicBezTo>
                  <a:cubicBezTo>
                    <a:pt x="4829438" y="4094123"/>
                    <a:pt x="4782714" y="4054220"/>
                    <a:pt x="4732867" y="4021667"/>
                  </a:cubicBezTo>
                  <a:cubicBezTo>
                    <a:pt x="4644390" y="3963886"/>
                    <a:pt x="4553814" y="3908744"/>
                    <a:pt x="4470400" y="3843867"/>
                  </a:cubicBezTo>
                  <a:cubicBezTo>
                    <a:pt x="4070996" y="3533220"/>
                    <a:pt x="3703879" y="3179540"/>
                    <a:pt x="3285067" y="2895600"/>
                  </a:cubicBezTo>
                  <a:cubicBezTo>
                    <a:pt x="3118556" y="2782711"/>
                    <a:pt x="2940969" y="2684643"/>
                    <a:pt x="2785534" y="2556934"/>
                  </a:cubicBezTo>
                  <a:cubicBezTo>
                    <a:pt x="2417924" y="2254897"/>
                    <a:pt x="2075338" y="1923623"/>
                    <a:pt x="1718734" y="1608667"/>
                  </a:cubicBezTo>
                  <a:cubicBezTo>
                    <a:pt x="1688670" y="1582114"/>
                    <a:pt x="1653963" y="1560831"/>
                    <a:pt x="1625600" y="1532467"/>
                  </a:cubicBezTo>
                  <a:cubicBezTo>
                    <a:pt x="1614311" y="1521178"/>
                    <a:pt x="1606013" y="1505740"/>
                    <a:pt x="1591734" y="1498600"/>
                  </a:cubicBezTo>
                  <a:cubicBezTo>
                    <a:pt x="1582633" y="1494049"/>
                    <a:pt x="1601472" y="1516805"/>
                    <a:pt x="1608667" y="1524000"/>
                  </a:cubicBezTo>
                  <a:cubicBezTo>
                    <a:pt x="1683469" y="1598802"/>
                    <a:pt x="1769795" y="1662658"/>
                    <a:pt x="1837267" y="1744134"/>
                  </a:cubicBezTo>
                  <a:cubicBezTo>
                    <a:pt x="1930808" y="1857089"/>
                    <a:pt x="2712142" y="2789333"/>
                    <a:pt x="2760134" y="2895600"/>
                  </a:cubicBezTo>
                  <a:lnTo>
                    <a:pt x="2997200" y="3420534"/>
                  </a:lnTo>
                  <a:cubicBezTo>
                    <a:pt x="3039831" y="3664691"/>
                    <a:pt x="3146630" y="3875918"/>
                    <a:pt x="3056467" y="4106334"/>
                  </a:cubicBezTo>
                  <a:cubicBezTo>
                    <a:pt x="3049195" y="4124918"/>
                    <a:pt x="3028245" y="4134556"/>
                    <a:pt x="3014134" y="4148667"/>
                  </a:cubicBezTo>
                  <a:cubicBezTo>
                    <a:pt x="3029518" y="4102511"/>
                    <a:pt x="3030876" y="4092315"/>
                    <a:pt x="3073400" y="4038600"/>
                  </a:cubicBezTo>
                  <a:cubicBezTo>
                    <a:pt x="3106867" y="3996325"/>
                    <a:pt x="3148639" y="3961228"/>
                    <a:pt x="3183467" y="3920067"/>
                  </a:cubicBezTo>
                  <a:cubicBezTo>
                    <a:pt x="3241831" y="3851091"/>
                    <a:pt x="3291318" y="3774612"/>
                    <a:pt x="3352800" y="3708400"/>
                  </a:cubicBezTo>
                  <a:cubicBezTo>
                    <a:pt x="3562086" y="3483015"/>
                    <a:pt x="4124475" y="2908206"/>
                    <a:pt x="4385734" y="2743200"/>
                  </a:cubicBezTo>
                  <a:cubicBezTo>
                    <a:pt x="4897849" y="2419759"/>
                    <a:pt x="4683750" y="2484546"/>
                    <a:pt x="4969934" y="2413000"/>
                  </a:cubicBezTo>
                  <a:cubicBezTo>
                    <a:pt x="5097867" y="2540934"/>
                    <a:pt x="5113579" y="2513198"/>
                    <a:pt x="4876800" y="2768600"/>
                  </a:cubicBezTo>
                  <a:cubicBezTo>
                    <a:pt x="3983861" y="3731770"/>
                    <a:pt x="4369360" y="3345253"/>
                    <a:pt x="3589867" y="4097867"/>
                  </a:cubicBezTo>
                  <a:cubicBezTo>
                    <a:pt x="3522376" y="4163030"/>
                    <a:pt x="3468676" y="4247039"/>
                    <a:pt x="3386667" y="4292600"/>
                  </a:cubicBezTo>
                  <a:cubicBezTo>
                    <a:pt x="3361267" y="4306711"/>
                    <a:pt x="3335213" y="4319705"/>
                    <a:pt x="3310467" y="4334934"/>
                  </a:cubicBezTo>
                  <a:cubicBezTo>
                    <a:pt x="3298449" y="4342330"/>
                    <a:pt x="3272137" y="4373721"/>
                    <a:pt x="3276600" y="4360334"/>
                  </a:cubicBezTo>
                  <a:cubicBezTo>
                    <a:pt x="3283571" y="4339423"/>
                    <a:pt x="3303858" y="4325615"/>
                    <a:pt x="3318934" y="4309534"/>
                  </a:cubicBezTo>
                  <a:cubicBezTo>
                    <a:pt x="3473220" y="4144962"/>
                    <a:pt x="3628797" y="3981603"/>
                    <a:pt x="3784600" y="3818467"/>
                  </a:cubicBezTo>
                  <a:cubicBezTo>
                    <a:pt x="4159342" y="3426089"/>
                    <a:pt x="3914245" y="3686521"/>
                    <a:pt x="4284134" y="3310467"/>
                  </a:cubicBezTo>
                  <a:cubicBezTo>
                    <a:pt x="4372307" y="3220824"/>
                    <a:pt x="4459756" y="3130465"/>
                    <a:pt x="4546600" y="3039534"/>
                  </a:cubicBezTo>
                  <a:cubicBezTo>
                    <a:pt x="4699648" y="2879284"/>
                    <a:pt x="4839090" y="2705172"/>
                    <a:pt x="5003800" y="2556934"/>
                  </a:cubicBezTo>
                  <a:cubicBezTo>
                    <a:pt x="5106267" y="2464714"/>
                    <a:pt x="5061619" y="2507582"/>
                    <a:pt x="5139267" y="2429934"/>
                  </a:cubicBezTo>
                  <a:cubicBezTo>
                    <a:pt x="5098501" y="2389165"/>
                    <a:pt x="5118997" y="2400559"/>
                    <a:pt x="5012267" y="2429934"/>
                  </a:cubicBezTo>
                  <a:cubicBezTo>
                    <a:pt x="4740163" y="2504825"/>
                    <a:pt x="4470830" y="2589468"/>
                    <a:pt x="4199467" y="2667000"/>
                  </a:cubicBezTo>
                  <a:cubicBezTo>
                    <a:pt x="3704804" y="2808332"/>
                    <a:pt x="3583413" y="2839281"/>
                    <a:pt x="2997200" y="2929467"/>
                  </a:cubicBezTo>
                  <a:cubicBezTo>
                    <a:pt x="2888092" y="2946253"/>
                    <a:pt x="2777067" y="2946400"/>
                    <a:pt x="2667000" y="2954867"/>
                  </a:cubicBezTo>
                  <a:cubicBezTo>
                    <a:pt x="2510067" y="2981924"/>
                    <a:pt x="2345921" y="3027499"/>
                    <a:pt x="2184400" y="2988734"/>
                  </a:cubicBezTo>
                  <a:cubicBezTo>
                    <a:pt x="2168398" y="2984894"/>
                    <a:pt x="2199980" y="2959606"/>
                    <a:pt x="2209800" y="2946400"/>
                  </a:cubicBezTo>
                  <a:cubicBezTo>
                    <a:pt x="2363721" y="2739404"/>
                    <a:pt x="2521723" y="2535461"/>
                    <a:pt x="2675467" y="2328334"/>
                  </a:cubicBezTo>
                  <a:cubicBezTo>
                    <a:pt x="2753720" y="2222911"/>
                    <a:pt x="2882445" y="2044009"/>
                    <a:pt x="2937934" y="1921934"/>
                  </a:cubicBezTo>
                  <a:cubicBezTo>
                    <a:pt x="2976349" y="1837421"/>
                    <a:pt x="3031067" y="1659467"/>
                    <a:pt x="3031067" y="1659467"/>
                  </a:cubicBezTo>
                  <a:cubicBezTo>
                    <a:pt x="2967685" y="1574957"/>
                    <a:pt x="2996194" y="1589488"/>
                    <a:pt x="2844800" y="1761067"/>
                  </a:cubicBezTo>
                  <a:lnTo>
                    <a:pt x="2717800" y="1905000"/>
                  </a:lnTo>
                  <a:cubicBezTo>
                    <a:pt x="2695222" y="1972733"/>
                    <a:pt x="2648836" y="2036813"/>
                    <a:pt x="2650067" y="2108200"/>
                  </a:cubicBezTo>
                  <a:cubicBezTo>
                    <a:pt x="2651778" y="2207446"/>
                    <a:pt x="2688684" y="2304197"/>
                    <a:pt x="2726267" y="2396067"/>
                  </a:cubicBezTo>
                  <a:cubicBezTo>
                    <a:pt x="2740643" y="2431209"/>
                    <a:pt x="2771570" y="2458665"/>
                    <a:pt x="2802467" y="2480734"/>
                  </a:cubicBezTo>
                  <a:cubicBezTo>
                    <a:pt x="2893430" y="2545707"/>
                    <a:pt x="3133704" y="2636443"/>
                    <a:pt x="3217334" y="2667000"/>
                  </a:cubicBezTo>
                  <a:cubicBezTo>
                    <a:pt x="3425250" y="2742969"/>
                    <a:pt x="3631532" y="2824571"/>
                    <a:pt x="3843867" y="2887134"/>
                  </a:cubicBezTo>
                  <a:cubicBezTo>
                    <a:pt x="3948470" y="2917954"/>
                    <a:pt x="4058783" y="2924451"/>
                    <a:pt x="4165600" y="2946400"/>
                  </a:cubicBezTo>
                  <a:cubicBezTo>
                    <a:pt x="4446469" y="3004113"/>
                    <a:pt x="4661578" y="3063748"/>
                    <a:pt x="4944534" y="3158067"/>
                  </a:cubicBezTo>
                  <a:cubicBezTo>
                    <a:pt x="5056783" y="3195483"/>
                    <a:pt x="5057413" y="3205230"/>
                    <a:pt x="5130800" y="3268134"/>
                  </a:cubicBezTo>
                  <a:cubicBezTo>
                    <a:pt x="5144911" y="3299178"/>
                    <a:pt x="5165736" y="3327978"/>
                    <a:pt x="5173134" y="3361267"/>
                  </a:cubicBezTo>
                  <a:cubicBezTo>
                    <a:pt x="5177463" y="3380748"/>
                    <a:pt x="5176314" y="3404329"/>
                    <a:pt x="5164667" y="3420534"/>
                  </a:cubicBezTo>
                  <a:cubicBezTo>
                    <a:pt x="5109814" y="3496851"/>
                    <a:pt x="5046702" y="3567641"/>
                    <a:pt x="4978400" y="3632200"/>
                  </a:cubicBezTo>
                  <a:cubicBezTo>
                    <a:pt x="4840249" y="3762781"/>
                    <a:pt x="4698218" y="3890065"/>
                    <a:pt x="4546600" y="4004734"/>
                  </a:cubicBezTo>
                  <a:cubicBezTo>
                    <a:pt x="4361803" y="4144497"/>
                    <a:pt x="4174342" y="4283379"/>
                    <a:pt x="3970867" y="4394200"/>
                  </a:cubicBezTo>
                  <a:cubicBezTo>
                    <a:pt x="3728555" y="4526173"/>
                    <a:pt x="3465233" y="4541024"/>
                    <a:pt x="3200400" y="4580467"/>
                  </a:cubicBezTo>
                  <a:cubicBezTo>
                    <a:pt x="2867378" y="4574823"/>
                    <a:pt x="2533821" y="4583237"/>
                    <a:pt x="2201334" y="4563534"/>
                  </a:cubicBezTo>
                  <a:cubicBezTo>
                    <a:pt x="2150545" y="4560524"/>
                    <a:pt x="2101399" y="4538282"/>
                    <a:pt x="2057400" y="4512734"/>
                  </a:cubicBezTo>
                  <a:cubicBezTo>
                    <a:pt x="2012397" y="4486603"/>
                    <a:pt x="1978378" y="4445001"/>
                    <a:pt x="1938867" y="4411134"/>
                  </a:cubicBezTo>
                  <a:cubicBezTo>
                    <a:pt x="1995311" y="4250267"/>
                    <a:pt x="2028662" y="4079325"/>
                    <a:pt x="2108200" y="3928534"/>
                  </a:cubicBezTo>
                  <a:cubicBezTo>
                    <a:pt x="2149904" y="3849470"/>
                    <a:pt x="2525970" y="3433438"/>
                    <a:pt x="2599267" y="3378200"/>
                  </a:cubicBezTo>
                  <a:cubicBezTo>
                    <a:pt x="2817718" y="3213570"/>
                    <a:pt x="3436017" y="2737210"/>
                    <a:pt x="3843867" y="2616200"/>
                  </a:cubicBezTo>
                  <a:cubicBezTo>
                    <a:pt x="3987138" y="2573691"/>
                    <a:pt x="4137378" y="2559756"/>
                    <a:pt x="4284134" y="2531534"/>
                  </a:cubicBezTo>
                  <a:cubicBezTo>
                    <a:pt x="4315178" y="2534356"/>
                    <a:pt x="4347845" y="2529702"/>
                    <a:pt x="4377267" y="2540000"/>
                  </a:cubicBezTo>
                  <a:cubicBezTo>
                    <a:pt x="4457358" y="2568032"/>
                    <a:pt x="4490935" y="2613352"/>
                    <a:pt x="4436534" y="2700867"/>
                  </a:cubicBezTo>
                  <a:cubicBezTo>
                    <a:pt x="4321442" y="2886015"/>
                    <a:pt x="4225162" y="2936090"/>
                    <a:pt x="4038600" y="3031067"/>
                  </a:cubicBezTo>
                  <a:cubicBezTo>
                    <a:pt x="3732004" y="3187152"/>
                    <a:pt x="3509240" y="3237795"/>
                    <a:pt x="3132667" y="3310467"/>
                  </a:cubicBezTo>
                  <a:cubicBezTo>
                    <a:pt x="3032754" y="3329748"/>
                    <a:pt x="2929467" y="3321756"/>
                    <a:pt x="2827867" y="3327400"/>
                  </a:cubicBezTo>
                  <a:cubicBezTo>
                    <a:pt x="2542823" y="3276600"/>
                    <a:pt x="2255439" y="3237521"/>
                    <a:pt x="1972734" y="3175000"/>
                  </a:cubicBezTo>
                  <a:cubicBezTo>
                    <a:pt x="1956666" y="3171447"/>
                    <a:pt x="1945228" y="3148988"/>
                    <a:pt x="1947334" y="3132667"/>
                  </a:cubicBezTo>
                  <a:cubicBezTo>
                    <a:pt x="1956156" y="3064299"/>
                    <a:pt x="2019062" y="2839664"/>
                    <a:pt x="2074334" y="2768600"/>
                  </a:cubicBezTo>
                  <a:cubicBezTo>
                    <a:pt x="2220548" y="2580611"/>
                    <a:pt x="2379242" y="2402447"/>
                    <a:pt x="2540000" y="2226734"/>
                  </a:cubicBezTo>
                  <a:cubicBezTo>
                    <a:pt x="2622182" y="2136907"/>
                    <a:pt x="2711712" y="2053890"/>
                    <a:pt x="2802467" y="1972734"/>
                  </a:cubicBezTo>
                  <a:cubicBezTo>
                    <a:pt x="3015282" y="1782429"/>
                    <a:pt x="3381207" y="1439454"/>
                    <a:pt x="3674534" y="1261534"/>
                  </a:cubicBezTo>
                  <a:cubicBezTo>
                    <a:pt x="3774466" y="1200920"/>
                    <a:pt x="4027766" y="1079434"/>
                    <a:pt x="4148667" y="1032934"/>
                  </a:cubicBezTo>
                  <a:cubicBezTo>
                    <a:pt x="4184007" y="1019342"/>
                    <a:pt x="4083990" y="1075343"/>
                    <a:pt x="4047067" y="1083734"/>
                  </a:cubicBezTo>
                  <a:cubicBezTo>
                    <a:pt x="3260569" y="1262483"/>
                    <a:pt x="3417011" y="1236103"/>
                    <a:pt x="2819400" y="1261534"/>
                  </a:cubicBezTo>
                  <a:cubicBezTo>
                    <a:pt x="2695222" y="1258712"/>
                    <a:pt x="2570767" y="1261839"/>
                    <a:pt x="2446867" y="1253067"/>
                  </a:cubicBezTo>
                  <a:cubicBezTo>
                    <a:pt x="2002989" y="1221642"/>
                    <a:pt x="1982542" y="1213779"/>
                    <a:pt x="1659467" y="1159934"/>
                  </a:cubicBezTo>
                  <a:cubicBezTo>
                    <a:pt x="1603023" y="1134534"/>
                    <a:pt x="1540501" y="1119710"/>
                    <a:pt x="1490134" y="1083734"/>
                  </a:cubicBezTo>
                  <a:cubicBezTo>
                    <a:pt x="1439784" y="1047770"/>
                    <a:pt x="1500454" y="1019598"/>
                    <a:pt x="1515534" y="1007534"/>
                  </a:cubicBezTo>
                  <a:cubicBezTo>
                    <a:pt x="1532746" y="993764"/>
                    <a:pt x="1546474" y="974762"/>
                    <a:pt x="1566334" y="965200"/>
                  </a:cubicBezTo>
                  <a:cubicBezTo>
                    <a:pt x="1623477" y="937687"/>
                    <a:pt x="1684867" y="920045"/>
                    <a:pt x="1744134" y="897467"/>
                  </a:cubicBezTo>
                  <a:cubicBezTo>
                    <a:pt x="1868312" y="911578"/>
                    <a:pt x="2000491" y="893730"/>
                    <a:pt x="2116667" y="939800"/>
                  </a:cubicBezTo>
                  <a:cubicBezTo>
                    <a:pt x="2334036" y="1025998"/>
                    <a:pt x="2537155" y="1149399"/>
                    <a:pt x="2726267" y="1286934"/>
                  </a:cubicBezTo>
                  <a:cubicBezTo>
                    <a:pt x="2788356" y="1332089"/>
                    <a:pt x="2861684" y="1364882"/>
                    <a:pt x="2912534" y="1422400"/>
                  </a:cubicBezTo>
                  <a:cubicBezTo>
                    <a:pt x="3035537" y="1561535"/>
                    <a:pt x="3152246" y="1708961"/>
                    <a:pt x="3242734" y="1871134"/>
                  </a:cubicBezTo>
                  <a:cubicBezTo>
                    <a:pt x="3370770" y="2100600"/>
                    <a:pt x="3455416" y="2351727"/>
                    <a:pt x="3564467" y="2590800"/>
                  </a:cubicBezTo>
                  <a:cubicBezTo>
                    <a:pt x="3602184" y="2673487"/>
                    <a:pt x="3648485" y="2752260"/>
                    <a:pt x="3683000" y="2836334"/>
                  </a:cubicBezTo>
                  <a:cubicBezTo>
                    <a:pt x="3793067" y="3104445"/>
                    <a:pt x="3900499" y="3373653"/>
                    <a:pt x="4013200" y="3640667"/>
                  </a:cubicBezTo>
                  <a:cubicBezTo>
                    <a:pt x="4411910" y="4585300"/>
                    <a:pt x="4099453" y="3799410"/>
                    <a:pt x="4326467" y="4377267"/>
                  </a:cubicBezTo>
                  <a:cubicBezTo>
                    <a:pt x="4356613" y="4558141"/>
                    <a:pt x="4360334" y="4540883"/>
                    <a:pt x="4360334" y="4749800"/>
                  </a:cubicBezTo>
                  <a:cubicBezTo>
                    <a:pt x="4360334" y="4769756"/>
                    <a:pt x="4363375" y="4792763"/>
                    <a:pt x="4351867" y="4809067"/>
                  </a:cubicBezTo>
                  <a:cubicBezTo>
                    <a:pt x="4327672" y="4843343"/>
                    <a:pt x="4292746" y="4869169"/>
                    <a:pt x="4258734" y="4893734"/>
                  </a:cubicBezTo>
                  <a:cubicBezTo>
                    <a:pt x="4241310" y="4906318"/>
                    <a:pt x="4220614" y="4915289"/>
                    <a:pt x="4199467" y="4919134"/>
                  </a:cubicBezTo>
                  <a:cubicBezTo>
                    <a:pt x="4157724" y="4926723"/>
                    <a:pt x="4114800" y="4924778"/>
                    <a:pt x="4072467" y="4927600"/>
                  </a:cubicBezTo>
                  <a:cubicBezTo>
                    <a:pt x="4049889" y="4921956"/>
                    <a:pt x="4024793" y="4922467"/>
                    <a:pt x="4004734" y="4910667"/>
                  </a:cubicBezTo>
                  <a:cubicBezTo>
                    <a:pt x="3975442" y="4893437"/>
                    <a:pt x="3952233" y="4867291"/>
                    <a:pt x="3928534" y="4842934"/>
                  </a:cubicBezTo>
                  <a:cubicBezTo>
                    <a:pt x="3850552" y="4762786"/>
                    <a:pt x="3770506" y="4684145"/>
                    <a:pt x="3699934" y="4597400"/>
                  </a:cubicBezTo>
                  <a:cubicBezTo>
                    <a:pt x="3574235" y="4442895"/>
                    <a:pt x="3283314" y="3967262"/>
                    <a:pt x="3225800" y="3860800"/>
                  </a:cubicBezTo>
                  <a:cubicBezTo>
                    <a:pt x="3182457" y="3780570"/>
                    <a:pt x="3158067" y="3691467"/>
                    <a:pt x="3124200" y="3606800"/>
                  </a:cubicBezTo>
                  <a:cubicBezTo>
                    <a:pt x="3110089" y="3499556"/>
                    <a:pt x="3063221" y="3391616"/>
                    <a:pt x="3081867" y="3285067"/>
                  </a:cubicBezTo>
                  <a:cubicBezTo>
                    <a:pt x="3157602" y="2852297"/>
                    <a:pt x="3428757" y="2775125"/>
                    <a:pt x="3835400" y="2624667"/>
                  </a:cubicBezTo>
                  <a:cubicBezTo>
                    <a:pt x="3914850" y="2595271"/>
                    <a:pt x="4004733" y="2619022"/>
                    <a:pt x="4089400" y="2616200"/>
                  </a:cubicBezTo>
                  <a:cubicBezTo>
                    <a:pt x="4109156" y="2621845"/>
                    <a:pt x="4135514" y="2617350"/>
                    <a:pt x="4148667" y="2633134"/>
                  </a:cubicBezTo>
                  <a:cubicBezTo>
                    <a:pt x="4167530" y="2655769"/>
                    <a:pt x="4170983" y="2688497"/>
                    <a:pt x="4174067" y="2717800"/>
                  </a:cubicBezTo>
                  <a:cubicBezTo>
                    <a:pt x="4180672" y="2780546"/>
                    <a:pt x="4142544" y="2870288"/>
                    <a:pt x="4106334" y="2912534"/>
                  </a:cubicBezTo>
                  <a:cubicBezTo>
                    <a:pt x="3998532" y="3038303"/>
                    <a:pt x="3880298" y="3155109"/>
                    <a:pt x="3759200" y="3268134"/>
                  </a:cubicBezTo>
                  <a:cubicBezTo>
                    <a:pt x="3495509" y="3514245"/>
                    <a:pt x="3245588" y="3665607"/>
                    <a:pt x="2912534" y="3835400"/>
                  </a:cubicBezTo>
                  <a:cubicBezTo>
                    <a:pt x="2816297" y="3884462"/>
                    <a:pt x="2712257" y="3918200"/>
                    <a:pt x="2607734" y="3945467"/>
                  </a:cubicBezTo>
                  <a:cubicBezTo>
                    <a:pt x="2451885" y="3986123"/>
                    <a:pt x="2291645" y="4007556"/>
                    <a:pt x="2133600" y="4038600"/>
                  </a:cubicBezTo>
                  <a:cubicBezTo>
                    <a:pt x="1994010" y="3968805"/>
                    <a:pt x="1960215" y="3998763"/>
                    <a:pt x="2116667" y="3877734"/>
                  </a:cubicBezTo>
                  <a:cubicBezTo>
                    <a:pt x="2378289" y="3675347"/>
                    <a:pt x="2637320" y="3468543"/>
                    <a:pt x="2912534" y="3285067"/>
                  </a:cubicBezTo>
                  <a:cubicBezTo>
                    <a:pt x="3242734" y="3064934"/>
                    <a:pt x="3544172" y="2793892"/>
                    <a:pt x="3903134" y="2624667"/>
                  </a:cubicBezTo>
                  <a:lnTo>
                    <a:pt x="4495800" y="2345267"/>
                  </a:lnTo>
                  <a:cubicBezTo>
                    <a:pt x="4356230" y="2484837"/>
                    <a:pt x="4622777" y="2221790"/>
                    <a:pt x="4106334" y="2607734"/>
                  </a:cubicBezTo>
                  <a:cubicBezTo>
                    <a:pt x="3581401" y="3000023"/>
                    <a:pt x="3099030" y="3456891"/>
                    <a:pt x="2531534" y="3784600"/>
                  </a:cubicBezTo>
                  <a:cubicBezTo>
                    <a:pt x="2331156" y="3900311"/>
                    <a:pt x="2115509" y="3992899"/>
                    <a:pt x="1930400" y="4131734"/>
                  </a:cubicBezTo>
                  <a:cubicBezTo>
                    <a:pt x="1919111" y="4140201"/>
                    <a:pt x="1886555" y="4147157"/>
                    <a:pt x="1896534" y="4157134"/>
                  </a:cubicBezTo>
                  <a:cubicBezTo>
                    <a:pt x="1907281" y="4167880"/>
                    <a:pt x="1925979" y="4148255"/>
                    <a:pt x="1938867" y="4140200"/>
                  </a:cubicBezTo>
                  <a:cubicBezTo>
                    <a:pt x="1971418" y="4119855"/>
                    <a:pt x="1999802" y="4093367"/>
                    <a:pt x="2032000" y="4072467"/>
                  </a:cubicBezTo>
                  <a:cubicBezTo>
                    <a:pt x="2352479" y="3864437"/>
                    <a:pt x="2422161" y="3851910"/>
                    <a:pt x="2683934" y="3615267"/>
                  </a:cubicBezTo>
                  <a:cubicBezTo>
                    <a:pt x="2953509" y="3371571"/>
                    <a:pt x="3215546" y="3119656"/>
                    <a:pt x="3479800" y="2870200"/>
                  </a:cubicBezTo>
                  <a:cubicBezTo>
                    <a:pt x="3852538" y="2518336"/>
                    <a:pt x="3626157" y="2684306"/>
                    <a:pt x="4089400" y="2396067"/>
                  </a:cubicBezTo>
                  <a:cubicBezTo>
                    <a:pt x="4100116" y="2389399"/>
                    <a:pt x="4111978" y="2384778"/>
                    <a:pt x="4123267" y="2379134"/>
                  </a:cubicBezTo>
                  <a:cubicBezTo>
                    <a:pt x="4037057" y="2637769"/>
                    <a:pt x="4118945" y="2408700"/>
                    <a:pt x="3725334" y="2963334"/>
                  </a:cubicBezTo>
                  <a:cubicBezTo>
                    <a:pt x="3665521" y="3047616"/>
                    <a:pt x="3598643" y="3127507"/>
                    <a:pt x="3547534" y="3217334"/>
                  </a:cubicBezTo>
                  <a:cubicBezTo>
                    <a:pt x="3235672" y="3765455"/>
                    <a:pt x="3349103" y="3538365"/>
                    <a:pt x="3183467" y="3886200"/>
                  </a:cubicBezTo>
                  <a:cubicBezTo>
                    <a:pt x="3177823" y="3925711"/>
                    <a:pt x="3159972" y="3965365"/>
                    <a:pt x="3166534" y="4004734"/>
                  </a:cubicBezTo>
                  <a:cubicBezTo>
                    <a:pt x="3170498" y="4028519"/>
                    <a:pt x="3186086" y="3960393"/>
                    <a:pt x="3191934" y="3937000"/>
                  </a:cubicBezTo>
                  <a:cubicBezTo>
                    <a:pt x="3200261" y="3903691"/>
                    <a:pt x="3203223" y="3869267"/>
                    <a:pt x="3208867" y="3835400"/>
                  </a:cubicBezTo>
                  <a:cubicBezTo>
                    <a:pt x="3244964" y="2993133"/>
                    <a:pt x="3188415" y="3292730"/>
                    <a:pt x="3496734" y="2277534"/>
                  </a:cubicBezTo>
                  <a:cubicBezTo>
                    <a:pt x="3540448" y="2133598"/>
                    <a:pt x="3609270" y="2055906"/>
                    <a:pt x="3708400" y="1947334"/>
                  </a:cubicBezTo>
                  <a:cubicBezTo>
                    <a:pt x="3723262" y="1931056"/>
                    <a:pt x="3738289" y="1911970"/>
                    <a:pt x="3759200" y="1905000"/>
                  </a:cubicBezTo>
                  <a:cubicBezTo>
                    <a:pt x="3799716" y="1891494"/>
                    <a:pt x="3843867" y="1893711"/>
                    <a:pt x="3886200" y="1888067"/>
                  </a:cubicBezTo>
                  <a:cubicBezTo>
                    <a:pt x="3946349" y="1910296"/>
                    <a:pt x="4370927" y="2051058"/>
                    <a:pt x="4478867" y="2133600"/>
                  </a:cubicBezTo>
                  <a:cubicBezTo>
                    <a:pt x="4717527" y="2316105"/>
                    <a:pt x="5024851" y="2552692"/>
                    <a:pt x="5181600" y="2836334"/>
                  </a:cubicBezTo>
                  <a:cubicBezTo>
                    <a:pt x="5250072" y="2960235"/>
                    <a:pt x="5294489" y="3095978"/>
                    <a:pt x="5350934" y="3225800"/>
                  </a:cubicBezTo>
                  <a:cubicBezTo>
                    <a:pt x="5356578" y="3276600"/>
                    <a:pt x="5366679" y="3327101"/>
                    <a:pt x="5367867" y="3378200"/>
                  </a:cubicBezTo>
                  <a:cubicBezTo>
                    <a:pt x="5371333" y="3527268"/>
                    <a:pt x="5393720" y="3640862"/>
                    <a:pt x="5240867" y="3725334"/>
                  </a:cubicBezTo>
                  <a:cubicBezTo>
                    <a:pt x="5180311" y="3758799"/>
                    <a:pt x="5105400" y="3753556"/>
                    <a:pt x="5037667" y="3767667"/>
                  </a:cubicBezTo>
                  <a:cubicBezTo>
                    <a:pt x="4933245" y="3733800"/>
                    <a:pt x="4821929" y="3716457"/>
                    <a:pt x="4724400" y="3666067"/>
                  </a:cubicBezTo>
                  <a:cubicBezTo>
                    <a:pt x="4649599" y="3627420"/>
                    <a:pt x="4584052" y="3569473"/>
                    <a:pt x="4529667" y="3505200"/>
                  </a:cubicBezTo>
                  <a:cubicBezTo>
                    <a:pt x="4365598" y="3311300"/>
                    <a:pt x="4206562" y="3111318"/>
                    <a:pt x="4072467" y="2895600"/>
                  </a:cubicBezTo>
                  <a:cubicBezTo>
                    <a:pt x="3933182" y="2671532"/>
                    <a:pt x="3765691" y="1815028"/>
                    <a:pt x="3750734" y="1752600"/>
                  </a:cubicBezTo>
                  <a:cubicBezTo>
                    <a:pt x="3720035" y="1414911"/>
                    <a:pt x="3682061" y="1209944"/>
                    <a:pt x="3750734" y="855134"/>
                  </a:cubicBezTo>
                  <a:cubicBezTo>
                    <a:pt x="3768976" y="760886"/>
                    <a:pt x="3817406" y="673450"/>
                    <a:pt x="3869267" y="592667"/>
                  </a:cubicBezTo>
                  <a:cubicBezTo>
                    <a:pt x="3988401" y="407093"/>
                    <a:pt x="4133404" y="163297"/>
                    <a:pt x="4351867" y="59267"/>
                  </a:cubicBezTo>
                  <a:cubicBezTo>
                    <a:pt x="4413127" y="30096"/>
                    <a:pt x="4481689" y="19756"/>
                    <a:pt x="4546600" y="0"/>
                  </a:cubicBezTo>
                  <a:cubicBezTo>
                    <a:pt x="4583289" y="11289"/>
                    <a:pt x="4633818" y="3021"/>
                    <a:pt x="4656667" y="33867"/>
                  </a:cubicBezTo>
                  <a:cubicBezTo>
                    <a:pt x="4697054" y="88389"/>
                    <a:pt x="4710220" y="160990"/>
                    <a:pt x="4715934" y="228600"/>
                  </a:cubicBezTo>
                  <a:cubicBezTo>
                    <a:pt x="4734467" y="447913"/>
                    <a:pt x="4714865" y="744953"/>
                    <a:pt x="4631267" y="956734"/>
                  </a:cubicBezTo>
                  <a:cubicBezTo>
                    <a:pt x="4471262" y="1362079"/>
                    <a:pt x="4352710" y="1630754"/>
                    <a:pt x="4064000" y="1930400"/>
                  </a:cubicBezTo>
                  <a:cubicBezTo>
                    <a:pt x="3788425" y="2216414"/>
                    <a:pt x="3439719" y="2436942"/>
                    <a:pt x="3208867" y="2760134"/>
                  </a:cubicBezTo>
                  <a:cubicBezTo>
                    <a:pt x="3194756" y="2779889"/>
                    <a:pt x="3143191" y="2826070"/>
                    <a:pt x="3166534" y="2819400"/>
                  </a:cubicBezTo>
                  <a:cubicBezTo>
                    <a:pt x="3226110" y="2802378"/>
                    <a:pt x="3274998" y="2759330"/>
                    <a:pt x="3327400" y="2726267"/>
                  </a:cubicBezTo>
                  <a:lnTo>
                    <a:pt x="4588934" y="1921934"/>
                  </a:lnTo>
                  <a:cubicBezTo>
                    <a:pt x="4865552" y="1749436"/>
                    <a:pt x="4898173" y="1764365"/>
                    <a:pt x="5249334" y="1642534"/>
                  </a:cubicBezTo>
                  <a:cubicBezTo>
                    <a:pt x="5286023" y="1645356"/>
                    <a:pt x="5345390" y="1616975"/>
                    <a:pt x="5359400" y="1651000"/>
                  </a:cubicBezTo>
                  <a:cubicBezTo>
                    <a:pt x="5383887" y="1710468"/>
                    <a:pt x="5241569" y="1876752"/>
                    <a:pt x="5215467" y="1905000"/>
                  </a:cubicBezTo>
                  <a:cubicBezTo>
                    <a:pt x="5043416" y="2091192"/>
                    <a:pt x="4869795" y="2276073"/>
                    <a:pt x="4690534" y="2455334"/>
                  </a:cubicBezTo>
                  <a:cubicBezTo>
                    <a:pt x="4350180" y="2795688"/>
                    <a:pt x="4079963" y="2961976"/>
                    <a:pt x="3606800" y="3217334"/>
                  </a:cubicBezTo>
                  <a:cubicBezTo>
                    <a:pt x="3351096" y="3355333"/>
                    <a:pt x="3078492" y="3459615"/>
                    <a:pt x="2810934" y="3572934"/>
                  </a:cubicBezTo>
                  <a:cubicBezTo>
                    <a:pt x="2598598" y="3662864"/>
                    <a:pt x="2381194" y="3740361"/>
                    <a:pt x="2167467" y="3826934"/>
                  </a:cubicBezTo>
                  <a:cubicBezTo>
                    <a:pt x="2158036" y="3830754"/>
                    <a:pt x="2131891" y="3843867"/>
                    <a:pt x="2142067" y="3843867"/>
                  </a:cubicBezTo>
                  <a:cubicBezTo>
                    <a:pt x="2157265" y="3843867"/>
                    <a:pt x="2171432" y="3834859"/>
                    <a:pt x="2184400" y="3826934"/>
                  </a:cubicBezTo>
                  <a:cubicBezTo>
                    <a:pt x="2222476" y="3803665"/>
                    <a:pt x="2256259" y="3773785"/>
                    <a:pt x="2294467" y="3750734"/>
                  </a:cubicBezTo>
                  <a:cubicBezTo>
                    <a:pt x="2597832" y="3567712"/>
                    <a:pt x="2883450" y="3348977"/>
                    <a:pt x="3208867" y="3208867"/>
                  </a:cubicBezTo>
                  <a:cubicBezTo>
                    <a:pt x="3925030" y="2900519"/>
                    <a:pt x="3608586" y="3016360"/>
                    <a:pt x="4148667" y="2836334"/>
                  </a:cubicBezTo>
                  <a:cubicBezTo>
                    <a:pt x="4116018" y="2917958"/>
                    <a:pt x="4139176" y="2883803"/>
                    <a:pt x="4013200" y="2954867"/>
                  </a:cubicBezTo>
                  <a:cubicBezTo>
                    <a:pt x="3833894" y="3056014"/>
                    <a:pt x="3662311" y="3174329"/>
                    <a:pt x="3471334" y="3251200"/>
                  </a:cubicBezTo>
                  <a:cubicBezTo>
                    <a:pt x="3269140" y="3332586"/>
                    <a:pt x="2609155" y="3540530"/>
                    <a:pt x="2286000" y="3564467"/>
                  </a:cubicBezTo>
                  <a:cubicBezTo>
                    <a:pt x="2032631" y="3583235"/>
                    <a:pt x="1778000" y="3575756"/>
                    <a:pt x="1524000" y="3581400"/>
                  </a:cubicBezTo>
                  <a:cubicBezTo>
                    <a:pt x="1498810" y="3574979"/>
                    <a:pt x="1100727" y="3536733"/>
                    <a:pt x="1007534" y="3403600"/>
                  </a:cubicBezTo>
                  <a:cubicBezTo>
                    <a:pt x="967726" y="3346731"/>
                    <a:pt x="945445" y="3279423"/>
                    <a:pt x="914400" y="3217334"/>
                  </a:cubicBezTo>
                  <a:cubicBezTo>
                    <a:pt x="928511" y="3062112"/>
                    <a:pt x="910897" y="2900637"/>
                    <a:pt x="956734" y="2751667"/>
                  </a:cubicBezTo>
                  <a:cubicBezTo>
                    <a:pt x="1014266" y="2564687"/>
                    <a:pt x="1114340" y="2391888"/>
                    <a:pt x="1219200" y="2226734"/>
                  </a:cubicBezTo>
                  <a:cubicBezTo>
                    <a:pt x="1301337" y="2097369"/>
                    <a:pt x="1676037" y="1604936"/>
                    <a:pt x="1862667" y="1439334"/>
                  </a:cubicBezTo>
                  <a:cubicBezTo>
                    <a:pt x="1980050" y="1335177"/>
                    <a:pt x="2096457" y="1224802"/>
                    <a:pt x="2235200" y="1151467"/>
                  </a:cubicBezTo>
                  <a:cubicBezTo>
                    <a:pt x="2300504" y="1116949"/>
                    <a:pt x="2381956" y="1134534"/>
                    <a:pt x="2455334" y="1126067"/>
                  </a:cubicBezTo>
                  <a:cubicBezTo>
                    <a:pt x="2469445" y="1140178"/>
                    <a:pt x="2485616" y="1152493"/>
                    <a:pt x="2497667" y="1168400"/>
                  </a:cubicBezTo>
                  <a:cubicBezTo>
                    <a:pt x="2800286" y="1567858"/>
                    <a:pt x="2741052" y="1555304"/>
                    <a:pt x="3056467" y="2201334"/>
                  </a:cubicBezTo>
                  <a:cubicBezTo>
                    <a:pt x="3818529" y="3762182"/>
                    <a:pt x="2933893" y="1896436"/>
                    <a:pt x="3623734" y="3547534"/>
                  </a:cubicBezTo>
                  <a:cubicBezTo>
                    <a:pt x="3700127" y="3730376"/>
                    <a:pt x="3795215" y="3904898"/>
                    <a:pt x="3886200" y="4080934"/>
                  </a:cubicBezTo>
                  <a:cubicBezTo>
                    <a:pt x="3990428" y="4282593"/>
                    <a:pt x="4057477" y="4373482"/>
                    <a:pt x="4207934" y="4555067"/>
                  </a:cubicBezTo>
                  <a:cubicBezTo>
                    <a:pt x="4221997" y="4572040"/>
                    <a:pt x="4241801" y="4583289"/>
                    <a:pt x="4258734" y="4597400"/>
                  </a:cubicBezTo>
                  <a:cubicBezTo>
                    <a:pt x="4130594" y="4353935"/>
                    <a:pt x="3982856" y="4118075"/>
                    <a:pt x="3903134" y="3852334"/>
                  </a:cubicBezTo>
                  <a:cubicBezTo>
                    <a:pt x="3853765" y="3687771"/>
                    <a:pt x="3818467" y="3519311"/>
                    <a:pt x="3776134" y="3352800"/>
                  </a:cubicBezTo>
                  <a:cubicBezTo>
                    <a:pt x="3770489" y="3285067"/>
                    <a:pt x="3714166" y="3098692"/>
                    <a:pt x="3759200" y="3149600"/>
                  </a:cubicBezTo>
                  <a:cubicBezTo>
                    <a:pt x="3863732" y="3267767"/>
                    <a:pt x="3902244" y="3430873"/>
                    <a:pt x="3970867" y="3572934"/>
                  </a:cubicBezTo>
                  <a:cubicBezTo>
                    <a:pt x="4063122" y="3763918"/>
                    <a:pt x="4152426" y="3956318"/>
                    <a:pt x="4241800" y="4148667"/>
                  </a:cubicBezTo>
                  <a:cubicBezTo>
                    <a:pt x="4282251" y="4235725"/>
                    <a:pt x="4332234" y="4319341"/>
                    <a:pt x="4360334" y="4411134"/>
                  </a:cubicBezTo>
                  <a:lnTo>
                    <a:pt x="4487334" y="4826000"/>
                  </a:lnTo>
                  <a:cubicBezTo>
                    <a:pt x="4490156" y="4871156"/>
                    <a:pt x="4535636" y="4940017"/>
                    <a:pt x="4495800" y="4961467"/>
                  </a:cubicBezTo>
                  <a:cubicBezTo>
                    <a:pt x="4454443" y="4983736"/>
                    <a:pt x="4409228" y="4919687"/>
                    <a:pt x="4377267" y="4885267"/>
                  </a:cubicBezTo>
                  <a:cubicBezTo>
                    <a:pt x="4297762" y="4799646"/>
                    <a:pt x="4225252" y="4706334"/>
                    <a:pt x="4165600" y="4605867"/>
                  </a:cubicBezTo>
                  <a:cubicBezTo>
                    <a:pt x="4117165" y="4524292"/>
                    <a:pt x="4101834" y="4426205"/>
                    <a:pt x="4055534" y="4343400"/>
                  </a:cubicBezTo>
                  <a:cubicBezTo>
                    <a:pt x="3954650" y="4162972"/>
                    <a:pt x="3826872" y="3998528"/>
                    <a:pt x="3725334" y="3818467"/>
                  </a:cubicBezTo>
                  <a:cubicBezTo>
                    <a:pt x="3614981" y="3622774"/>
                    <a:pt x="3420534" y="3217334"/>
                    <a:pt x="3420534" y="3217334"/>
                  </a:cubicBezTo>
                  <a:cubicBezTo>
                    <a:pt x="3429001" y="3214512"/>
                    <a:pt x="3437131" y="3207400"/>
                    <a:pt x="3445934" y="3208867"/>
                  </a:cubicBezTo>
                  <a:cubicBezTo>
                    <a:pt x="3455971" y="3210540"/>
                    <a:pt x="3462439" y="3220858"/>
                    <a:pt x="3471334" y="3225800"/>
                  </a:cubicBezTo>
                  <a:cubicBezTo>
                    <a:pt x="3513274" y="3249100"/>
                    <a:pt x="3557193" y="3268850"/>
                    <a:pt x="3598334" y="3293534"/>
                  </a:cubicBezTo>
                  <a:cubicBezTo>
                    <a:pt x="3627874" y="3311258"/>
                    <a:pt x="3653460" y="3335076"/>
                    <a:pt x="3683000" y="3352800"/>
                  </a:cubicBezTo>
                  <a:cubicBezTo>
                    <a:pt x="3710850" y="3369510"/>
                    <a:pt x="3736796" y="3372026"/>
                    <a:pt x="3767667" y="3378200"/>
                  </a:cubicBezTo>
                  <a:lnTo>
                    <a:pt x="3810000" y="3369734"/>
                  </a:lnTo>
                </a:path>
              </a:pathLst>
            </a:custGeom>
            <a:solidFill>
              <a:schemeClr val="tx1">
                <a:lumMod val="95000"/>
                <a:lumOff val="5000"/>
              </a:schemeClr>
            </a:solidFill>
            <a:ln>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63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4" name="Freeform 63"/>
            <p:cNvSpPr/>
            <p:nvPr/>
          </p:nvSpPr>
          <p:spPr>
            <a:xfrm flipH="1">
              <a:off x="2004155" y="2738624"/>
              <a:ext cx="163505" cy="161944"/>
            </a:xfrm>
            <a:custGeom>
              <a:avLst/>
              <a:gdLst>
                <a:gd name="connsiteX0" fmla="*/ 3877734 w 6316134"/>
                <a:gd name="connsiteY0" fmla="*/ 1464734 h 5207000"/>
                <a:gd name="connsiteX1" fmla="*/ 3742267 w 6316134"/>
                <a:gd name="connsiteY1" fmla="*/ 1473200 h 5207000"/>
                <a:gd name="connsiteX2" fmla="*/ 3699934 w 6316134"/>
                <a:gd name="connsiteY2" fmla="*/ 1507067 h 5207000"/>
                <a:gd name="connsiteX3" fmla="*/ 3496734 w 6316134"/>
                <a:gd name="connsiteY3" fmla="*/ 1667934 h 5207000"/>
                <a:gd name="connsiteX4" fmla="*/ 3429000 w 6316134"/>
                <a:gd name="connsiteY4" fmla="*/ 1752600 h 5207000"/>
                <a:gd name="connsiteX5" fmla="*/ 3378200 w 6316134"/>
                <a:gd name="connsiteY5" fmla="*/ 1828800 h 5207000"/>
                <a:gd name="connsiteX6" fmla="*/ 3318934 w 6316134"/>
                <a:gd name="connsiteY6" fmla="*/ 1896534 h 5207000"/>
                <a:gd name="connsiteX7" fmla="*/ 3302000 w 6316134"/>
                <a:gd name="connsiteY7" fmla="*/ 1972734 h 5207000"/>
                <a:gd name="connsiteX8" fmla="*/ 3310467 w 6316134"/>
                <a:gd name="connsiteY8" fmla="*/ 2082800 h 5207000"/>
                <a:gd name="connsiteX9" fmla="*/ 3335867 w 6316134"/>
                <a:gd name="connsiteY9" fmla="*/ 2116667 h 5207000"/>
                <a:gd name="connsiteX10" fmla="*/ 3386667 w 6316134"/>
                <a:gd name="connsiteY10" fmla="*/ 2150534 h 5207000"/>
                <a:gd name="connsiteX11" fmla="*/ 3539067 w 6316134"/>
                <a:gd name="connsiteY11" fmla="*/ 2175934 h 5207000"/>
                <a:gd name="connsiteX12" fmla="*/ 3970867 w 6316134"/>
                <a:gd name="connsiteY12" fmla="*/ 2150534 h 5207000"/>
                <a:gd name="connsiteX13" fmla="*/ 4461934 w 6316134"/>
                <a:gd name="connsiteY13" fmla="*/ 1998134 h 5207000"/>
                <a:gd name="connsiteX14" fmla="*/ 4986867 w 6316134"/>
                <a:gd name="connsiteY14" fmla="*/ 1752600 h 5207000"/>
                <a:gd name="connsiteX15" fmla="*/ 5046134 w 6316134"/>
                <a:gd name="connsiteY15" fmla="*/ 1684867 h 5207000"/>
                <a:gd name="connsiteX16" fmla="*/ 5088467 w 6316134"/>
                <a:gd name="connsiteY16" fmla="*/ 1625600 h 5207000"/>
                <a:gd name="connsiteX17" fmla="*/ 4842934 w 6316134"/>
                <a:gd name="connsiteY17" fmla="*/ 1617134 h 5207000"/>
                <a:gd name="connsiteX18" fmla="*/ 4461934 w 6316134"/>
                <a:gd name="connsiteY18" fmla="*/ 1727200 h 5207000"/>
                <a:gd name="connsiteX19" fmla="*/ 3937000 w 6316134"/>
                <a:gd name="connsiteY19" fmla="*/ 1964267 h 5207000"/>
                <a:gd name="connsiteX20" fmla="*/ 3699934 w 6316134"/>
                <a:gd name="connsiteY20" fmla="*/ 2057400 h 5207000"/>
                <a:gd name="connsiteX21" fmla="*/ 3268134 w 6316134"/>
                <a:gd name="connsiteY21" fmla="*/ 2252134 h 5207000"/>
                <a:gd name="connsiteX22" fmla="*/ 3158067 w 6316134"/>
                <a:gd name="connsiteY22" fmla="*/ 2277534 h 5207000"/>
                <a:gd name="connsiteX23" fmla="*/ 3073400 w 6316134"/>
                <a:gd name="connsiteY23" fmla="*/ 2269067 h 5207000"/>
                <a:gd name="connsiteX24" fmla="*/ 3081867 w 6316134"/>
                <a:gd name="connsiteY24" fmla="*/ 2209800 h 5207000"/>
                <a:gd name="connsiteX25" fmla="*/ 3132667 w 6316134"/>
                <a:gd name="connsiteY25" fmla="*/ 2133600 h 5207000"/>
                <a:gd name="connsiteX26" fmla="*/ 3285067 w 6316134"/>
                <a:gd name="connsiteY26" fmla="*/ 1862667 h 5207000"/>
                <a:gd name="connsiteX27" fmla="*/ 3496734 w 6316134"/>
                <a:gd name="connsiteY27" fmla="*/ 1574800 h 5207000"/>
                <a:gd name="connsiteX28" fmla="*/ 3581400 w 6316134"/>
                <a:gd name="connsiteY28" fmla="*/ 1422400 h 5207000"/>
                <a:gd name="connsiteX29" fmla="*/ 3623734 w 6316134"/>
                <a:gd name="connsiteY29" fmla="*/ 1337734 h 5207000"/>
                <a:gd name="connsiteX30" fmla="*/ 3657600 w 6316134"/>
                <a:gd name="connsiteY30" fmla="*/ 1286934 h 5207000"/>
                <a:gd name="connsiteX31" fmla="*/ 3632200 w 6316134"/>
                <a:gd name="connsiteY31" fmla="*/ 1337734 h 5207000"/>
                <a:gd name="connsiteX32" fmla="*/ 3589867 w 6316134"/>
                <a:gd name="connsiteY32" fmla="*/ 1439334 h 5207000"/>
                <a:gd name="connsiteX33" fmla="*/ 3522134 w 6316134"/>
                <a:gd name="connsiteY33" fmla="*/ 1625600 h 5207000"/>
                <a:gd name="connsiteX34" fmla="*/ 3429000 w 6316134"/>
                <a:gd name="connsiteY34" fmla="*/ 2142067 h 5207000"/>
                <a:gd name="connsiteX35" fmla="*/ 3344334 w 6316134"/>
                <a:gd name="connsiteY35" fmla="*/ 2506134 h 5207000"/>
                <a:gd name="connsiteX36" fmla="*/ 3318934 w 6316134"/>
                <a:gd name="connsiteY36" fmla="*/ 3158067 h 5207000"/>
                <a:gd name="connsiteX37" fmla="*/ 3403600 w 6316134"/>
                <a:gd name="connsiteY37" fmla="*/ 3589867 h 5207000"/>
                <a:gd name="connsiteX38" fmla="*/ 3471334 w 6316134"/>
                <a:gd name="connsiteY38" fmla="*/ 3632200 h 5207000"/>
                <a:gd name="connsiteX39" fmla="*/ 3589867 w 6316134"/>
                <a:gd name="connsiteY39" fmla="*/ 3640667 h 5207000"/>
                <a:gd name="connsiteX40" fmla="*/ 3877734 w 6316134"/>
                <a:gd name="connsiteY40" fmla="*/ 3623734 h 5207000"/>
                <a:gd name="connsiteX41" fmla="*/ 4089400 w 6316134"/>
                <a:gd name="connsiteY41" fmla="*/ 3547534 h 5207000"/>
                <a:gd name="connsiteX42" fmla="*/ 4580467 w 6316134"/>
                <a:gd name="connsiteY42" fmla="*/ 3285067 h 5207000"/>
                <a:gd name="connsiteX43" fmla="*/ 4766734 w 6316134"/>
                <a:gd name="connsiteY43" fmla="*/ 3141134 h 5207000"/>
                <a:gd name="connsiteX44" fmla="*/ 5088467 w 6316134"/>
                <a:gd name="connsiteY44" fmla="*/ 2700867 h 5207000"/>
                <a:gd name="connsiteX45" fmla="*/ 5164667 w 6316134"/>
                <a:gd name="connsiteY45" fmla="*/ 2565400 h 5207000"/>
                <a:gd name="connsiteX46" fmla="*/ 5207000 w 6316134"/>
                <a:gd name="connsiteY46" fmla="*/ 2472267 h 5207000"/>
                <a:gd name="connsiteX47" fmla="*/ 5215467 w 6316134"/>
                <a:gd name="connsiteY47" fmla="*/ 2455334 h 5207000"/>
                <a:gd name="connsiteX48" fmla="*/ 5164667 w 6316134"/>
                <a:gd name="connsiteY48" fmla="*/ 2523067 h 5207000"/>
                <a:gd name="connsiteX49" fmla="*/ 4986867 w 6316134"/>
                <a:gd name="connsiteY49" fmla="*/ 2768600 h 5207000"/>
                <a:gd name="connsiteX50" fmla="*/ 4461934 w 6316134"/>
                <a:gd name="connsiteY50" fmla="*/ 3234267 h 5207000"/>
                <a:gd name="connsiteX51" fmla="*/ 3623734 w 6316134"/>
                <a:gd name="connsiteY51" fmla="*/ 3564467 h 5207000"/>
                <a:gd name="connsiteX52" fmla="*/ 3048000 w 6316134"/>
                <a:gd name="connsiteY52" fmla="*/ 3598334 h 5207000"/>
                <a:gd name="connsiteX53" fmla="*/ 1845734 w 6316134"/>
                <a:gd name="connsiteY53" fmla="*/ 3496734 h 5207000"/>
                <a:gd name="connsiteX54" fmla="*/ 1261534 w 6316134"/>
                <a:gd name="connsiteY54" fmla="*/ 3268134 h 5207000"/>
                <a:gd name="connsiteX55" fmla="*/ 719667 w 6316134"/>
                <a:gd name="connsiteY55" fmla="*/ 2937934 h 5207000"/>
                <a:gd name="connsiteX56" fmla="*/ 677334 w 6316134"/>
                <a:gd name="connsiteY56" fmla="*/ 2810934 h 5207000"/>
                <a:gd name="connsiteX57" fmla="*/ 719667 w 6316134"/>
                <a:gd name="connsiteY57" fmla="*/ 2556934 h 5207000"/>
                <a:gd name="connsiteX58" fmla="*/ 1126067 w 6316134"/>
                <a:gd name="connsiteY58" fmla="*/ 2116667 h 5207000"/>
                <a:gd name="connsiteX59" fmla="*/ 2057400 w 6316134"/>
                <a:gd name="connsiteY59" fmla="*/ 1532467 h 5207000"/>
                <a:gd name="connsiteX60" fmla="*/ 2429934 w 6316134"/>
                <a:gd name="connsiteY60" fmla="*/ 1422400 h 5207000"/>
                <a:gd name="connsiteX61" fmla="*/ 3251200 w 6316134"/>
                <a:gd name="connsiteY61" fmla="*/ 1329267 h 5207000"/>
                <a:gd name="connsiteX62" fmla="*/ 3530600 w 6316134"/>
                <a:gd name="connsiteY62" fmla="*/ 1388534 h 5207000"/>
                <a:gd name="connsiteX63" fmla="*/ 3572934 w 6316134"/>
                <a:gd name="connsiteY63" fmla="*/ 1456267 h 5207000"/>
                <a:gd name="connsiteX64" fmla="*/ 3589867 w 6316134"/>
                <a:gd name="connsiteY64" fmla="*/ 1515534 h 5207000"/>
                <a:gd name="connsiteX65" fmla="*/ 3564467 w 6316134"/>
                <a:gd name="connsiteY65" fmla="*/ 1879600 h 5207000"/>
                <a:gd name="connsiteX66" fmla="*/ 3293534 w 6316134"/>
                <a:gd name="connsiteY66" fmla="*/ 2353734 h 5207000"/>
                <a:gd name="connsiteX67" fmla="*/ 3073400 w 6316134"/>
                <a:gd name="connsiteY67" fmla="*/ 2633134 h 5207000"/>
                <a:gd name="connsiteX68" fmla="*/ 2827867 w 6316134"/>
                <a:gd name="connsiteY68" fmla="*/ 2895600 h 5207000"/>
                <a:gd name="connsiteX69" fmla="*/ 2345267 w 6316134"/>
                <a:gd name="connsiteY69" fmla="*/ 3335867 h 5207000"/>
                <a:gd name="connsiteX70" fmla="*/ 2201334 w 6316134"/>
                <a:gd name="connsiteY70" fmla="*/ 3429000 h 5207000"/>
                <a:gd name="connsiteX71" fmla="*/ 2065867 w 6316134"/>
                <a:gd name="connsiteY71" fmla="*/ 3479800 h 5207000"/>
                <a:gd name="connsiteX72" fmla="*/ 2802467 w 6316134"/>
                <a:gd name="connsiteY72" fmla="*/ 3141134 h 5207000"/>
                <a:gd name="connsiteX73" fmla="*/ 3843867 w 6316134"/>
                <a:gd name="connsiteY73" fmla="*/ 2751667 h 5207000"/>
                <a:gd name="connsiteX74" fmla="*/ 4436534 w 6316134"/>
                <a:gd name="connsiteY74" fmla="*/ 2548467 h 5207000"/>
                <a:gd name="connsiteX75" fmla="*/ 5528734 w 6316134"/>
                <a:gd name="connsiteY75" fmla="*/ 2302934 h 5207000"/>
                <a:gd name="connsiteX76" fmla="*/ 6214534 w 6316134"/>
                <a:gd name="connsiteY76" fmla="*/ 2226734 h 5207000"/>
                <a:gd name="connsiteX77" fmla="*/ 6316134 w 6316134"/>
                <a:gd name="connsiteY77" fmla="*/ 2243667 h 5207000"/>
                <a:gd name="connsiteX78" fmla="*/ 6206067 w 6316134"/>
                <a:gd name="connsiteY78" fmla="*/ 2286000 h 5207000"/>
                <a:gd name="connsiteX79" fmla="*/ 6028267 w 6316134"/>
                <a:gd name="connsiteY79" fmla="*/ 2345267 h 5207000"/>
                <a:gd name="connsiteX80" fmla="*/ 4927600 w 6316134"/>
                <a:gd name="connsiteY80" fmla="*/ 2531534 h 5207000"/>
                <a:gd name="connsiteX81" fmla="*/ 3632200 w 6316134"/>
                <a:gd name="connsiteY81" fmla="*/ 2506134 h 5207000"/>
                <a:gd name="connsiteX82" fmla="*/ 3225800 w 6316134"/>
                <a:gd name="connsiteY82" fmla="*/ 2387600 h 5207000"/>
                <a:gd name="connsiteX83" fmla="*/ 2760134 w 6316134"/>
                <a:gd name="connsiteY83" fmla="*/ 2150534 h 5207000"/>
                <a:gd name="connsiteX84" fmla="*/ 2616200 w 6316134"/>
                <a:gd name="connsiteY84" fmla="*/ 1981200 h 5207000"/>
                <a:gd name="connsiteX85" fmla="*/ 2675467 w 6316134"/>
                <a:gd name="connsiteY85" fmla="*/ 1811867 h 5207000"/>
                <a:gd name="connsiteX86" fmla="*/ 2760134 w 6316134"/>
                <a:gd name="connsiteY86" fmla="*/ 1752600 h 5207000"/>
                <a:gd name="connsiteX87" fmla="*/ 3064934 w 6316134"/>
                <a:gd name="connsiteY87" fmla="*/ 1617134 h 5207000"/>
                <a:gd name="connsiteX88" fmla="*/ 3158067 w 6316134"/>
                <a:gd name="connsiteY88" fmla="*/ 1600200 h 5207000"/>
                <a:gd name="connsiteX89" fmla="*/ 3225800 w 6316134"/>
                <a:gd name="connsiteY89" fmla="*/ 1617134 h 5207000"/>
                <a:gd name="connsiteX90" fmla="*/ 3251200 w 6316134"/>
                <a:gd name="connsiteY90" fmla="*/ 1752600 h 5207000"/>
                <a:gd name="connsiteX91" fmla="*/ 3081867 w 6316134"/>
                <a:gd name="connsiteY91" fmla="*/ 2599267 h 5207000"/>
                <a:gd name="connsiteX92" fmla="*/ 2861734 w 6316134"/>
                <a:gd name="connsiteY92" fmla="*/ 3141134 h 5207000"/>
                <a:gd name="connsiteX93" fmla="*/ 2743200 w 6316134"/>
                <a:gd name="connsiteY93" fmla="*/ 3403600 h 5207000"/>
                <a:gd name="connsiteX94" fmla="*/ 2692400 w 6316134"/>
                <a:gd name="connsiteY94" fmla="*/ 3632200 h 5207000"/>
                <a:gd name="connsiteX95" fmla="*/ 2658534 w 6316134"/>
                <a:gd name="connsiteY95" fmla="*/ 3767667 h 5207000"/>
                <a:gd name="connsiteX96" fmla="*/ 2667000 w 6316134"/>
                <a:gd name="connsiteY96" fmla="*/ 3860800 h 5207000"/>
                <a:gd name="connsiteX97" fmla="*/ 2726267 w 6316134"/>
                <a:gd name="connsiteY97" fmla="*/ 3801534 h 5207000"/>
                <a:gd name="connsiteX98" fmla="*/ 2819400 w 6316134"/>
                <a:gd name="connsiteY98" fmla="*/ 3513667 h 5207000"/>
                <a:gd name="connsiteX99" fmla="*/ 2844800 w 6316134"/>
                <a:gd name="connsiteY99" fmla="*/ 3268134 h 5207000"/>
                <a:gd name="connsiteX100" fmla="*/ 2853267 w 6316134"/>
                <a:gd name="connsiteY100" fmla="*/ 1380067 h 5207000"/>
                <a:gd name="connsiteX101" fmla="*/ 2887134 w 6316134"/>
                <a:gd name="connsiteY101" fmla="*/ 1253067 h 5207000"/>
                <a:gd name="connsiteX102" fmla="*/ 3217334 w 6316134"/>
                <a:gd name="connsiteY102" fmla="*/ 1566334 h 5207000"/>
                <a:gd name="connsiteX103" fmla="*/ 3640667 w 6316134"/>
                <a:gd name="connsiteY103" fmla="*/ 2082800 h 5207000"/>
                <a:gd name="connsiteX104" fmla="*/ 3843867 w 6316134"/>
                <a:gd name="connsiteY104" fmla="*/ 2345267 h 5207000"/>
                <a:gd name="connsiteX105" fmla="*/ 4216400 w 6316134"/>
                <a:gd name="connsiteY105" fmla="*/ 3073400 h 5207000"/>
                <a:gd name="connsiteX106" fmla="*/ 4275667 w 6316134"/>
                <a:gd name="connsiteY106" fmla="*/ 3285067 h 5207000"/>
                <a:gd name="connsiteX107" fmla="*/ 4292600 w 6316134"/>
                <a:gd name="connsiteY107" fmla="*/ 3429000 h 5207000"/>
                <a:gd name="connsiteX108" fmla="*/ 4267200 w 6316134"/>
                <a:gd name="connsiteY108" fmla="*/ 3649134 h 5207000"/>
                <a:gd name="connsiteX109" fmla="*/ 4224867 w 6316134"/>
                <a:gd name="connsiteY109" fmla="*/ 3674534 h 5207000"/>
                <a:gd name="connsiteX110" fmla="*/ 4114800 w 6316134"/>
                <a:gd name="connsiteY110" fmla="*/ 3699934 h 5207000"/>
                <a:gd name="connsiteX111" fmla="*/ 3937000 w 6316134"/>
                <a:gd name="connsiteY111" fmla="*/ 3666067 h 5207000"/>
                <a:gd name="connsiteX112" fmla="*/ 3556000 w 6316134"/>
                <a:gd name="connsiteY112" fmla="*/ 3285067 h 5207000"/>
                <a:gd name="connsiteX113" fmla="*/ 3310467 w 6316134"/>
                <a:gd name="connsiteY113" fmla="*/ 3022600 h 5207000"/>
                <a:gd name="connsiteX114" fmla="*/ 2777067 w 6316134"/>
                <a:gd name="connsiteY114" fmla="*/ 2345267 h 5207000"/>
                <a:gd name="connsiteX115" fmla="*/ 2175934 w 6316134"/>
                <a:gd name="connsiteY115" fmla="*/ 1456267 h 5207000"/>
                <a:gd name="connsiteX116" fmla="*/ 2133600 w 6316134"/>
                <a:gd name="connsiteY116" fmla="*/ 1312334 h 5207000"/>
                <a:gd name="connsiteX117" fmla="*/ 2167467 w 6316134"/>
                <a:gd name="connsiteY117" fmla="*/ 1253067 h 5207000"/>
                <a:gd name="connsiteX118" fmla="*/ 2209800 w 6316134"/>
                <a:gd name="connsiteY118" fmla="*/ 1244600 h 5207000"/>
                <a:gd name="connsiteX119" fmla="*/ 2362200 w 6316134"/>
                <a:gd name="connsiteY119" fmla="*/ 1286934 h 5207000"/>
                <a:gd name="connsiteX120" fmla="*/ 3335867 w 6316134"/>
                <a:gd name="connsiteY120" fmla="*/ 2209800 h 5207000"/>
                <a:gd name="connsiteX121" fmla="*/ 3937000 w 6316134"/>
                <a:gd name="connsiteY121" fmla="*/ 2895600 h 5207000"/>
                <a:gd name="connsiteX122" fmla="*/ 4512734 w 6316134"/>
                <a:gd name="connsiteY122" fmla="*/ 3556000 h 5207000"/>
                <a:gd name="connsiteX123" fmla="*/ 4842934 w 6316134"/>
                <a:gd name="connsiteY123" fmla="*/ 4080934 h 5207000"/>
                <a:gd name="connsiteX124" fmla="*/ 4885267 w 6316134"/>
                <a:gd name="connsiteY124" fmla="*/ 4241800 h 5207000"/>
                <a:gd name="connsiteX125" fmla="*/ 4868334 w 6316134"/>
                <a:gd name="connsiteY125" fmla="*/ 4461934 h 5207000"/>
                <a:gd name="connsiteX126" fmla="*/ 4749800 w 6316134"/>
                <a:gd name="connsiteY126" fmla="*/ 4563534 h 5207000"/>
                <a:gd name="connsiteX127" fmla="*/ 4343400 w 6316134"/>
                <a:gd name="connsiteY127" fmla="*/ 4648200 h 5207000"/>
                <a:gd name="connsiteX128" fmla="*/ 4216400 w 6316134"/>
                <a:gd name="connsiteY128" fmla="*/ 4588934 h 5207000"/>
                <a:gd name="connsiteX129" fmla="*/ 4106334 w 6316134"/>
                <a:gd name="connsiteY129" fmla="*/ 4428067 h 5207000"/>
                <a:gd name="connsiteX130" fmla="*/ 4106334 w 6316134"/>
                <a:gd name="connsiteY130" fmla="*/ 3784600 h 5207000"/>
                <a:gd name="connsiteX131" fmla="*/ 4174067 w 6316134"/>
                <a:gd name="connsiteY131" fmla="*/ 3632200 h 5207000"/>
                <a:gd name="connsiteX132" fmla="*/ 4233334 w 6316134"/>
                <a:gd name="connsiteY132" fmla="*/ 3522134 h 5207000"/>
                <a:gd name="connsiteX133" fmla="*/ 4428067 w 6316134"/>
                <a:gd name="connsiteY133" fmla="*/ 3335867 h 5207000"/>
                <a:gd name="connsiteX134" fmla="*/ 4622800 w 6316134"/>
                <a:gd name="connsiteY134" fmla="*/ 3234267 h 5207000"/>
                <a:gd name="connsiteX135" fmla="*/ 4775200 w 6316134"/>
                <a:gd name="connsiteY135" fmla="*/ 3259667 h 5207000"/>
                <a:gd name="connsiteX136" fmla="*/ 4758267 w 6316134"/>
                <a:gd name="connsiteY136" fmla="*/ 3437467 h 5207000"/>
                <a:gd name="connsiteX137" fmla="*/ 4555067 w 6316134"/>
                <a:gd name="connsiteY137" fmla="*/ 3649134 h 5207000"/>
                <a:gd name="connsiteX138" fmla="*/ 4301067 w 6316134"/>
                <a:gd name="connsiteY138" fmla="*/ 3835400 h 5207000"/>
                <a:gd name="connsiteX139" fmla="*/ 3742267 w 6316134"/>
                <a:gd name="connsiteY139" fmla="*/ 4131734 h 5207000"/>
                <a:gd name="connsiteX140" fmla="*/ 3412067 w 6316134"/>
                <a:gd name="connsiteY140" fmla="*/ 4258734 h 5207000"/>
                <a:gd name="connsiteX141" fmla="*/ 2683934 w 6316134"/>
                <a:gd name="connsiteY141" fmla="*/ 4326467 h 5207000"/>
                <a:gd name="connsiteX142" fmla="*/ 2201334 w 6316134"/>
                <a:gd name="connsiteY142" fmla="*/ 4250267 h 5207000"/>
                <a:gd name="connsiteX143" fmla="*/ 2006600 w 6316134"/>
                <a:gd name="connsiteY143" fmla="*/ 4123267 h 5207000"/>
                <a:gd name="connsiteX144" fmla="*/ 1989667 w 6316134"/>
                <a:gd name="connsiteY144" fmla="*/ 4064000 h 5207000"/>
                <a:gd name="connsiteX145" fmla="*/ 2032000 w 6316134"/>
                <a:gd name="connsiteY145" fmla="*/ 3920067 h 5207000"/>
                <a:gd name="connsiteX146" fmla="*/ 2243667 w 6316134"/>
                <a:gd name="connsiteY146" fmla="*/ 3716867 h 5207000"/>
                <a:gd name="connsiteX147" fmla="*/ 2523067 w 6316134"/>
                <a:gd name="connsiteY147" fmla="*/ 3530600 h 5207000"/>
                <a:gd name="connsiteX148" fmla="*/ 3928534 w 6316134"/>
                <a:gd name="connsiteY148" fmla="*/ 2870200 h 5207000"/>
                <a:gd name="connsiteX149" fmla="*/ 4876800 w 6316134"/>
                <a:gd name="connsiteY149" fmla="*/ 2506134 h 5207000"/>
                <a:gd name="connsiteX150" fmla="*/ 5190067 w 6316134"/>
                <a:gd name="connsiteY150" fmla="*/ 2387600 h 5207000"/>
                <a:gd name="connsiteX151" fmla="*/ 5486400 w 6316134"/>
                <a:gd name="connsiteY151" fmla="*/ 2311400 h 5207000"/>
                <a:gd name="connsiteX152" fmla="*/ 3860800 w 6316134"/>
                <a:gd name="connsiteY152" fmla="*/ 2294467 h 5207000"/>
                <a:gd name="connsiteX153" fmla="*/ 3098800 w 6316134"/>
                <a:gd name="connsiteY153" fmla="*/ 2277534 h 5207000"/>
                <a:gd name="connsiteX154" fmla="*/ 2514600 w 6316134"/>
                <a:gd name="connsiteY154" fmla="*/ 2175934 h 5207000"/>
                <a:gd name="connsiteX155" fmla="*/ 2345267 w 6316134"/>
                <a:gd name="connsiteY155" fmla="*/ 2116667 h 5207000"/>
                <a:gd name="connsiteX156" fmla="*/ 2548467 w 6316134"/>
                <a:gd name="connsiteY156" fmla="*/ 1955800 h 5207000"/>
                <a:gd name="connsiteX157" fmla="*/ 2709334 w 6316134"/>
                <a:gd name="connsiteY157" fmla="*/ 1854200 h 5207000"/>
                <a:gd name="connsiteX158" fmla="*/ 3158067 w 6316134"/>
                <a:gd name="connsiteY158" fmla="*/ 1676400 h 5207000"/>
                <a:gd name="connsiteX159" fmla="*/ 3598334 w 6316134"/>
                <a:gd name="connsiteY159" fmla="*/ 1456267 h 5207000"/>
                <a:gd name="connsiteX160" fmla="*/ 3750734 w 6316134"/>
                <a:gd name="connsiteY160" fmla="*/ 1371600 h 5207000"/>
                <a:gd name="connsiteX161" fmla="*/ 3869267 w 6316134"/>
                <a:gd name="connsiteY161" fmla="*/ 1278467 h 5207000"/>
                <a:gd name="connsiteX162" fmla="*/ 3877734 w 6316134"/>
                <a:gd name="connsiteY162" fmla="*/ 1253067 h 5207000"/>
                <a:gd name="connsiteX163" fmla="*/ 3860800 w 6316134"/>
                <a:gd name="connsiteY163" fmla="*/ 1236134 h 5207000"/>
                <a:gd name="connsiteX164" fmla="*/ 3742267 w 6316134"/>
                <a:gd name="connsiteY164" fmla="*/ 1219200 h 5207000"/>
                <a:gd name="connsiteX165" fmla="*/ 3335867 w 6316134"/>
                <a:gd name="connsiteY165" fmla="*/ 1210734 h 5207000"/>
                <a:gd name="connsiteX166" fmla="*/ 2937934 w 6316134"/>
                <a:gd name="connsiteY166" fmla="*/ 1219200 h 5207000"/>
                <a:gd name="connsiteX167" fmla="*/ 2785534 w 6316134"/>
                <a:gd name="connsiteY167" fmla="*/ 1253067 h 5207000"/>
                <a:gd name="connsiteX168" fmla="*/ 2438400 w 6316134"/>
                <a:gd name="connsiteY168" fmla="*/ 1397000 h 5207000"/>
                <a:gd name="connsiteX169" fmla="*/ 2319867 w 6316134"/>
                <a:gd name="connsiteY169" fmla="*/ 1532467 h 5207000"/>
                <a:gd name="connsiteX170" fmla="*/ 2294467 w 6316134"/>
                <a:gd name="connsiteY170" fmla="*/ 1591734 h 5207000"/>
                <a:gd name="connsiteX171" fmla="*/ 2582334 w 6316134"/>
                <a:gd name="connsiteY171" fmla="*/ 1913467 h 5207000"/>
                <a:gd name="connsiteX172" fmla="*/ 3708400 w 6316134"/>
                <a:gd name="connsiteY172" fmla="*/ 2700867 h 5207000"/>
                <a:gd name="connsiteX173" fmla="*/ 4749800 w 6316134"/>
                <a:gd name="connsiteY173" fmla="*/ 3462867 h 5207000"/>
                <a:gd name="connsiteX174" fmla="*/ 5283200 w 6316134"/>
                <a:gd name="connsiteY174" fmla="*/ 3835400 h 5207000"/>
                <a:gd name="connsiteX175" fmla="*/ 5334000 w 6316134"/>
                <a:gd name="connsiteY175" fmla="*/ 3987800 h 5207000"/>
                <a:gd name="connsiteX176" fmla="*/ 5139267 w 6316134"/>
                <a:gd name="connsiteY176" fmla="*/ 4191000 h 5207000"/>
                <a:gd name="connsiteX177" fmla="*/ 4944534 w 6316134"/>
                <a:gd name="connsiteY177" fmla="*/ 4301067 h 5207000"/>
                <a:gd name="connsiteX178" fmla="*/ 4411134 w 6316134"/>
                <a:gd name="connsiteY178" fmla="*/ 4470400 h 5207000"/>
                <a:gd name="connsiteX179" fmla="*/ 4097867 w 6316134"/>
                <a:gd name="connsiteY179" fmla="*/ 4521200 h 5207000"/>
                <a:gd name="connsiteX180" fmla="*/ 3767667 w 6316134"/>
                <a:gd name="connsiteY180" fmla="*/ 4529667 h 5207000"/>
                <a:gd name="connsiteX181" fmla="*/ 2946400 w 6316134"/>
                <a:gd name="connsiteY181" fmla="*/ 4453467 h 5207000"/>
                <a:gd name="connsiteX182" fmla="*/ 2904067 w 6316134"/>
                <a:gd name="connsiteY182" fmla="*/ 4411134 h 5207000"/>
                <a:gd name="connsiteX183" fmla="*/ 2912534 w 6316134"/>
                <a:gd name="connsiteY183" fmla="*/ 3835400 h 5207000"/>
                <a:gd name="connsiteX184" fmla="*/ 3225800 w 6316134"/>
                <a:gd name="connsiteY184" fmla="*/ 3141134 h 5207000"/>
                <a:gd name="connsiteX185" fmla="*/ 3403600 w 6316134"/>
                <a:gd name="connsiteY185" fmla="*/ 2878667 h 5207000"/>
                <a:gd name="connsiteX186" fmla="*/ 3843867 w 6316134"/>
                <a:gd name="connsiteY186" fmla="*/ 2379134 h 5207000"/>
                <a:gd name="connsiteX187" fmla="*/ 4038600 w 6316134"/>
                <a:gd name="connsiteY187" fmla="*/ 2201334 h 5207000"/>
                <a:gd name="connsiteX188" fmla="*/ 4123267 w 6316134"/>
                <a:gd name="connsiteY188" fmla="*/ 2108200 h 5207000"/>
                <a:gd name="connsiteX189" fmla="*/ 4055534 w 6316134"/>
                <a:gd name="connsiteY189" fmla="*/ 2159000 h 5207000"/>
                <a:gd name="connsiteX190" fmla="*/ 3920067 w 6316134"/>
                <a:gd name="connsiteY190" fmla="*/ 2243667 h 5207000"/>
                <a:gd name="connsiteX191" fmla="*/ 3479800 w 6316134"/>
                <a:gd name="connsiteY191" fmla="*/ 2463800 h 5207000"/>
                <a:gd name="connsiteX192" fmla="*/ 3022600 w 6316134"/>
                <a:gd name="connsiteY192" fmla="*/ 2667000 h 5207000"/>
                <a:gd name="connsiteX193" fmla="*/ 2565400 w 6316134"/>
                <a:gd name="connsiteY193" fmla="*/ 2777067 h 5207000"/>
                <a:gd name="connsiteX194" fmla="*/ 2209800 w 6316134"/>
                <a:gd name="connsiteY194" fmla="*/ 2802467 h 5207000"/>
                <a:gd name="connsiteX195" fmla="*/ 2116667 w 6316134"/>
                <a:gd name="connsiteY195" fmla="*/ 2810934 h 5207000"/>
                <a:gd name="connsiteX196" fmla="*/ 2150534 w 6316134"/>
                <a:gd name="connsiteY196" fmla="*/ 2709334 h 5207000"/>
                <a:gd name="connsiteX197" fmla="*/ 2480734 w 6316134"/>
                <a:gd name="connsiteY197" fmla="*/ 2429934 h 5207000"/>
                <a:gd name="connsiteX198" fmla="*/ 3200400 w 6316134"/>
                <a:gd name="connsiteY198" fmla="*/ 1913467 h 5207000"/>
                <a:gd name="connsiteX199" fmla="*/ 3759200 w 6316134"/>
                <a:gd name="connsiteY199" fmla="*/ 1447800 h 5207000"/>
                <a:gd name="connsiteX200" fmla="*/ 3869267 w 6316134"/>
                <a:gd name="connsiteY200" fmla="*/ 1295400 h 5207000"/>
                <a:gd name="connsiteX201" fmla="*/ 3793067 w 6316134"/>
                <a:gd name="connsiteY201" fmla="*/ 1236134 h 5207000"/>
                <a:gd name="connsiteX202" fmla="*/ 3183467 w 6316134"/>
                <a:gd name="connsiteY202" fmla="*/ 1278467 h 5207000"/>
                <a:gd name="connsiteX203" fmla="*/ 2641600 w 6316134"/>
                <a:gd name="connsiteY203" fmla="*/ 1405467 h 5207000"/>
                <a:gd name="connsiteX204" fmla="*/ 1854200 w 6316134"/>
                <a:gd name="connsiteY204" fmla="*/ 1735667 h 5207000"/>
                <a:gd name="connsiteX205" fmla="*/ 1676400 w 6316134"/>
                <a:gd name="connsiteY205" fmla="*/ 1837267 h 5207000"/>
                <a:gd name="connsiteX206" fmla="*/ 1583267 w 6316134"/>
                <a:gd name="connsiteY206" fmla="*/ 1947334 h 5207000"/>
                <a:gd name="connsiteX207" fmla="*/ 1540934 w 6316134"/>
                <a:gd name="connsiteY207" fmla="*/ 2006600 h 5207000"/>
                <a:gd name="connsiteX208" fmla="*/ 1549400 w 6316134"/>
                <a:gd name="connsiteY208" fmla="*/ 2099734 h 5207000"/>
                <a:gd name="connsiteX209" fmla="*/ 1617134 w 6316134"/>
                <a:gd name="connsiteY209" fmla="*/ 2159000 h 5207000"/>
                <a:gd name="connsiteX210" fmla="*/ 1828800 w 6316134"/>
                <a:gd name="connsiteY210" fmla="*/ 2311400 h 5207000"/>
                <a:gd name="connsiteX211" fmla="*/ 2387600 w 6316134"/>
                <a:gd name="connsiteY211" fmla="*/ 2556934 h 5207000"/>
                <a:gd name="connsiteX212" fmla="*/ 2692400 w 6316134"/>
                <a:gd name="connsiteY212" fmla="*/ 2700867 h 5207000"/>
                <a:gd name="connsiteX213" fmla="*/ 3310467 w 6316134"/>
                <a:gd name="connsiteY213" fmla="*/ 2963334 h 5207000"/>
                <a:gd name="connsiteX214" fmla="*/ 3826934 w 6316134"/>
                <a:gd name="connsiteY214" fmla="*/ 3242734 h 5207000"/>
                <a:gd name="connsiteX215" fmla="*/ 4241800 w 6316134"/>
                <a:gd name="connsiteY215" fmla="*/ 3547534 h 5207000"/>
                <a:gd name="connsiteX216" fmla="*/ 4326467 w 6316134"/>
                <a:gd name="connsiteY216" fmla="*/ 3683000 h 5207000"/>
                <a:gd name="connsiteX217" fmla="*/ 4343400 w 6316134"/>
                <a:gd name="connsiteY217" fmla="*/ 3784600 h 5207000"/>
                <a:gd name="connsiteX218" fmla="*/ 4250267 w 6316134"/>
                <a:gd name="connsiteY218" fmla="*/ 4114800 h 5207000"/>
                <a:gd name="connsiteX219" fmla="*/ 4148667 w 6316134"/>
                <a:gd name="connsiteY219" fmla="*/ 4267200 h 5207000"/>
                <a:gd name="connsiteX220" fmla="*/ 3674534 w 6316134"/>
                <a:gd name="connsiteY220" fmla="*/ 4749800 h 5207000"/>
                <a:gd name="connsiteX221" fmla="*/ 3344334 w 6316134"/>
                <a:gd name="connsiteY221" fmla="*/ 5020734 h 5207000"/>
                <a:gd name="connsiteX222" fmla="*/ 3208867 w 6316134"/>
                <a:gd name="connsiteY222" fmla="*/ 5147734 h 5207000"/>
                <a:gd name="connsiteX223" fmla="*/ 3191934 w 6316134"/>
                <a:gd name="connsiteY223" fmla="*/ 5181600 h 5207000"/>
                <a:gd name="connsiteX224" fmla="*/ 3276600 w 6316134"/>
                <a:gd name="connsiteY224" fmla="*/ 5156200 h 5207000"/>
                <a:gd name="connsiteX225" fmla="*/ 3386667 w 6316134"/>
                <a:gd name="connsiteY225" fmla="*/ 4995334 h 5207000"/>
                <a:gd name="connsiteX226" fmla="*/ 3361267 w 6316134"/>
                <a:gd name="connsiteY226" fmla="*/ 4732867 h 5207000"/>
                <a:gd name="connsiteX227" fmla="*/ 3225800 w 6316134"/>
                <a:gd name="connsiteY227" fmla="*/ 4453467 h 5207000"/>
                <a:gd name="connsiteX228" fmla="*/ 2599267 w 6316134"/>
                <a:gd name="connsiteY228" fmla="*/ 3683000 h 5207000"/>
                <a:gd name="connsiteX229" fmla="*/ 2167467 w 6316134"/>
                <a:gd name="connsiteY229" fmla="*/ 3234267 h 5207000"/>
                <a:gd name="connsiteX230" fmla="*/ 1989667 w 6316134"/>
                <a:gd name="connsiteY230" fmla="*/ 3098800 h 5207000"/>
                <a:gd name="connsiteX231" fmla="*/ 1998134 w 6316134"/>
                <a:gd name="connsiteY231" fmla="*/ 3073400 h 5207000"/>
                <a:gd name="connsiteX232" fmla="*/ 2184400 w 6316134"/>
                <a:gd name="connsiteY232" fmla="*/ 2988734 h 5207000"/>
                <a:gd name="connsiteX233" fmla="*/ 2717800 w 6316134"/>
                <a:gd name="connsiteY233" fmla="*/ 2887134 h 5207000"/>
                <a:gd name="connsiteX234" fmla="*/ 4580467 w 6316134"/>
                <a:gd name="connsiteY234" fmla="*/ 2895600 h 5207000"/>
                <a:gd name="connsiteX235" fmla="*/ 4834467 w 6316134"/>
                <a:gd name="connsiteY235" fmla="*/ 2912534 h 5207000"/>
                <a:gd name="connsiteX236" fmla="*/ 4741334 w 6316134"/>
                <a:gd name="connsiteY236" fmla="*/ 2954867 h 5207000"/>
                <a:gd name="connsiteX237" fmla="*/ 4267200 w 6316134"/>
                <a:gd name="connsiteY237" fmla="*/ 3031067 h 5207000"/>
                <a:gd name="connsiteX238" fmla="*/ 2175934 w 6316134"/>
                <a:gd name="connsiteY238" fmla="*/ 3022600 h 5207000"/>
                <a:gd name="connsiteX239" fmla="*/ 1608667 w 6316134"/>
                <a:gd name="connsiteY239" fmla="*/ 3005667 h 5207000"/>
                <a:gd name="connsiteX240" fmla="*/ 1024467 w 6316134"/>
                <a:gd name="connsiteY240" fmla="*/ 2946400 h 5207000"/>
                <a:gd name="connsiteX241" fmla="*/ 558800 w 6316134"/>
                <a:gd name="connsiteY241" fmla="*/ 2921000 h 5207000"/>
                <a:gd name="connsiteX242" fmla="*/ 42334 w 6316134"/>
                <a:gd name="connsiteY242" fmla="*/ 2810934 h 5207000"/>
                <a:gd name="connsiteX243" fmla="*/ 0 w 6316134"/>
                <a:gd name="connsiteY243" fmla="*/ 2785534 h 5207000"/>
                <a:gd name="connsiteX244" fmla="*/ 270934 w 6316134"/>
                <a:gd name="connsiteY244" fmla="*/ 2633134 h 5207000"/>
                <a:gd name="connsiteX245" fmla="*/ 575734 w 6316134"/>
                <a:gd name="connsiteY245" fmla="*/ 2531534 h 5207000"/>
                <a:gd name="connsiteX246" fmla="*/ 2159000 w 6316134"/>
                <a:gd name="connsiteY246" fmla="*/ 2362200 h 5207000"/>
                <a:gd name="connsiteX247" fmla="*/ 2760134 w 6316134"/>
                <a:gd name="connsiteY247" fmla="*/ 2302934 h 5207000"/>
                <a:gd name="connsiteX248" fmla="*/ 3843867 w 6316134"/>
                <a:gd name="connsiteY248" fmla="*/ 2150534 h 5207000"/>
                <a:gd name="connsiteX249" fmla="*/ 4292600 w 6316134"/>
                <a:gd name="connsiteY249" fmla="*/ 2032000 h 5207000"/>
                <a:gd name="connsiteX250" fmla="*/ 4792134 w 6316134"/>
                <a:gd name="connsiteY250" fmla="*/ 1896534 h 5207000"/>
                <a:gd name="connsiteX251" fmla="*/ 4546600 w 6316134"/>
                <a:gd name="connsiteY251" fmla="*/ 2006600 h 5207000"/>
                <a:gd name="connsiteX252" fmla="*/ 4309534 w 6316134"/>
                <a:gd name="connsiteY252" fmla="*/ 2108200 h 5207000"/>
                <a:gd name="connsiteX253" fmla="*/ 3979334 w 6316134"/>
                <a:gd name="connsiteY253" fmla="*/ 2226734 h 5207000"/>
                <a:gd name="connsiteX254" fmla="*/ 3276600 w 6316134"/>
                <a:gd name="connsiteY254" fmla="*/ 2514600 h 5207000"/>
                <a:gd name="connsiteX255" fmla="*/ 2277534 w 6316134"/>
                <a:gd name="connsiteY255" fmla="*/ 2785534 h 5207000"/>
                <a:gd name="connsiteX256" fmla="*/ 2006600 w 6316134"/>
                <a:gd name="connsiteY256" fmla="*/ 2760134 h 5207000"/>
                <a:gd name="connsiteX257" fmla="*/ 2099734 w 6316134"/>
                <a:gd name="connsiteY257" fmla="*/ 2480734 h 5207000"/>
                <a:gd name="connsiteX258" fmla="*/ 2362200 w 6316134"/>
                <a:gd name="connsiteY258" fmla="*/ 1998134 h 5207000"/>
                <a:gd name="connsiteX259" fmla="*/ 2540000 w 6316134"/>
                <a:gd name="connsiteY259" fmla="*/ 1735667 h 5207000"/>
                <a:gd name="connsiteX260" fmla="*/ 2937934 w 6316134"/>
                <a:gd name="connsiteY260" fmla="*/ 1227667 h 5207000"/>
                <a:gd name="connsiteX261" fmla="*/ 3064934 w 6316134"/>
                <a:gd name="connsiteY261" fmla="*/ 982134 h 5207000"/>
                <a:gd name="connsiteX262" fmla="*/ 3208867 w 6316134"/>
                <a:gd name="connsiteY262" fmla="*/ 736600 h 5207000"/>
                <a:gd name="connsiteX263" fmla="*/ 3208867 w 6316134"/>
                <a:gd name="connsiteY263" fmla="*/ 575734 h 5207000"/>
                <a:gd name="connsiteX264" fmla="*/ 3132667 w 6316134"/>
                <a:gd name="connsiteY264" fmla="*/ 550334 h 5207000"/>
                <a:gd name="connsiteX265" fmla="*/ 2870200 w 6316134"/>
                <a:gd name="connsiteY265" fmla="*/ 575734 h 5207000"/>
                <a:gd name="connsiteX266" fmla="*/ 2751667 w 6316134"/>
                <a:gd name="connsiteY266" fmla="*/ 643467 h 5207000"/>
                <a:gd name="connsiteX267" fmla="*/ 2345267 w 6316134"/>
                <a:gd name="connsiteY267" fmla="*/ 872067 h 5207000"/>
                <a:gd name="connsiteX268" fmla="*/ 2167467 w 6316134"/>
                <a:gd name="connsiteY268" fmla="*/ 1041400 h 5207000"/>
                <a:gd name="connsiteX269" fmla="*/ 1896534 w 6316134"/>
                <a:gd name="connsiteY269" fmla="*/ 1498600 h 5207000"/>
                <a:gd name="connsiteX270" fmla="*/ 1820334 w 6316134"/>
                <a:gd name="connsiteY270" fmla="*/ 1710267 h 5207000"/>
                <a:gd name="connsiteX271" fmla="*/ 1938867 w 6316134"/>
                <a:gd name="connsiteY271" fmla="*/ 2396067 h 5207000"/>
                <a:gd name="connsiteX272" fmla="*/ 2099734 w 6316134"/>
                <a:gd name="connsiteY272" fmla="*/ 2650067 h 5207000"/>
                <a:gd name="connsiteX273" fmla="*/ 2709334 w 6316134"/>
                <a:gd name="connsiteY273" fmla="*/ 3268134 h 5207000"/>
                <a:gd name="connsiteX274" fmla="*/ 3022600 w 6316134"/>
                <a:gd name="connsiteY274" fmla="*/ 3564467 h 5207000"/>
                <a:gd name="connsiteX275" fmla="*/ 4199467 w 6316134"/>
                <a:gd name="connsiteY275" fmla="*/ 4419600 h 5207000"/>
                <a:gd name="connsiteX276" fmla="*/ 5105400 w 6316134"/>
                <a:gd name="connsiteY276" fmla="*/ 4868334 h 5207000"/>
                <a:gd name="connsiteX277" fmla="*/ 5283200 w 6316134"/>
                <a:gd name="connsiteY277" fmla="*/ 4944534 h 5207000"/>
                <a:gd name="connsiteX278" fmla="*/ 4969934 w 6316134"/>
                <a:gd name="connsiteY278" fmla="*/ 4910667 h 5207000"/>
                <a:gd name="connsiteX279" fmla="*/ 3937000 w 6316134"/>
                <a:gd name="connsiteY279" fmla="*/ 4478867 h 5207000"/>
                <a:gd name="connsiteX280" fmla="*/ 2311400 w 6316134"/>
                <a:gd name="connsiteY280" fmla="*/ 3852334 h 5207000"/>
                <a:gd name="connsiteX281" fmla="*/ 1422400 w 6316134"/>
                <a:gd name="connsiteY281" fmla="*/ 3606800 h 5207000"/>
                <a:gd name="connsiteX282" fmla="*/ 838200 w 6316134"/>
                <a:gd name="connsiteY282" fmla="*/ 3479800 h 5207000"/>
                <a:gd name="connsiteX283" fmla="*/ 905934 w 6316134"/>
                <a:gd name="connsiteY283" fmla="*/ 3420534 h 5207000"/>
                <a:gd name="connsiteX284" fmla="*/ 1312334 w 6316134"/>
                <a:gd name="connsiteY284" fmla="*/ 3293534 h 5207000"/>
                <a:gd name="connsiteX285" fmla="*/ 2125134 w 6316134"/>
                <a:gd name="connsiteY285" fmla="*/ 3132667 h 5207000"/>
                <a:gd name="connsiteX286" fmla="*/ 2548467 w 6316134"/>
                <a:gd name="connsiteY286" fmla="*/ 3081867 h 5207000"/>
                <a:gd name="connsiteX287" fmla="*/ 3344334 w 6316134"/>
                <a:gd name="connsiteY287" fmla="*/ 3022600 h 5207000"/>
                <a:gd name="connsiteX288" fmla="*/ 3581400 w 6316134"/>
                <a:gd name="connsiteY288" fmla="*/ 2997200 h 5207000"/>
                <a:gd name="connsiteX289" fmla="*/ 3733800 w 6316134"/>
                <a:gd name="connsiteY289" fmla="*/ 2971800 h 5207000"/>
                <a:gd name="connsiteX290" fmla="*/ 3767667 w 6316134"/>
                <a:gd name="connsiteY290" fmla="*/ 2963334 h 5207000"/>
                <a:gd name="connsiteX291" fmla="*/ 3708400 w 6316134"/>
                <a:gd name="connsiteY291" fmla="*/ 2971800 h 5207000"/>
                <a:gd name="connsiteX292" fmla="*/ 3285067 w 6316134"/>
                <a:gd name="connsiteY292" fmla="*/ 3048000 h 5207000"/>
                <a:gd name="connsiteX293" fmla="*/ 2929467 w 6316134"/>
                <a:gd name="connsiteY293" fmla="*/ 3081867 h 5207000"/>
                <a:gd name="connsiteX294" fmla="*/ 1778000 w 6316134"/>
                <a:gd name="connsiteY294" fmla="*/ 3124200 h 5207000"/>
                <a:gd name="connsiteX295" fmla="*/ 1507067 w 6316134"/>
                <a:gd name="connsiteY295" fmla="*/ 3081867 h 5207000"/>
                <a:gd name="connsiteX296" fmla="*/ 1727200 w 6316134"/>
                <a:gd name="connsiteY296" fmla="*/ 3005667 h 5207000"/>
                <a:gd name="connsiteX297" fmla="*/ 2116667 w 6316134"/>
                <a:gd name="connsiteY297" fmla="*/ 2912534 h 5207000"/>
                <a:gd name="connsiteX298" fmla="*/ 3115734 w 6316134"/>
                <a:gd name="connsiteY298" fmla="*/ 2844800 h 5207000"/>
                <a:gd name="connsiteX299" fmla="*/ 3759200 w 6316134"/>
                <a:gd name="connsiteY299" fmla="*/ 2827867 h 5207000"/>
                <a:gd name="connsiteX300" fmla="*/ 5232400 w 6316134"/>
                <a:gd name="connsiteY300" fmla="*/ 2844800 h 5207000"/>
                <a:gd name="connsiteX301" fmla="*/ 5283200 w 6316134"/>
                <a:gd name="connsiteY301" fmla="*/ 2878667 h 5207000"/>
                <a:gd name="connsiteX302" fmla="*/ 5207000 w 6316134"/>
                <a:gd name="connsiteY302" fmla="*/ 3005667 h 5207000"/>
                <a:gd name="connsiteX303" fmla="*/ 4758267 w 6316134"/>
                <a:gd name="connsiteY303" fmla="*/ 3259667 h 5207000"/>
                <a:gd name="connsiteX304" fmla="*/ 3403600 w 6316134"/>
                <a:gd name="connsiteY304" fmla="*/ 3953934 h 5207000"/>
                <a:gd name="connsiteX305" fmla="*/ 2413000 w 6316134"/>
                <a:gd name="connsiteY305" fmla="*/ 4301067 h 5207000"/>
                <a:gd name="connsiteX306" fmla="*/ 1845734 w 6316134"/>
                <a:gd name="connsiteY306" fmla="*/ 4538134 h 5207000"/>
                <a:gd name="connsiteX307" fmla="*/ 1752600 w 6316134"/>
                <a:gd name="connsiteY307" fmla="*/ 4588934 h 5207000"/>
                <a:gd name="connsiteX308" fmla="*/ 1701800 w 6316134"/>
                <a:gd name="connsiteY308" fmla="*/ 4605867 h 5207000"/>
                <a:gd name="connsiteX309" fmla="*/ 1744134 w 6316134"/>
                <a:gd name="connsiteY309" fmla="*/ 4580467 h 5207000"/>
                <a:gd name="connsiteX310" fmla="*/ 1879600 w 6316134"/>
                <a:gd name="connsiteY310" fmla="*/ 4453467 h 5207000"/>
                <a:gd name="connsiteX311" fmla="*/ 2108200 w 6316134"/>
                <a:gd name="connsiteY311" fmla="*/ 4284134 h 5207000"/>
                <a:gd name="connsiteX312" fmla="*/ 2692400 w 6316134"/>
                <a:gd name="connsiteY312" fmla="*/ 3699934 h 5207000"/>
                <a:gd name="connsiteX313" fmla="*/ 4165600 w 6316134"/>
                <a:gd name="connsiteY313" fmla="*/ 2497667 h 5207000"/>
                <a:gd name="connsiteX314" fmla="*/ 4741334 w 6316134"/>
                <a:gd name="connsiteY314" fmla="*/ 2074334 h 5207000"/>
                <a:gd name="connsiteX315" fmla="*/ 4953000 w 6316134"/>
                <a:gd name="connsiteY315" fmla="*/ 1989667 h 5207000"/>
                <a:gd name="connsiteX316" fmla="*/ 4919134 w 6316134"/>
                <a:gd name="connsiteY316" fmla="*/ 2235200 h 5207000"/>
                <a:gd name="connsiteX317" fmla="*/ 4707467 w 6316134"/>
                <a:gd name="connsiteY317" fmla="*/ 2794000 h 5207000"/>
                <a:gd name="connsiteX318" fmla="*/ 4343400 w 6316134"/>
                <a:gd name="connsiteY318" fmla="*/ 3429000 h 5207000"/>
                <a:gd name="connsiteX319" fmla="*/ 3572934 w 6316134"/>
                <a:gd name="connsiteY319" fmla="*/ 4343400 h 5207000"/>
                <a:gd name="connsiteX320" fmla="*/ 3285067 w 6316134"/>
                <a:gd name="connsiteY320" fmla="*/ 4580467 h 5207000"/>
                <a:gd name="connsiteX321" fmla="*/ 3098800 w 6316134"/>
                <a:gd name="connsiteY321" fmla="*/ 4749800 h 5207000"/>
                <a:gd name="connsiteX322" fmla="*/ 2802467 w 6316134"/>
                <a:gd name="connsiteY322" fmla="*/ 4876800 h 5207000"/>
                <a:gd name="connsiteX323" fmla="*/ 2599267 w 6316134"/>
                <a:gd name="connsiteY323" fmla="*/ 4834467 h 5207000"/>
                <a:gd name="connsiteX324" fmla="*/ 2379134 w 6316134"/>
                <a:gd name="connsiteY324" fmla="*/ 4605867 h 5207000"/>
                <a:gd name="connsiteX325" fmla="*/ 2065867 w 6316134"/>
                <a:gd name="connsiteY325" fmla="*/ 4106334 h 5207000"/>
                <a:gd name="connsiteX326" fmla="*/ 1947334 w 6316134"/>
                <a:gd name="connsiteY326" fmla="*/ 3776134 h 5207000"/>
                <a:gd name="connsiteX327" fmla="*/ 1854200 w 6316134"/>
                <a:gd name="connsiteY327" fmla="*/ 3132667 h 5207000"/>
                <a:gd name="connsiteX328" fmla="*/ 1845734 w 6316134"/>
                <a:gd name="connsiteY328" fmla="*/ 2387600 h 5207000"/>
                <a:gd name="connsiteX329" fmla="*/ 1854200 w 6316134"/>
                <a:gd name="connsiteY329" fmla="*/ 2243667 h 5207000"/>
                <a:gd name="connsiteX330" fmla="*/ 1921934 w 6316134"/>
                <a:gd name="connsiteY330" fmla="*/ 2142067 h 5207000"/>
                <a:gd name="connsiteX331" fmla="*/ 1947334 w 6316134"/>
                <a:gd name="connsiteY331" fmla="*/ 2133600 h 5207000"/>
                <a:gd name="connsiteX332" fmla="*/ 2006600 w 6316134"/>
                <a:gd name="connsiteY332" fmla="*/ 2150534 h 5207000"/>
                <a:gd name="connsiteX333" fmla="*/ 2074334 w 6316134"/>
                <a:gd name="connsiteY333" fmla="*/ 2218267 h 5207000"/>
                <a:gd name="connsiteX334" fmla="*/ 2328334 w 6316134"/>
                <a:gd name="connsiteY334" fmla="*/ 2489200 h 5207000"/>
                <a:gd name="connsiteX335" fmla="*/ 2599267 w 6316134"/>
                <a:gd name="connsiteY335" fmla="*/ 2760134 h 5207000"/>
                <a:gd name="connsiteX336" fmla="*/ 3208867 w 6316134"/>
                <a:gd name="connsiteY336" fmla="*/ 3505200 h 5207000"/>
                <a:gd name="connsiteX337" fmla="*/ 4224867 w 6316134"/>
                <a:gd name="connsiteY337" fmla="*/ 4775200 h 5207000"/>
                <a:gd name="connsiteX338" fmla="*/ 4360334 w 6316134"/>
                <a:gd name="connsiteY338" fmla="*/ 4919134 h 5207000"/>
                <a:gd name="connsiteX339" fmla="*/ 4292600 w 6316134"/>
                <a:gd name="connsiteY339" fmla="*/ 4936067 h 5207000"/>
                <a:gd name="connsiteX340" fmla="*/ 4047067 w 6316134"/>
                <a:gd name="connsiteY340" fmla="*/ 4859867 h 5207000"/>
                <a:gd name="connsiteX341" fmla="*/ 3852334 w 6316134"/>
                <a:gd name="connsiteY341" fmla="*/ 4749800 h 5207000"/>
                <a:gd name="connsiteX342" fmla="*/ 3369734 w 6316134"/>
                <a:gd name="connsiteY342" fmla="*/ 4343400 h 5207000"/>
                <a:gd name="connsiteX343" fmla="*/ 2980267 w 6316134"/>
                <a:gd name="connsiteY343" fmla="*/ 3835400 h 5207000"/>
                <a:gd name="connsiteX344" fmla="*/ 2895600 w 6316134"/>
                <a:gd name="connsiteY344" fmla="*/ 3369734 h 5207000"/>
                <a:gd name="connsiteX345" fmla="*/ 2963334 w 6316134"/>
                <a:gd name="connsiteY345" fmla="*/ 2988734 h 5207000"/>
                <a:gd name="connsiteX346" fmla="*/ 3276600 w 6316134"/>
                <a:gd name="connsiteY346" fmla="*/ 2641600 h 5207000"/>
                <a:gd name="connsiteX347" fmla="*/ 3742267 w 6316134"/>
                <a:gd name="connsiteY347" fmla="*/ 2370667 h 5207000"/>
                <a:gd name="connsiteX348" fmla="*/ 4529667 w 6316134"/>
                <a:gd name="connsiteY348" fmla="*/ 2226734 h 5207000"/>
                <a:gd name="connsiteX349" fmla="*/ 4944534 w 6316134"/>
                <a:gd name="connsiteY349" fmla="*/ 2209800 h 5207000"/>
                <a:gd name="connsiteX350" fmla="*/ 5325534 w 6316134"/>
                <a:gd name="connsiteY350" fmla="*/ 2235200 h 5207000"/>
                <a:gd name="connsiteX351" fmla="*/ 5698067 w 6316134"/>
                <a:gd name="connsiteY351" fmla="*/ 2421467 h 5207000"/>
                <a:gd name="connsiteX352" fmla="*/ 5842000 w 6316134"/>
                <a:gd name="connsiteY352" fmla="*/ 2726267 h 5207000"/>
                <a:gd name="connsiteX353" fmla="*/ 5799667 w 6316134"/>
                <a:gd name="connsiteY353" fmla="*/ 2997200 h 5207000"/>
                <a:gd name="connsiteX354" fmla="*/ 5689600 w 6316134"/>
                <a:gd name="connsiteY354" fmla="*/ 3141134 h 5207000"/>
                <a:gd name="connsiteX355" fmla="*/ 5054600 w 6316134"/>
                <a:gd name="connsiteY355" fmla="*/ 3589867 h 5207000"/>
                <a:gd name="connsiteX356" fmla="*/ 4470400 w 6316134"/>
                <a:gd name="connsiteY356" fmla="*/ 3708400 h 5207000"/>
                <a:gd name="connsiteX357" fmla="*/ 4089400 w 6316134"/>
                <a:gd name="connsiteY357" fmla="*/ 3649134 h 5207000"/>
                <a:gd name="connsiteX358" fmla="*/ 3310467 w 6316134"/>
                <a:gd name="connsiteY358" fmla="*/ 3285067 h 5207000"/>
                <a:gd name="connsiteX359" fmla="*/ 2277534 w 6316134"/>
                <a:gd name="connsiteY359" fmla="*/ 2362200 h 5207000"/>
                <a:gd name="connsiteX360" fmla="*/ 1811867 w 6316134"/>
                <a:gd name="connsiteY360" fmla="*/ 1786467 h 5207000"/>
                <a:gd name="connsiteX361" fmla="*/ 1761067 w 6316134"/>
                <a:gd name="connsiteY361" fmla="*/ 1532467 h 5207000"/>
                <a:gd name="connsiteX362" fmla="*/ 1854200 w 6316134"/>
                <a:gd name="connsiteY362" fmla="*/ 1236134 h 5207000"/>
                <a:gd name="connsiteX363" fmla="*/ 1947334 w 6316134"/>
                <a:gd name="connsiteY363" fmla="*/ 1151467 h 5207000"/>
                <a:gd name="connsiteX364" fmla="*/ 2311400 w 6316134"/>
                <a:gd name="connsiteY364" fmla="*/ 1066800 h 5207000"/>
                <a:gd name="connsiteX365" fmla="*/ 2802467 w 6316134"/>
                <a:gd name="connsiteY365" fmla="*/ 1075267 h 5207000"/>
                <a:gd name="connsiteX366" fmla="*/ 3056467 w 6316134"/>
                <a:gd name="connsiteY366" fmla="*/ 1143000 h 5207000"/>
                <a:gd name="connsiteX367" fmla="*/ 3784600 w 6316134"/>
                <a:gd name="connsiteY367" fmla="*/ 1625600 h 5207000"/>
                <a:gd name="connsiteX368" fmla="*/ 4030134 w 6316134"/>
                <a:gd name="connsiteY368" fmla="*/ 2091267 h 5207000"/>
                <a:gd name="connsiteX369" fmla="*/ 3818467 w 6316134"/>
                <a:gd name="connsiteY369" fmla="*/ 3022600 h 5207000"/>
                <a:gd name="connsiteX370" fmla="*/ 3581400 w 6316134"/>
                <a:gd name="connsiteY370" fmla="*/ 3268134 h 5207000"/>
                <a:gd name="connsiteX371" fmla="*/ 3014134 w 6316134"/>
                <a:gd name="connsiteY371" fmla="*/ 3725334 h 5207000"/>
                <a:gd name="connsiteX372" fmla="*/ 2683934 w 6316134"/>
                <a:gd name="connsiteY372" fmla="*/ 3877734 h 5207000"/>
                <a:gd name="connsiteX373" fmla="*/ 1938867 w 6316134"/>
                <a:gd name="connsiteY373" fmla="*/ 4021667 h 5207000"/>
                <a:gd name="connsiteX374" fmla="*/ 1363134 w 6316134"/>
                <a:gd name="connsiteY374" fmla="*/ 3962400 h 5207000"/>
                <a:gd name="connsiteX375" fmla="*/ 1312334 w 6316134"/>
                <a:gd name="connsiteY375" fmla="*/ 3886200 h 5207000"/>
                <a:gd name="connsiteX376" fmla="*/ 1405467 w 6316134"/>
                <a:gd name="connsiteY376" fmla="*/ 3556000 h 5207000"/>
                <a:gd name="connsiteX377" fmla="*/ 2057400 w 6316134"/>
                <a:gd name="connsiteY377" fmla="*/ 2810934 h 5207000"/>
                <a:gd name="connsiteX378" fmla="*/ 2921000 w 6316134"/>
                <a:gd name="connsiteY378" fmla="*/ 2294467 h 5207000"/>
                <a:gd name="connsiteX379" fmla="*/ 3471334 w 6316134"/>
                <a:gd name="connsiteY379" fmla="*/ 2116667 h 5207000"/>
                <a:gd name="connsiteX380" fmla="*/ 4301067 w 6316134"/>
                <a:gd name="connsiteY380" fmla="*/ 1998134 h 5207000"/>
                <a:gd name="connsiteX381" fmla="*/ 4699000 w 6316134"/>
                <a:gd name="connsiteY381" fmla="*/ 2099734 h 5207000"/>
                <a:gd name="connsiteX382" fmla="*/ 4792134 w 6316134"/>
                <a:gd name="connsiteY382" fmla="*/ 2201334 h 5207000"/>
                <a:gd name="connsiteX383" fmla="*/ 4868334 w 6316134"/>
                <a:gd name="connsiteY383" fmla="*/ 2396067 h 5207000"/>
                <a:gd name="connsiteX384" fmla="*/ 4707467 w 6316134"/>
                <a:gd name="connsiteY384" fmla="*/ 3268134 h 5207000"/>
                <a:gd name="connsiteX385" fmla="*/ 4165600 w 6316134"/>
                <a:gd name="connsiteY385" fmla="*/ 3852334 h 5207000"/>
                <a:gd name="connsiteX386" fmla="*/ 3522134 w 6316134"/>
                <a:gd name="connsiteY386" fmla="*/ 4445000 h 5207000"/>
                <a:gd name="connsiteX387" fmla="*/ 2641600 w 6316134"/>
                <a:gd name="connsiteY387" fmla="*/ 4978400 h 5207000"/>
                <a:gd name="connsiteX388" fmla="*/ 1794934 w 6316134"/>
                <a:gd name="connsiteY388" fmla="*/ 5207000 h 5207000"/>
                <a:gd name="connsiteX389" fmla="*/ 1820334 w 6316134"/>
                <a:gd name="connsiteY389" fmla="*/ 5105400 h 5207000"/>
                <a:gd name="connsiteX390" fmla="*/ 2497667 w 6316134"/>
                <a:gd name="connsiteY390" fmla="*/ 4546600 h 5207000"/>
                <a:gd name="connsiteX391" fmla="*/ 2785534 w 6316134"/>
                <a:gd name="connsiteY391" fmla="*/ 4292600 h 5207000"/>
                <a:gd name="connsiteX392" fmla="*/ 3454400 w 6316134"/>
                <a:gd name="connsiteY392" fmla="*/ 3801534 h 5207000"/>
                <a:gd name="connsiteX393" fmla="*/ 4191000 w 6316134"/>
                <a:gd name="connsiteY393" fmla="*/ 3166534 h 5207000"/>
                <a:gd name="connsiteX394" fmla="*/ 4250267 w 6316134"/>
                <a:gd name="connsiteY394" fmla="*/ 3081867 h 5207000"/>
                <a:gd name="connsiteX395" fmla="*/ 4191000 w 6316134"/>
                <a:gd name="connsiteY395" fmla="*/ 3064934 h 5207000"/>
                <a:gd name="connsiteX396" fmla="*/ 3970867 w 6316134"/>
                <a:gd name="connsiteY396" fmla="*/ 3081867 h 5207000"/>
                <a:gd name="connsiteX397" fmla="*/ 2726267 w 6316134"/>
                <a:gd name="connsiteY397" fmla="*/ 3022600 h 5207000"/>
                <a:gd name="connsiteX398" fmla="*/ 2616200 w 6316134"/>
                <a:gd name="connsiteY398" fmla="*/ 2988734 h 5207000"/>
                <a:gd name="connsiteX399" fmla="*/ 2489200 w 6316134"/>
                <a:gd name="connsiteY399" fmla="*/ 2921000 h 5207000"/>
                <a:gd name="connsiteX400" fmla="*/ 2463800 w 6316134"/>
                <a:gd name="connsiteY400" fmla="*/ 2895600 h 5207000"/>
                <a:gd name="connsiteX401" fmla="*/ 2556934 w 6316134"/>
                <a:gd name="connsiteY401" fmla="*/ 2726267 h 5207000"/>
                <a:gd name="connsiteX402" fmla="*/ 2844800 w 6316134"/>
                <a:gd name="connsiteY402" fmla="*/ 2463800 h 5207000"/>
                <a:gd name="connsiteX403" fmla="*/ 2971800 w 6316134"/>
                <a:gd name="connsiteY403" fmla="*/ 2362200 h 5207000"/>
                <a:gd name="connsiteX404" fmla="*/ 2988734 w 6316134"/>
                <a:gd name="connsiteY404" fmla="*/ 2336800 h 5207000"/>
                <a:gd name="connsiteX405" fmla="*/ 2269067 w 6316134"/>
                <a:gd name="connsiteY405" fmla="*/ 2319867 h 5207000"/>
                <a:gd name="connsiteX406" fmla="*/ 1761067 w 6316134"/>
                <a:gd name="connsiteY406" fmla="*/ 2235200 h 5207000"/>
                <a:gd name="connsiteX407" fmla="*/ 1583267 w 6316134"/>
                <a:gd name="connsiteY407" fmla="*/ 2167467 h 5207000"/>
                <a:gd name="connsiteX408" fmla="*/ 1591734 w 6316134"/>
                <a:gd name="connsiteY408" fmla="*/ 2040467 h 5207000"/>
                <a:gd name="connsiteX409" fmla="*/ 1778000 w 6316134"/>
                <a:gd name="connsiteY409" fmla="*/ 1786467 h 5207000"/>
                <a:gd name="connsiteX410" fmla="*/ 1998134 w 6316134"/>
                <a:gd name="connsiteY410" fmla="*/ 1591734 h 5207000"/>
                <a:gd name="connsiteX411" fmla="*/ 2277534 w 6316134"/>
                <a:gd name="connsiteY411" fmla="*/ 1388534 h 5207000"/>
                <a:gd name="connsiteX412" fmla="*/ 2463800 w 6316134"/>
                <a:gd name="connsiteY412" fmla="*/ 1329267 h 5207000"/>
                <a:gd name="connsiteX413" fmla="*/ 2683934 w 6316134"/>
                <a:gd name="connsiteY413" fmla="*/ 1286934 h 5207000"/>
                <a:gd name="connsiteX414" fmla="*/ 3369734 w 6316134"/>
                <a:gd name="connsiteY414" fmla="*/ 1794934 h 5207000"/>
                <a:gd name="connsiteX415" fmla="*/ 4123267 w 6316134"/>
                <a:gd name="connsiteY415" fmla="*/ 2819400 h 5207000"/>
                <a:gd name="connsiteX416" fmla="*/ 4673600 w 6316134"/>
                <a:gd name="connsiteY416" fmla="*/ 3835400 h 5207000"/>
                <a:gd name="connsiteX417" fmla="*/ 5003800 w 6316134"/>
                <a:gd name="connsiteY417" fmla="*/ 4631267 h 5207000"/>
                <a:gd name="connsiteX418" fmla="*/ 5105400 w 6316134"/>
                <a:gd name="connsiteY418" fmla="*/ 4868334 h 5207000"/>
                <a:gd name="connsiteX419" fmla="*/ 5156200 w 6316134"/>
                <a:gd name="connsiteY419" fmla="*/ 4995334 h 5207000"/>
                <a:gd name="connsiteX420" fmla="*/ 5173134 w 6316134"/>
                <a:gd name="connsiteY420" fmla="*/ 5080000 h 5207000"/>
                <a:gd name="connsiteX421" fmla="*/ 5037667 w 6316134"/>
                <a:gd name="connsiteY421" fmla="*/ 5012267 h 5207000"/>
                <a:gd name="connsiteX422" fmla="*/ 3505200 w 6316134"/>
                <a:gd name="connsiteY422" fmla="*/ 2980267 h 5207000"/>
                <a:gd name="connsiteX423" fmla="*/ 2954867 w 6316134"/>
                <a:gd name="connsiteY423" fmla="*/ 2201334 h 5207000"/>
                <a:gd name="connsiteX424" fmla="*/ 2794000 w 6316134"/>
                <a:gd name="connsiteY424" fmla="*/ 1837267 h 5207000"/>
                <a:gd name="connsiteX425" fmla="*/ 2785534 w 6316134"/>
                <a:gd name="connsiteY425" fmla="*/ 1778000 h 5207000"/>
                <a:gd name="connsiteX426" fmla="*/ 2836334 w 6316134"/>
                <a:gd name="connsiteY426" fmla="*/ 1794934 h 5207000"/>
                <a:gd name="connsiteX427" fmla="*/ 2904067 w 6316134"/>
                <a:gd name="connsiteY427" fmla="*/ 1871134 h 5207000"/>
                <a:gd name="connsiteX428" fmla="*/ 3048000 w 6316134"/>
                <a:gd name="connsiteY428" fmla="*/ 2006600 h 5207000"/>
                <a:gd name="connsiteX429" fmla="*/ 3843867 w 6316134"/>
                <a:gd name="connsiteY429" fmla="*/ 2870200 h 5207000"/>
                <a:gd name="connsiteX430" fmla="*/ 4385734 w 6316134"/>
                <a:gd name="connsiteY430" fmla="*/ 3462867 h 5207000"/>
                <a:gd name="connsiteX431" fmla="*/ 4682067 w 6316134"/>
                <a:gd name="connsiteY431" fmla="*/ 3759200 h 5207000"/>
                <a:gd name="connsiteX432" fmla="*/ 4961467 w 6316134"/>
                <a:gd name="connsiteY432" fmla="*/ 4106334 h 5207000"/>
                <a:gd name="connsiteX433" fmla="*/ 4885267 w 6316134"/>
                <a:gd name="connsiteY433" fmla="*/ 4114800 h 5207000"/>
                <a:gd name="connsiteX434" fmla="*/ 4732867 w 6316134"/>
                <a:gd name="connsiteY434" fmla="*/ 4021667 h 5207000"/>
                <a:gd name="connsiteX435" fmla="*/ 4470400 w 6316134"/>
                <a:gd name="connsiteY435" fmla="*/ 3843867 h 5207000"/>
                <a:gd name="connsiteX436" fmla="*/ 3285067 w 6316134"/>
                <a:gd name="connsiteY436" fmla="*/ 2895600 h 5207000"/>
                <a:gd name="connsiteX437" fmla="*/ 2785534 w 6316134"/>
                <a:gd name="connsiteY437" fmla="*/ 2556934 h 5207000"/>
                <a:gd name="connsiteX438" fmla="*/ 1718734 w 6316134"/>
                <a:gd name="connsiteY438" fmla="*/ 1608667 h 5207000"/>
                <a:gd name="connsiteX439" fmla="*/ 1625600 w 6316134"/>
                <a:gd name="connsiteY439" fmla="*/ 1532467 h 5207000"/>
                <a:gd name="connsiteX440" fmla="*/ 1591734 w 6316134"/>
                <a:gd name="connsiteY440" fmla="*/ 1498600 h 5207000"/>
                <a:gd name="connsiteX441" fmla="*/ 1608667 w 6316134"/>
                <a:gd name="connsiteY441" fmla="*/ 1524000 h 5207000"/>
                <a:gd name="connsiteX442" fmla="*/ 1837267 w 6316134"/>
                <a:gd name="connsiteY442" fmla="*/ 1744134 h 5207000"/>
                <a:gd name="connsiteX443" fmla="*/ 2760134 w 6316134"/>
                <a:gd name="connsiteY443" fmla="*/ 2895600 h 5207000"/>
                <a:gd name="connsiteX444" fmla="*/ 2997200 w 6316134"/>
                <a:gd name="connsiteY444" fmla="*/ 3420534 h 5207000"/>
                <a:gd name="connsiteX445" fmla="*/ 3056467 w 6316134"/>
                <a:gd name="connsiteY445" fmla="*/ 4106334 h 5207000"/>
                <a:gd name="connsiteX446" fmla="*/ 3014134 w 6316134"/>
                <a:gd name="connsiteY446" fmla="*/ 4148667 h 5207000"/>
                <a:gd name="connsiteX447" fmla="*/ 3073400 w 6316134"/>
                <a:gd name="connsiteY447" fmla="*/ 4038600 h 5207000"/>
                <a:gd name="connsiteX448" fmla="*/ 3183467 w 6316134"/>
                <a:gd name="connsiteY448" fmla="*/ 3920067 h 5207000"/>
                <a:gd name="connsiteX449" fmla="*/ 3352800 w 6316134"/>
                <a:gd name="connsiteY449" fmla="*/ 3708400 h 5207000"/>
                <a:gd name="connsiteX450" fmla="*/ 4385734 w 6316134"/>
                <a:gd name="connsiteY450" fmla="*/ 2743200 h 5207000"/>
                <a:gd name="connsiteX451" fmla="*/ 4969934 w 6316134"/>
                <a:gd name="connsiteY451" fmla="*/ 2413000 h 5207000"/>
                <a:gd name="connsiteX452" fmla="*/ 4876800 w 6316134"/>
                <a:gd name="connsiteY452" fmla="*/ 2768600 h 5207000"/>
                <a:gd name="connsiteX453" fmla="*/ 3589867 w 6316134"/>
                <a:gd name="connsiteY453" fmla="*/ 4097867 h 5207000"/>
                <a:gd name="connsiteX454" fmla="*/ 3386667 w 6316134"/>
                <a:gd name="connsiteY454" fmla="*/ 4292600 h 5207000"/>
                <a:gd name="connsiteX455" fmla="*/ 3310467 w 6316134"/>
                <a:gd name="connsiteY455" fmla="*/ 4334934 h 5207000"/>
                <a:gd name="connsiteX456" fmla="*/ 3276600 w 6316134"/>
                <a:gd name="connsiteY456" fmla="*/ 4360334 h 5207000"/>
                <a:gd name="connsiteX457" fmla="*/ 3318934 w 6316134"/>
                <a:gd name="connsiteY457" fmla="*/ 4309534 h 5207000"/>
                <a:gd name="connsiteX458" fmla="*/ 3784600 w 6316134"/>
                <a:gd name="connsiteY458" fmla="*/ 3818467 h 5207000"/>
                <a:gd name="connsiteX459" fmla="*/ 4284134 w 6316134"/>
                <a:gd name="connsiteY459" fmla="*/ 3310467 h 5207000"/>
                <a:gd name="connsiteX460" fmla="*/ 4546600 w 6316134"/>
                <a:gd name="connsiteY460" fmla="*/ 3039534 h 5207000"/>
                <a:gd name="connsiteX461" fmla="*/ 5003800 w 6316134"/>
                <a:gd name="connsiteY461" fmla="*/ 2556934 h 5207000"/>
                <a:gd name="connsiteX462" fmla="*/ 5139267 w 6316134"/>
                <a:gd name="connsiteY462" fmla="*/ 2429934 h 5207000"/>
                <a:gd name="connsiteX463" fmla="*/ 5012267 w 6316134"/>
                <a:gd name="connsiteY463" fmla="*/ 2429934 h 5207000"/>
                <a:gd name="connsiteX464" fmla="*/ 4199467 w 6316134"/>
                <a:gd name="connsiteY464" fmla="*/ 2667000 h 5207000"/>
                <a:gd name="connsiteX465" fmla="*/ 2997200 w 6316134"/>
                <a:gd name="connsiteY465" fmla="*/ 2929467 h 5207000"/>
                <a:gd name="connsiteX466" fmla="*/ 2667000 w 6316134"/>
                <a:gd name="connsiteY466" fmla="*/ 2954867 h 5207000"/>
                <a:gd name="connsiteX467" fmla="*/ 2184400 w 6316134"/>
                <a:gd name="connsiteY467" fmla="*/ 2988734 h 5207000"/>
                <a:gd name="connsiteX468" fmla="*/ 2209800 w 6316134"/>
                <a:gd name="connsiteY468" fmla="*/ 2946400 h 5207000"/>
                <a:gd name="connsiteX469" fmla="*/ 2675467 w 6316134"/>
                <a:gd name="connsiteY469" fmla="*/ 2328334 h 5207000"/>
                <a:gd name="connsiteX470" fmla="*/ 2937934 w 6316134"/>
                <a:gd name="connsiteY470" fmla="*/ 1921934 h 5207000"/>
                <a:gd name="connsiteX471" fmla="*/ 3031067 w 6316134"/>
                <a:gd name="connsiteY471" fmla="*/ 1659467 h 5207000"/>
                <a:gd name="connsiteX472" fmla="*/ 2844800 w 6316134"/>
                <a:gd name="connsiteY472" fmla="*/ 1761067 h 5207000"/>
                <a:gd name="connsiteX473" fmla="*/ 2717800 w 6316134"/>
                <a:gd name="connsiteY473" fmla="*/ 1905000 h 5207000"/>
                <a:gd name="connsiteX474" fmla="*/ 2650067 w 6316134"/>
                <a:gd name="connsiteY474" fmla="*/ 2108200 h 5207000"/>
                <a:gd name="connsiteX475" fmla="*/ 2726267 w 6316134"/>
                <a:gd name="connsiteY475" fmla="*/ 2396067 h 5207000"/>
                <a:gd name="connsiteX476" fmla="*/ 2802467 w 6316134"/>
                <a:gd name="connsiteY476" fmla="*/ 2480734 h 5207000"/>
                <a:gd name="connsiteX477" fmla="*/ 3217334 w 6316134"/>
                <a:gd name="connsiteY477" fmla="*/ 2667000 h 5207000"/>
                <a:gd name="connsiteX478" fmla="*/ 3843867 w 6316134"/>
                <a:gd name="connsiteY478" fmla="*/ 2887134 h 5207000"/>
                <a:gd name="connsiteX479" fmla="*/ 4165600 w 6316134"/>
                <a:gd name="connsiteY479" fmla="*/ 2946400 h 5207000"/>
                <a:gd name="connsiteX480" fmla="*/ 4944534 w 6316134"/>
                <a:gd name="connsiteY480" fmla="*/ 3158067 h 5207000"/>
                <a:gd name="connsiteX481" fmla="*/ 5130800 w 6316134"/>
                <a:gd name="connsiteY481" fmla="*/ 3268134 h 5207000"/>
                <a:gd name="connsiteX482" fmla="*/ 5173134 w 6316134"/>
                <a:gd name="connsiteY482" fmla="*/ 3361267 h 5207000"/>
                <a:gd name="connsiteX483" fmla="*/ 5164667 w 6316134"/>
                <a:gd name="connsiteY483" fmla="*/ 3420534 h 5207000"/>
                <a:gd name="connsiteX484" fmla="*/ 4978400 w 6316134"/>
                <a:gd name="connsiteY484" fmla="*/ 3632200 h 5207000"/>
                <a:gd name="connsiteX485" fmla="*/ 4546600 w 6316134"/>
                <a:gd name="connsiteY485" fmla="*/ 4004734 h 5207000"/>
                <a:gd name="connsiteX486" fmla="*/ 3970867 w 6316134"/>
                <a:gd name="connsiteY486" fmla="*/ 4394200 h 5207000"/>
                <a:gd name="connsiteX487" fmla="*/ 3200400 w 6316134"/>
                <a:gd name="connsiteY487" fmla="*/ 4580467 h 5207000"/>
                <a:gd name="connsiteX488" fmla="*/ 2201334 w 6316134"/>
                <a:gd name="connsiteY488" fmla="*/ 4563534 h 5207000"/>
                <a:gd name="connsiteX489" fmla="*/ 2057400 w 6316134"/>
                <a:gd name="connsiteY489" fmla="*/ 4512734 h 5207000"/>
                <a:gd name="connsiteX490" fmla="*/ 1938867 w 6316134"/>
                <a:gd name="connsiteY490" fmla="*/ 4411134 h 5207000"/>
                <a:gd name="connsiteX491" fmla="*/ 2108200 w 6316134"/>
                <a:gd name="connsiteY491" fmla="*/ 3928534 h 5207000"/>
                <a:gd name="connsiteX492" fmla="*/ 2599267 w 6316134"/>
                <a:gd name="connsiteY492" fmla="*/ 3378200 h 5207000"/>
                <a:gd name="connsiteX493" fmla="*/ 3843867 w 6316134"/>
                <a:gd name="connsiteY493" fmla="*/ 2616200 h 5207000"/>
                <a:gd name="connsiteX494" fmla="*/ 4284134 w 6316134"/>
                <a:gd name="connsiteY494" fmla="*/ 2531534 h 5207000"/>
                <a:gd name="connsiteX495" fmla="*/ 4377267 w 6316134"/>
                <a:gd name="connsiteY495" fmla="*/ 2540000 h 5207000"/>
                <a:gd name="connsiteX496" fmla="*/ 4436534 w 6316134"/>
                <a:gd name="connsiteY496" fmla="*/ 2700867 h 5207000"/>
                <a:gd name="connsiteX497" fmla="*/ 4038600 w 6316134"/>
                <a:gd name="connsiteY497" fmla="*/ 3031067 h 5207000"/>
                <a:gd name="connsiteX498" fmla="*/ 3132667 w 6316134"/>
                <a:gd name="connsiteY498" fmla="*/ 3310467 h 5207000"/>
                <a:gd name="connsiteX499" fmla="*/ 2827867 w 6316134"/>
                <a:gd name="connsiteY499" fmla="*/ 3327400 h 5207000"/>
                <a:gd name="connsiteX500" fmla="*/ 1972734 w 6316134"/>
                <a:gd name="connsiteY500" fmla="*/ 3175000 h 5207000"/>
                <a:gd name="connsiteX501" fmla="*/ 1947334 w 6316134"/>
                <a:gd name="connsiteY501" fmla="*/ 3132667 h 5207000"/>
                <a:gd name="connsiteX502" fmla="*/ 2074334 w 6316134"/>
                <a:gd name="connsiteY502" fmla="*/ 2768600 h 5207000"/>
                <a:gd name="connsiteX503" fmla="*/ 2540000 w 6316134"/>
                <a:gd name="connsiteY503" fmla="*/ 2226734 h 5207000"/>
                <a:gd name="connsiteX504" fmla="*/ 2802467 w 6316134"/>
                <a:gd name="connsiteY504" fmla="*/ 1972734 h 5207000"/>
                <a:gd name="connsiteX505" fmla="*/ 3674534 w 6316134"/>
                <a:gd name="connsiteY505" fmla="*/ 1261534 h 5207000"/>
                <a:gd name="connsiteX506" fmla="*/ 4148667 w 6316134"/>
                <a:gd name="connsiteY506" fmla="*/ 1032934 h 5207000"/>
                <a:gd name="connsiteX507" fmla="*/ 4047067 w 6316134"/>
                <a:gd name="connsiteY507" fmla="*/ 1083734 h 5207000"/>
                <a:gd name="connsiteX508" fmla="*/ 2819400 w 6316134"/>
                <a:gd name="connsiteY508" fmla="*/ 1261534 h 5207000"/>
                <a:gd name="connsiteX509" fmla="*/ 2446867 w 6316134"/>
                <a:gd name="connsiteY509" fmla="*/ 1253067 h 5207000"/>
                <a:gd name="connsiteX510" fmla="*/ 1659467 w 6316134"/>
                <a:gd name="connsiteY510" fmla="*/ 1159934 h 5207000"/>
                <a:gd name="connsiteX511" fmla="*/ 1490134 w 6316134"/>
                <a:gd name="connsiteY511" fmla="*/ 1083734 h 5207000"/>
                <a:gd name="connsiteX512" fmla="*/ 1515534 w 6316134"/>
                <a:gd name="connsiteY512" fmla="*/ 1007534 h 5207000"/>
                <a:gd name="connsiteX513" fmla="*/ 1566334 w 6316134"/>
                <a:gd name="connsiteY513" fmla="*/ 965200 h 5207000"/>
                <a:gd name="connsiteX514" fmla="*/ 1744134 w 6316134"/>
                <a:gd name="connsiteY514" fmla="*/ 897467 h 5207000"/>
                <a:gd name="connsiteX515" fmla="*/ 2116667 w 6316134"/>
                <a:gd name="connsiteY515" fmla="*/ 939800 h 5207000"/>
                <a:gd name="connsiteX516" fmla="*/ 2726267 w 6316134"/>
                <a:gd name="connsiteY516" fmla="*/ 1286934 h 5207000"/>
                <a:gd name="connsiteX517" fmla="*/ 2912534 w 6316134"/>
                <a:gd name="connsiteY517" fmla="*/ 1422400 h 5207000"/>
                <a:gd name="connsiteX518" fmla="*/ 3242734 w 6316134"/>
                <a:gd name="connsiteY518" fmla="*/ 1871134 h 5207000"/>
                <a:gd name="connsiteX519" fmla="*/ 3564467 w 6316134"/>
                <a:gd name="connsiteY519" fmla="*/ 2590800 h 5207000"/>
                <a:gd name="connsiteX520" fmla="*/ 3683000 w 6316134"/>
                <a:gd name="connsiteY520" fmla="*/ 2836334 h 5207000"/>
                <a:gd name="connsiteX521" fmla="*/ 4013200 w 6316134"/>
                <a:gd name="connsiteY521" fmla="*/ 3640667 h 5207000"/>
                <a:gd name="connsiteX522" fmla="*/ 4326467 w 6316134"/>
                <a:gd name="connsiteY522" fmla="*/ 4377267 h 5207000"/>
                <a:gd name="connsiteX523" fmla="*/ 4360334 w 6316134"/>
                <a:gd name="connsiteY523" fmla="*/ 4749800 h 5207000"/>
                <a:gd name="connsiteX524" fmla="*/ 4351867 w 6316134"/>
                <a:gd name="connsiteY524" fmla="*/ 4809067 h 5207000"/>
                <a:gd name="connsiteX525" fmla="*/ 4258734 w 6316134"/>
                <a:gd name="connsiteY525" fmla="*/ 4893734 h 5207000"/>
                <a:gd name="connsiteX526" fmla="*/ 4199467 w 6316134"/>
                <a:gd name="connsiteY526" fmla="*/ 4919134 h 5207000"/>
                <a:gd name="connsiteX527" fmla="*/ 4072467 w 6316134"/>
                <a:gd name="connsiteY527" fmla="*/ 4927600 h 5207000"/>
                <a:gd name="connsiteX528" fmla="*/ 4004734 w 6316134"/>
                <a:gd name="connsiteY528" fmla="*/ 4910667 h 5207000"/>
                <a:gd name="connsiteX529" fmla="*/ 3928534 w 6316134"/>
                <a:gd name="connsiteY529" fmla="*/ 4842934 h 5207000"/>
                <a:gd name="connsiteX530" fmla="*/ 3699934 w 6316134"/>
                <a:gd name="connsiteY530" fmla="*/ 4597400 h 5207000"/>
                <a:gd name="connsiteX531" fmla="*/ 3225800 w 6316134"/>
                <a:gd name="connsiteY531" fmla="*/ 3860800 h 5207000"/>
                <a:gd name="connsiteX532" fmla="*/ 3124200 w 6316134"/>
                <a:gd name="connsiteY532" fmla="*/ 3606800 h 5207000"/>
                <a:gd name="connsiteX533" fmla="*/ 3081867 w 6316134"/>
                <a:gd name="connsiteY533" fmla="*/ 3285067 h 5207000"/>
                <a:gd name="connsiteX534" fmla="*/ 3835400 w 6316134"/>
                <a:gd name="connsiteY534" fmla="*/ 2624667 h 5207000"/>
                <a:gd name="connsiteX535" fmla="*/ 4089400 w 6316134"/>
                <a:gd name="connsiteY535" fmla="*/ 2616200 h 5207000"/>
                <a:gd name="connsiteX536" fmla="*/ 4148667 w 6316134"/>
                <a:gd name="connsiteY536" fmla="*/ 2633134 h 5207000"/>
                <a:gd name="connsiteX537" fmla="*/ 4174067 w 6316134"/>
                <a:gd name="connsiteY537" fmla="*/ 2717800 h 5207000"/>
                <a:gd name="connsiteX538" fmla="*/ 4106334 w 6316134"/>
                <a:gd name="connsiteY538" fmla="*/ 2912534 h 5207000"/>
                <a:gd name="connsiteX539" fmla="*/ 3759200 w 6316134"/>
                <a:gd name="connsiteY539" fmla="*/ 3268134 h 5207000"/>
                <a:gd name="connsiteX540" fmla="*/ 2912534 w 6316134"/>
                <a:gd name="connsiteY540" fmla="*/ 3835400 h 5207000"/>
                <a:gd name="connsiteX541" fmla="*/ 2607734 w 6316134"/>
                <a:gd name="connsiteY541" fmla="*/ 3945467 h 5207000"/>
                <a:gd name="connsiteX542" fmla="*/ 2133600 w 6316134"/>
                <a:gd name="connsiteY542" fmla="*/ 4038600 h 5207000"/>
                <a:gd name="connsiteX543" fmla="*/ 2116667 w 6316134"/>
                <a:gd name="connsiteY543" fmla="*/ 3877734 h 5207000"/>
                <a:gd name="connsiteX544" fmla="*/ 2912534 w 6316134"/>
                <a:gd name="connsiteY544" fmla="*/ 3285067 h 5207000"/>
                <a:gd name="connsiteX545" fmla="*/ 3903134 w 6316134"/>
                <a:gd name="connsiteY545" fmla="*/ 2624667 h 5207000"/>
                <a:gd name="connsiteX546" fmla="*/ 4495800 w 6316134"/>
                <a:gd name="connsiteY546" fmla="*/ 2345267 h 5207000"/>
                <a:gd name="connsiteX547" fmla="*/ 4106334 w 6316134"/>
                <a:gd name="connsiteY547" fmla="*/ 2607734 h 5207000"/>
                <a:gd name="connsiteX548" fmla="*/ 2531534 w 6316134"/>
                <a:gd name="connsiteY548" fmla="*/ 3784600 h 5207000"/>
                <a:gd name="connsiteX549" fmla="*/ 1930400 w 6316134"/>
                <a:gd name="connsiteY549" fmla="*/ 4131734 h 5207000"/>
                <a:gd name="connsiteX550" fmla="*/ 1896534 w 6316134"/>
                <a:gd name="connsiteY550" fmla="*/ 4157134 h 5207000"/>
                <a:gd name="connsiteX551" fmla="*/ 1938867 w 6316134"/>
                <a:gd name="connsiteY551" fmla="*/ 4140200 h 5207000"/>
                <a:gd name="connsiteX552" fmla="*/ 2032000 w 6316134"/>
                <a:gd name="connsiteY552" fmla="*/ 4072467 h 5207000"/>
                <a:gd name="connsiteX553" fmla="*/ 2683934 w 6316134"/>
                <a:gd name="connsiteY553" fmla="*/ 3615267 h 5207000"/>
                <a:gd name="connsiteX554" fmla="*/ 3479800 w 6316134"/>
                <a:gd name="connsiteY554" fmla="*/ 2870200 h 5207000"/>
                <a:gd name="connsiteX555" fmla="*/ 4089400 w 6316134"/>
                <a:gd name="connsiteY555" fmla="*/ 2396067 h 5207000"/>
                <a:gd name="connsiteX556" fmla="*/ 4123267 w 6316134"/>
                <a:gd name="connsiteY556" fmla="*/ 2379134 h 5207000"/>
                <a:gd name="connsiteX557" fmla="*/ 3725334 w 6316134"/>
                <a:gd name="connsiteY557" fmla="*/ 2963334 h 5207000"/>
                <a:gd name="connsiteX558" fmla="*/ 3547534 w 6316134"/>
                <a:gd name="connsiteY558" fmla="*/ 3217334 h 5207000"/>
                <a:gd name="connsiteX559" fmla="*/ 3183467 w 6316134"/>
                <a:gd name="connsiteY559" fmla="*/ 3886200 h 5207000"/>
                <a:gd name="connsiteX560" fmla="*/ 3166534 w 6316134"/>
                <a:gd name="connsiteY560" fmla="*/ 4004734 h 5207000"/>
                <a:gd name="connsiteX561" fmla="*/ 3191934 w 6316134"/>
                <a:gd name="connsiteY561" fmla="*/ 3937000 h 5207000"/>
                <a:gd name="connsiteX562" fmla="*/ 3208867 w 6316134"/>
                <a:gd name="connsiteY562" fmla="*/ 3835400 h 5207000"/>
                <a:gd name="connsiteX563" fmla="*/ 3496734 w 6316134"/>
                <a:gd name="connsiteY563" fmla="*/ 2277534 h 5207000"/>
                <a:gd name="connsiteX564" fmla="*/ 3708400 w 6316134"/>
                <a:gd name="connsiteY564" fmla="*/ 1947334 h 5207000"/>
                <a:gd name="connsiteX565" fmla="*/ 3759200 w 6316134"/>
                <a:gd name="connsiteY565" fmla="*/ 1905000 h 5207000"/>
                <a:gd name="connsiteX566" fmla="*/ 3886200 w 6316134"/>
                <a:gd name="connsiteY566" fmla="*/ 1888067 h 5207000"/>
                <a:gd name="connsiteX567" fmla="*/ 4478867 w 6316134"/>
                <a:gd name="connsiteY567" fmla="*/ 2133600 h 5207000"/>
                <a:gd name="connsiteX568" fmla="*/ 5181600 w 6316134"/>
                <a:gd name="connsiteY568" fmla="*/ 2836334 h 5207000"/>
                <a:gd name="connsiteX569" fmla="*/ 5350934 w 6316134"/>
                <a:gd name="connsiteY569" fmla="*/ 3225800 h 5207000"/>
                <a:gd name="connsiteX570" fmla="*/ 5367867 w 6316134"/>
                <a:gd name="connsiteY570" fmla="*/ 3378200 h 5207000"/>
                <a:gd name="connsiteX571" fmla="*/ 5240867 w 6316134"/>
                <a:gd name="connsiteY571" fmla="*/ 3725334 h 5207000"/>
                <a:gd name="connsiteX572" fmla="*/ 5037667 w 6316134"/>
                <a:gd name="connsiteY572" fmla="*/ 3767667 h 5207000"/>
                <a:gd name="connsiteX573" fmla="*/ 4724400 w 6316134"/>
                <a:gd name="connsiteY573" fmla="*/ 3666067 h 5207000"/>
                <a:gd name="connsiteX574" fmla="*/ 4529667 w 6316134"/>
                <a:gd name="connsiteY574" fmla="*/ 3505200 h 5207000"/>
                <a:gd name="connsiteX575" fmla="*/ 4072467 w 6316134"/>
                <a:gd name="connsiteY575" fmla="*/ 2895600 h 5207000"/>
                <a:gd name="connsiteX576" fmla="*/ 3750734 w 6316134"/>
                <a:gd name="connsiteY576" fmla="*/ 1752600 h 5207000"/>
                <a:gd name="connsiteX577" fmla="*/ 3750734 w 6316134"/>
                <a:gd name="connsiteY577" fmla="*/ 855134 h 5207000"/>
                <a:gd name="connsiteX578" fmla="*/ 3869267 w 6316134"/>
                <a:gd name="connsiteY578" fmla="*/ 592667 h 5207000"/>
                <a:gd name="connsiteX579" fmla="*/ 4351867 w 6316134"/>
                <a:gd name="connsiteY579" fmla="*/ 59267 h 5207000"/>
                <a:gd name="connsiteX580" fmla="*/ 4546600 w 6316134"/>
                <a:gd name="connsiteY580" fmla="*/ 0 h 5207000"/>
                <a:gd name="connsiteX581" fmla="*/ 4656667 w 6316134"/>
                <a:gd name="connsiteY581" fmla="*/ 33867 h 5207000"/>
                <a:gd name="connsiteX582" fmla="*/ 4715934 w 6316134"/>
                <a:gd name="connsiteY582" fmla="*/ 228600 h 5207000"/>
                <a:gd name="connsiteX583" fmla="*/ 4631267 w 6316134"/>
                <a:gd name="connsiteY583" fmla="*/ 956734 h 5207000"/>
                <a:gd name="connsiteX584" fmla="*/ 4064000 w 6316134"/>
                <a:gd name="connsiteY584" fmla="*/ 1930400 h 5207000"/>
                <a:gd name="connsiteX585" fmla="*/ 3208867 w 6316134"/>
                <a:gd name="connsiteY585" fmla="*/ 2760134 h 5207000"/>
                <a:gd name="connsiteX586" fmla="*/ 3166534 w 6316134"/>
                <a:gd name="connsiteY586" fmla="*/ 2819400 h 5207000"/>
                <a:gd name="connsiteX587" fmla="*/ 3327400 w 6316134"/>
                <a:gd name="connsiteY587" fmla="*/ 2726267 h 5207000"/>
                <a:gd name="connsiteX588" fmla="*/ 4588934 w 6316134"/>
                <a:gd name="connsiteY588" fmla="*/ 1921934 h 5207000"/>
                <a:gd name="connsiteX589" fmla="*/ 5249334 w 6316134"/>
                <a:gd name="connsiteY589" fmla="*/ 1642534 h 5207000"/>
                <a:gd name="connsiteX590" fmla="*/ 5359400 w 6316134"/>
                <a:gd name="connsiteY590" fmla="*/ 1651000 h 5207000"/>
                <a:gd name="connsiteX591" fmla="*/ 5215467 w 6316134"/>
                <a:gd name="connsiteY591" fmla="*/ 1905000 h 5207000"/>
                <a:gd name="connsiteX592" fmla="*/ 4690534 w 6316134"/>
                <a:gd name="connsiteY592" fmla="*/ 2455334 h 5207000"/>
                <a:gd name="connsiteX593" fmla="*/ 3606800 w 6316134"/>
                <a:gd name="connsiteY593" fmla="*/ 3217334 h 5207000"/>
                <a:gd name="connsiteX594" fmla="*/ 2810934 w 6316134"/>
                <a:gd name="connsiteY594" fmla="*/ 3572934 h 5207000"/>
                <a:gd name="connsiteX595" fmla="*/ 2167467 w 6316134"/>
                <a:gd name="connsiteY595" fmla="*/ 3826934 h 5207000"/>
                <a:gd name="connsiteX596" fmla="*/ 2142067 w 6316134"/>
                <a:gd name="connsiteY596" fmla="*/ 3843867 h 5207000"/>
                <a:gd name="connsiteX597" fmla="*/ 2184400 w 6316134"/>
                <a:gd name="connsiteY597" fmla="*/ 3826934 h 5207000"/>
                <a:gd name="connsiteX598" fmla="*/ 2294467 w 6316134"/>
                <a:gd name="connsiteY598" fmla="*/ 3750734 h 5207000"/>
                <a:gd name="connsiteX599" fmla="*/ 3208867 w 6316134"/>
                <a:gd name="connsiteY599" fmla="*/ 3208867 h 5207000"/>
                <a:gd name="connsiteX600" fmla="*/ 4148667 w 6316134"/>
                <a:gd name="connsiteY600" fmla="*/ 2836334 h 5207000"/>
                <a:gd name="connsiteX601" fmla="*/ 4013200 w 6316134"/>
                <a:gd name="connsiteY601" fmla="*/ 2954867 h 5207000"/>
                <a:gd name="connsiteX602" fmla="*/ 3471334 w 6316134"/>
                <a:gd name="connsiteY602" fmla="*/ 3251200 h 5207000"/>
                <a:gd name="connsiteX603" fmla="*/ 2286000 w 6316134"/>
                <a:gd name="connsiteY603" fmla="*/ 3564467 h 5207000"/>
                <a:gd name="connsiteX604" fmla="*/ 1524000 w 6316134"/>
                <a:gd name="connsiteY604" fmla="*/ 3581400 h 5207000"/>
                <a:gd name="connsiteX605" fmla="*/ 1007534 w 6316134"/>
                <a:gd name="connsiteY605" fmla="*/ 3403600 h 5207000"/>
                <a:gd name="connsiteX606" fmla="*/ 914400 w 6316134"/>
                <a:gd name="connsiteY606" fmla="*/ 3217334 h 5207000"/>
                <a:gd name="connsiteX607" fmla="*/ 956734 w 6316134"/>
                <a:gd name="connsiteY607" fmla="*/ 2751667 h 5207000"/>
                <a:gd name="connsiteX608" fmla="*/ 1219200 w 6316134"/>
                <a:gd name="connsiteY608" fmla="*/ 2226734 h 5207000"/>
                <a:gd name="connsiteX609" fmla="*/ 1862667 w 6316134"/>
                <a:gd name="connsiteY609" fmla="*/ 1439334 h 5207000"/>
                <a:gd name="connsiteX610" fmla="*/ 2235200 w 6316134"/>
                <a:gd name="connsiteY610" fmla="*/ 1151467 h 5207000"/>
                <a:gd name="connsiteX611" fmla="*/ 2455334 w 6316134"/>
                <a:gd name="connsiteY611" fmla="*/ 1126067 h 5207000"/>
                <a:gd name="connsiteX612" fmla="*/ 2497667 w 6316134"/>
                <a:gd name="connsiteY612" fmla="*/ 1168400 h 5207000"/>
                <a:gd name="connsiteX613" fmla="*/ 3056467 w 6316134"/>
                <a:gd name="connsiteY613" fmla="*/ 2201334 h 5207000"/>
                <a:gd name="connsiteX614" fmla="*/ 3623734 w 6316134"/>
                <a:gd name="connsiteY614" fmla="*/ 3547534 h 5207000"/>
                <a:gd name="connsiteX615" fmla="*/ 3886200 w 6316134"/>
                <a:gd name="connsiteY615" fmla="*/ 4080934 h 5207000"/>
                <a:gd name="connsiteX616" fmla="*/ 4207934 w 6316134"/>
                <a:gd name="connsiteY616" fmla="*/ 4555067 h 5207000"/>
                <a:gd name="connsiteX617" fmla="*/ 4258734 w 6316134"/>
                <a:gd name="connsiteY617" fmla="*/ 4597400 h 5207000"/>
                <a:gd name="connsiteX618" fmla="*/ 3903134 w 6316134"/>
                <a:gd name="connsiteY618" fmla="*/ 3852334 h 5207000"/>
                <a:gd name="connsiteX619" fmla="*/ 3776134 w 6316134"/>
                <a:gd name="connsiteY619" fmla="*/ 3352800 h 5207000"/>
                <a:gd name="connsiteX620" fmla="*/ 3759200 w 6316134"/>
                <a:gd name="connsiteY620" fmla="*/ 3149600 h 5207000"/>
                <a:gd name="connsiteX621" fmla="*/ 3970867 w 6316134"/>
                <a:gd name="connsiteY621" fmla="*/ 3572934 h 5207000"/>
                <a:gd name="connsiteX622" fmla="*/ 4241800 w 6316134"/>
                <a:gd name="connsiteY622" fmla="*/ 4148667 h 5207000"/>
                <a:gd name="connsiteX623" fmla="*/ 4360334 w 6316134"/>
                <a:gd name="connsiteY623" fmla="*/ 4411134 h 5207000"/>
                <a:gd name="connsiteX624" fmla="*/ 4487334 w 6316134"/>
                <a:gd name="connsiteY624" fmla="*/ 4826000 h 5207000"/>
                <a:gd name="connsiteX625" fmla="*/ 4495800 w 6316134"/>
                <a:gd name="connsiteY625" fmla="*/ 4961467 h 5207000"/>
                <a:gd name="connsiteX626" fmla="*/ 4377267 w 6316134"/>
                <a:gd name="connsiteY626" fmla="*/ 4885267 h 5207000"/>
                <a:gd name="connsiteX627" fmla="*/ 4165600 w 6316134"/>
                <a:gd name="connsiteY627" fmla="*/ 4605867 h 5207000"/>
                <a:gd name="connsiteX628" fmla="*/ 4055534 w 6316134"/>
                <a:gd name="connsiteY628" fmla="*/ 4343400 h 5207000"/>
                <a:gd name="connsiteX629" fmla="*/ 3725334 w 6316134"/>
                <a:gd name="connsiteY629" fmla="*/ 3818467 h 5207000"/>
                <a:gd name="connsiteX630" fmla="*/ 3420534 w 6316134"/>
                <a:gd name="connsiteY630" fmla="*/ 3217334 h 5207000"/>
                <a:gd name="connsiteX631" fmla="*/ 3445934 w 6316134"/>
                <a:gd name="connsiteY631" fmla="*/ 3208867 h 5207000"/>
                <a:gd name="connsiteX632" fmla="*/ 3471334 w 6316134"/>
                <a:gd name="connsiteY632" fmla="*/ 3225800 h 5207000"/>
                <a:gd name="connsiteX633" fmla="*/ 3598334 w 6316134"/>
                <a:gd name="connsiteY633" fmla="*/ 3293534 h 5207000"/>
                <a:gd name="connsiteX634" fmla="*/ 3683000 w 6316134"/>
                <a:gd name="connsiteY634" fmla="*/ 3352800 h 5207000"/>
                <a:gd name="connsiteX635" fmla="*/ 3767667 w 6316134"/>
                <a:gd name="connsiteY635" fmla="*/ 3378200 h 5207000"/>
                <a:gd name="connsiteX636" fmla="*/ 3810000 w 6316134"/>
                <a:gd name="connsiteY636" fmla="*/ 3369734 h 5207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Lst>
              <a:rect l="l" t="t" r="r" b="b"/>
              <a:pathLst>
                <a:path w="6316134" h="5207000">
                  <a:moveTo>
                    <a:pt x="3877734" y="1464734"/>
                  </a:moveTo>
                  <a:cubicBezTo>
                    <a:pt x="3820900" y="1453367"/>
                    <a:pt x="3813512" y="1446483"/>
                    <a:pt x="3742267" y="1473200"/>
                  </a:cubicBezTo>
                  <a:cubicBezTo>
                    <a:pt x="3725347" y="1479545"/>
                    <a:pt x="3714792" y="1496781"/>
                    <a:pt x="3699934" y="1507067"/>
                  </a:cubicBezTo>
                  <a:cubicBezTo>
                    <a:pt x="3613397" y="1566977"/>
                    <a:pt x="3579946" y="1563920"/>
                    <a:pt x="3496734" y="1667934"/>
                  </a:cubicBezTo>
                  <a:cubicBezTo>
                    <a:pt x="3474156" y="1696156"/>
                    <a:pt x="3450440" y="1723504"/>
                    <a:pt x="3429000" y="1752600"/>
                  </a:cubicBezTo>
                  <a:cubicBezTo>
                    <a:pt x="3410891" y="1777176"/>
                    <a:pt x="3396744" y="1804551"/>
                    <a:pt x="3378200" y="1828800"/>
                  </a:cubicBezTo>
                  <a:cubicBezTo>
                    <a:pt x="3359976" y="1852631"/>
                    <a:pt x="3338689" y="1873956"/>
                    <a:pt x="3318934" y="1896534"/>
                  </a:cubicBezTo>
                  <a:cubicBezTo>
                    <a:pt x="3313289" y="1921934"/>
                    <a:pt x="3303182" y="1946741"/>
                    <a:pt x="3302000" y="1972734"/>
                  </a:cubicBezTo>
                  <a:cubicBezTo>
                    <a:pt x="3300329" y="2009493"/>
                    <a:pt x="3302039" y="2046981"/>
                    <a:pt x="3310467" y="2082800"/>
                  </a:cubicBezTo>
                  <a:cubicBezTo>
                    <a:pt x="3313699" y="2096536"/>
                    <a:pt x="3325320" y="2107292"/>
                    <a:pt x="3335867" y="2116667"/>
                  </a:cubicBezTo>
                  <a:cubicBezTo>
                    <a:pt x="3351078" y="2130188"/>
                    <a:pt x="3368189" y="2142006"/>
                    <a:pt x="3386667" y="2150534"/>
                  </a:cubicBezTo>
                  <a:cubicBezTo>
                    <a:pt x="3433570" y="2172182"/>
                    <a:pt x="3489705" y="2171446"/>
                    <a:pt x="3539067" y="2175934"/>
                  </a:cubicBezTo>
                  <a:cubicBezTo>
                    <a:pt x="3683000" y="2167467"/>
                    <a:pt x="3827635" y="2167061"/>
                    <a:pt x="3970867" y="2150534"/>
                  </a:cubicBezTo>
                  <a:cubicBezTo>
                    <a:pt x="4146414" y="2130279"/>
                    <a:pt x="4300500" y="2066743"/>
                    <a:pt x="4461934" y="1998134"/>
                  </a:cubicBezTo>
                  <a:cubicBezTo>
                    <a:pt x="4819097" y="1846339"/>
                    <a:pt x="4769643" y="1869567"/>
                    <a:pt x="4986867" y="1752600"/>
                  </a:cubicBezTo>
                  <a:cubicBezTo>
                    <a:pt x="5006623" y="1730022"/>
                    <a:pt x="5025862" y="1706982"/>
                    <a:pt x="5046134" y="1684867"/>
                  </a:cubicBezTo>
                  <a:cubicBezTo>
                    <a:pt x="5088223" y="1638951"/>
                    <a:pt x="5073882" y="1669353"/>
                    <a:pt x="5088467" y="1625600"/>
                  </a:cubicBezTo>
                  <a:cubicBezTo>
                    <a:pt x="5004948" y="1569922"/>
                    <a:pt x="5051724" y="1593935"/>
                    <a:pt x="4842934" y="1617134"/>
                  </a:cubicBezTo>
                  <a:cubicBezTo>
                    <a:pt x="4728288" y="1629872"/>
                    <a:pt x="4560683" y="1685680"/>
                    <a:pt x="4461934" y="1727200"/>
                  </a:cubicBezTo>
                  <a:cubicBezTo>
                    <a:pt x="4284947" y="1801615"/>
                    <a:pt x="4115699" y="1894064"/>
                    <a:pt x="3937000" y="1964267"/>
                  </a:cubicBezTo>
                  <a:cubicBezTo>
                    <a:pt x="3857978" y="1995311"/>
                    <a:pt x="3777686" y="2023298"/>
                    <a:pt x="3699934" y="2057400"/>
                  </a:cubicBezTo>
                  <a:cubicBezTo>
                    <a:pt x="3506281" y="2142336"/>
                    <a:pt x="3455630" y="2187850"/>
                    <a:pt x="3268134" y="2252134"/>
                  </a:cubicBezTo>
                  <a:cubicBezTo>
                    <a:pt x="3232516" y="2264346"/>
                    <a:pt x="3194756" y="2269067"/>
                    <a:pt x="3158067" y="2277534"/>
                  </a:cubicBezTo>
                  <a:cubicBezTo>
                    <a:pt x="3129845" y="2274712"/>
                    <a:pt x="3094599" y="2287911"/>
                    <a:pt x="3073400" y="2269067"/>
                  </a:cubicBezTo>
                  <a:cubicBezTo>
                    <a:pt x="3058485" y="2255809"/>
                    <a:pt x="3073868" y="2228083"/>
                    <a:pt x="3081867" y="2209800"/>
                  </a:cubicBezTo>
                  <a:cubicBezTo>
                    <a:pt x="3094103" y="2181832"/>
                    <a:pt x="3117245" y="2159945"/>
                    <a:pt x="3132667" y="2133600"/>
                  </a:cubicBezTo>
                  <a:cubicBezTo>
                    <a:pt x="3185013" y="2044176"/>
                    <a:pt x="3223685" y="1946147"/>
                    <a:pt x="3285067" y="1862667"/>
                  </a:cubicBezTo>
                  <a:cubicBezTo>
                    <a:pt x="3355623" y="1766711"/>
                    <a:pt x="3438893" y="1678915"/>
                    <a:pt x="3496734" y="1574800"/>
                  </a:cubicBezTo>
                  <a:cubicBezTo>
                    <a:pt x="3524956" y="1524000"/>
                    <a:pt x="3553958" y="1473625"/>
                    <a:pt x="3581400" y="1422400"/>
                  </a:cubicBezTo>
                  <a:cubicBezTo>
                    <a:pt x="3596300" y="1394586"/>
                    <a:pt x="3608265" y="1365235"/>
                    <a:pt x="3623734" y="1337734"/>
                  </a:cubicBezTo>
                  <a:cubicBezTo>
                    <a:pt x="3633711" y="1319996"/>
                    <a:pt x="3637249" y="1286934"/>
                    <a:pt x="3657600" y="1286934"/>
                  </a:cubicBezTo>
                  <a:cubicBezTo>
                    <a:pt x="3676532" y="1286934"/>
                    <a:pt x="3639889" y="1320434"/>
                    <a:pt x="3632200" y="1337734"/>
                  </a:cubicBezTo>
                  <a:cubicBezTo>
                    <a:pt x="3617299" y="1371261"/>
                    <a:pt x="3602970" y="1405065"/>
                    <a:pt x="3589867" y="1439334"/>
                  </a:cubicBezTo>
                  <a:cubicBezTo>
                    <a:pt x="3566272" y="1501043"/>
                    <a:pt x="3536876" y="1561200"/>
                    <a:pt x="3522134" y="1625600"/>
                  </a:cubicBezTo>
                  <a:cubicBezTo>
                    <a:pt x="3483099" y="1796122"/>
                    <a:pt x="3468624" y="1971681"/>
                    <a:pt x="3429000" y="2142067"/>
                  </a:cubicBezTo>
                  <a:lnTo>
                    <a:pt x="3344334" y="2506134"/>
                  </a:lnTo>
                  <a:cubicBezTo>
                    <a:pt x="3341356" y="2571640"/>
                    <a:pt x="3317532" y="3054327"/>
                    <a:pt x="3318934" y="3158067"/>
                  </a:cubicBezTo>
                  <a:cubicBezTo>
                    <a:pt x="3322019" y="3386322"/>
                    <a:pt x="3268367" y="3463086"/>
                    <a:pt x="3403600" y="3589867"/>
                  </a:cubicBezTo>
                  <a:cubicBezTo>
                    <a:pt x="3423024" y="3608077"/>
                    <a:pt x="3445647" y="3625195"/>
                    <a:pt x="3471334" y="3632200"/>
                  </a:cubicBezTo>
                  <a:cubicBezTo>
                    <a:pt x="3509550" y="3642623"/>
                    <a:pt x="3550356" y="3637845"/>
                    <a:pt x="3589867" y="3640667"/>
                  </a:cubicBezTo>
                  <a:cubicBezTo>
                    <a:pt x="3685823" y="3635023"/>
                    <a:pt x="3783241" y="3641351"/>
                    <a:pt x="3877734" y="3623734"/>
                  </a:cubicBezTo>
                  <a:cubicBezTo>
                    <a:pt x="3951452" y="3609990"/>
                    <a:pt x="4019954" y="3575827"/>
                    <a:pt x="4089400" y="3547534"/>
                  </a:cubicBezTo>
                  <a:cubicBezTo>
                    <a:pt x="4303516" y="3460301"/>
                    <a:pt x="4386875" y="3417924"/>
                    <a:pt x="4580467" y="3285067"/>
                  </a:cubicBezTo>
                  <a:cubicBezTo>
                    <a:pt x="4645163" y="3240668"/>
                    <a:pt x="4712443" y="3197785"/>
                    <a:pt x="4766734" y="3141134"/>
                  </a:cubicBezTo>
                  <a:cubicBezTo>
                    <a:pt x="4851425" y="3052761"/>
                    <a:pt x="5012924" y="2822392"/>
                    <a:pt x="5088467" y="2700867"/>
                  </a:cubicBezTo>
                  <a:cubicBezTo>
                    <a:pt x="5115819" y="2656866"/>
                    <a:pt x="5140818" y="2611394"/>
                    <a:pt x="5164667" y="2565400"/>
                  </a:cubicBezTo>
                  <a:cubicBezTo>
                    <a:pt x="5180364" y="2535127"/>
                    <a:pt x="5192710" y="2503229"/>
                    <a:pt x="5207000" y="2472267"/>
                  </a:cubicBezTo>
                  <a:cubicBezTo>
                    <a:pt x="5209645" y="2466537"/>
                    <a:pt x="5219253" y="2450286"/>
                    <a:pt x="5215467" y="2455334"/>
                  </a:cubicBezTo>
                  <a:cubicBezTo>
                    <a:pt x="5198534" y="2477912"/>
                    <a:pt x="5180604" y="2499775"/>
                    <a:pt x="5164667" y="2523067"/>
                  </a:cubicBezTo>
                  <a:cubicBezTo>
                    <a:pt x="5092808" y="2628091"/>
                    <a:pt x="5089585" y="2661317"/>
                    <a:pt x="4986867" y="2768600"/>
                  </a:cubicBezTo>
                  <a:cubicBezTo>
                    <a:pt x="4908778" y="2850160"/>
                    <a:pt x="4560981" y="3167783"/>
                    <a:pt x="4461934" y="3234267"/>
                  </a:cubicBezTo>
                  <a:cubicBezTo>
                    <a:pt x="4198210" y="3411287"/>
                    <a:pt x="3941671" y="3513597"/>
                    <a:pt x="3623734" y="3564467"/>
                  </a:cubicBezTo>
                  <a:cubicBezTo>
                    <a:pt x="3433905" y="3594840"/>
                    <a:pt x="3239911" y="3587045"/>
                    <a:pt x="3048000" y="3598334"/>
                  </a:cubicBezTo>
                  <a:cubicBezTo>
                    <a:pt x="2647245" y="3564467"/>
                    <a:pt x="2241219" y="3569833"/>
                    <a:pt x="1845734" y="3496734"/>
                  </a:cubicBezTo>
                  <a:cubicBezTo>
                    <a:pt x="1640106" y="3458727"/>
                    <a:pt x="1452911" y="3352410"/>
                    <a:pt x="1261534" y="3268134"/>
                  </a:cubicBezTo>
                  <a:cubicBezTo>
                    <a:pt x="960962" y="3135772"/>
                    <a:pt x="949791" y="3110527"/>
                    <a:pt x="719667" y="2937934"/>
                  </a:cubicBezTo>
                  <a:cubicBezTo>
                    <a:pt x="705556" y="2895601"/>
                    <a:pt x="677334" y="2855557"/>
                    <a:pt x="677334" y="2810934"/>
                  </a:cubicBezTo>
                  <a:cubicBezTo>
                    <a:pt x="677334" y="2725099"/>
                    <a:pt x="687282" y="2636425"/>
                    <a:pt x="719667" y="2556934"/>
                  </a:cubicBezTo>
                  <a:cubicBezTo>
                    <a:pt x="783847" y="2399400"/>
                    <a:pt x="1012066" y="2207868"/>
                    <a:pt x="1126067" y="2116667"/>
                  </a:cubicBezTo>
                  <a:cubicBezTo>
                    <a:pt x="1585566" y="1749068"/>
                    <a:pt x="1600471" y="1693736"/>
                    <a:pt x="2057400" y="1532467"/>
                  </a:cubicBezTo>
                  <a:cubicBezTo>
                    <a:pt x="2179503" y="1489372"/>
                    <a:pt x="2302285" y="1444127"/>
                    <a:pt x="2429934" y="1422400"/>
                  </a:cubicBezTo>
                  <a:cubicBezTo>
                    <a:pt x="2701538" y="1376170"/>
                    <a:pt x="2977445" y="1360311"/>
                    <a:pt x="3251200" y="1329267"/>
                  </a:cubicBezTo>
                  <a:cubicBezTo>
                    <a:pt x="3338204" y="1338589"/>
                    <a:pt x="3464415" y="1309113"/>
                    <a:pt x="3530600" y="1388534"/>
                  </a:cubicBezTo>
                  <a:cubicBezTo>
                    <a:pt x="3547645" y="1408988"/>
                    <a:pt x="3558823" y="1433689"/>
                    <a:pt x="3572934" y="1456267"/>
                  </a:cubicBezTo>
                  <a:cubicBezTo>
                    <a:pt x="3578578" y="1476023"/>
                    <a:pt x="3590278" y="1494992"/>
                    <a:pt x="3589867" y="1515534"/>
                  </a:cubicBezTo>
                  <a:cubicBezTo>
                    <a:pt x="3587434" y="1637160"/>
                    <a:pt x="3591211" y="1760926"/>
                    <a:pt x="3564467" y="1879600"/>
                  </a:cubicBezTo>
                  <a:cubicBezTo>
                    <a:pt x="3532877" y="2019780"/>
                    <a:pt x="3373220" y="2245715"/>
                    <a:pt x="3293534" y="2353734"/>
                  </a:cubicBezTo>
                  <a:cubicBezTo>
                    <a:pt x="3223147" y="2449148"/>
                    <a:pt x="3150678" y="2543211"/>
                    <a:pt x="3073400" y="2633134"/>
                  </a:cubicBezTo>
                  <a:cubicBezTo>
                    <a:pt x="2995316" y="2723995"/>
                    <a:pt x="2914071" y="2812403"/>
                    <a:pt x="2827867" y="2895600"/>
                  </a:cubicBezTo>
                  <a:cubicBezTo>
                    <a:pt x="2671186" y="3046816"/>
                    <a:pt x="2528084" y="3217574"/>
                    <a:pt x="2345267" y="3335867"/>
                  </a:cubicBezTo>
                  <a:cubicBezTo>
                    <a:pt x="2297289" y="3366911"/>
                    <a:pt x="2252135" y="3402830"/>
                    <a:pt x="2201334" y="3429000"/>
                  </a:cubicBezTo>
                  <a:cubicBezTo>
                    <a:pt x="2158462" y="3451085"/>
                    <a:pt x="2022732" y="3501367"/>
                    <a:pt x="2065867" y="3479800"/>
                  </a:cubicBezTo>
                  <a:cubicBezTo>
                    <a:pt x="2307416" y="3359026"/>
                    <a:pt x="2549317" y="3235808"/>
                    <a:pt x="2802467" y="3141134"/>
                  </a:cubicBezTo>
                  <a:lnTo>
                    <a:pt x="3843867" y="2751667"/>
                  </a:lnTo>
                  <a:cubicBezTo>
                    <a:pt x="4040197" y="2680459"/>
                    <a:pt x="4233925" y="2599119"/>
                    <a:pt x="4436534" y="2548467"/>
                  </a:cubicBezTo>
                  <a:cubicBezTo>
                    <a:pt x="4992694" y="2409427"/>
                    <a:pt x="4986505" y="2400633"/>
                    <a:pt x="5528734" y="2302934"/>
                  </a:cubicBezTo>
                  <a:cubicBezTo>
                    <a:pt x="5968962" y="2223613"/>
                    <a:pt x="5851831" y="2238433"/>
                    <a:pt x="6214534" y="2226734"/>
                  </a:cubicBezTo>
                  <a:lnTo>
                    <a:pt x="6316134" y="2243667"/>
                  </a:lnTo>
                  <a:cubicBezTo>
                    <a:pt x="6310575" y="2282581"/>
                    <a:pt x="6243135" y="2272917"/>
                    <a:pt x="6206067" y="2286000"/>
                  </a:cubicBezTo>
                  <a:cubicBezTo>
                    <a:pt x="6147156" y="2306792"/>
                    <a:pt x="6088771" y="2329709"/>
                    <a:pt x="6028267" y="2345267"/>
                  </a:cubicBezTo>
                  <a:cubicBezTo>
                    <a:pt x="5265329" y="2541451"/>
                    <a:pt x="5520712" y="2505746"/>
                    <a:pt x="4927600" y="2531534"/>
                  </a:cubicBezTo>
                  <a:lnTo>
                    <a:pt x="3632200" y="2506134"/>
                  </a:lnTo>
                  <a:cubicBezTo>
                    <a:pt x="3491591" y="2494242"/>
                    <a:pt x="3356466" y="2440881"/>
                    <a:pt x="3225800" y="2387600"/>
                  </a:cubicBezTo>
                  <a:cubicBezTo>
                    <a:pt x="3064514" y="2321833"/>
                    <a:pt x="2760134" y="2150534"/>
                    <a:pt x="2760134" y="2150534"/>
                  </a:cubicBezTo>
                  <a:cubicBezTo>
                    <a:pt x="2730097" y="2120497"/>
                    <a:pt x="2626723" y="2025046"/>
                    <a:pt x="2616200" y="1981200"/>
                  </a:cubicBezTo>
                  <a:cubicBezTo>
                    <a:pt x="2599908" y="1913318"/>
                    <a:pt x="2627654" y="1853305"/>
                    <a:pt x="2675467" y="1811867"/>
                  </a:cubicBezTo>
                  <a:cubicBezTo>
                    <a:pt x="2701500" y="1789305"/>
                    <a:pt x="2730512" y="1770188"/>
                    <a:pt x="2760134" y="1752600"/>
                  </a:cubicBezTo>
                  <a:cubicBezTo>
                    <a:pt x="2910638" y="1663238"/>
                    <a:pt x="2920135" y="1651886"/>
                    <a:pt x="3064934" y="1617134"/>
                  </a:cubicBezTo>
                  <a:cubicBezTo>
                    <a:pt x="3095616" y="1609770"/>
                    <a:pt x="3127023" y="1605845"/>
                    <a:pt x="3158067" y="1600200"/>
                  </a:cubicBezTo>
                  <a:cubicBezTo>
                    <a:pt x="3180645" y="1605845"/>
                    <a:pt x="3207627" y="1602596"/>
                    <a:pt x="3225800" y="1617134"/>
                  </a:cubicBezTo>
                  <a:cubicBezTo>
                    <a:pt x="3245510" y="1632902"/>
                    <a:pt x="3250800" y="1748595"/>
                    <a:pt x="3251200" y="1752600"/>
                  </a:cubicBezTo>
                  <a:cubicBezTo>
                    <a:pt x="3184948" y="2514500"/>
                    <a:pt x="3284356" y="2118353"/>
                    <a:pt x="3081867" y="2599267"/>
                  </a:cubicBezTo>
                  <a:cubicBezTo>
                    <a:pt x="3006212" y="2778947"/>
                    <a:pt x="2937389" y="2961454"/>
                    <a:pt x="2861734" y="3141134"/>
                  </a:cubicBezTo>
                  <a:cubicBezTo>
                    <a:pt x="2824482" y="3229608"/>
                    <a:pt x="2743200" y="3403600"/>
                    <a:pt x="2743200" y="3403600"/>
                  </a:cubicBezTo>
                  <a:cubicBezTo>
                    <a:pt x="2726267" y="3479800"/>
                    <a:pt x="2710081" y="3556170"/>
                    <a:pt x="2692400" y="3632200"/>
                  </a:cubicBezTo>
                  <a:cubicBezTo>
                    <a:pt x="2681857" y="3677536"/>
                    <a:pt x="2663674" y="3721406"/>
                    <a:pt x="2658534" y="3767667"/>
                  </a:cubicBezTo>
                  <a:cubicBezTo>
                    <a:pt x="2655092" y="3798649"/>
                    <a:pt x="2664178" y="3829756"/>
                    <a:pt x="2667000" y="3860800"/>
                  </a:cubicBezTo>
                  <a:cubicBezTo>
                    <a:pt x="2707361" y="3847347"/>
                    <a:pt x="2697360" y="3856456"/>
                    <a:pt x="2726267" y="3801534"/>
                  </a:cubicBezTo>
                  <a:cubicBezTo>
                    <a:pt x="2793747" y="3673322"/>
                    <a:pt x="2781051" y="3674734"/>
                    <a:pt x="2819400" y="3513667"/>
                  </a:cubicBezTo>
                  <a:cubicBezTo>
                    <a:pt x="2827867" y="3431823"/>
                    <a:pt x="2838677" y="3350187"/>
                    <a:pt x="2844800" y="3268134"/>
                  </a:cubicBezTo>
                  <a:cubicBezTo>
                    <a:pt x="2890429" y="2656708"/>
                    <a:pt x="2856225" y="1927298"/>
                    <a:pt x="2853267" y="1380067"/>
                  </a:cubicBezTo>
                  <a:cubicBezTo>
                    <a:pt x="2864556" y="1337734"/>
                    <a:pt x="2843486" y="1249272"/>
                    <a:pt x="2887134" y="1253067"/>
                  </a:cubicBezTo>
                  <a:cubicBezTo>
                    <a:pt x="2912017" y="1255231"/>
                    <a:pt x="3213979" y="1562452"/>
                    <a:pt x="3217334" y="1566334"/>
                  </a:cubicBezTo>
                  <a:cubicBezTo>
                    <a:pt x="3362883" y="1734754"/>
                    <a:pt x="3501152" y="1909349"/>
                    <a:pt x="3640667" y="2082800"/>
                  </a:cubicBezTo>
                  <a:cubicBezTo>
                    <a:pt x="3710014" y="2169015"/>
                    <a:pt x="3787912" y="2249814"/>
                    <a:pt x="3843867" y="2345267"/>
                  </a:cubicBezTo>
                  <a:cubicBezTo>
                    <a:pt x="3965503" y="2552763"/>
                    <a:pt x="4157922" y="2864551"/>
                    <a:pt x="4216400" y="3073400"/>
                  </a:cubicBezTo>
                  <a:lnTo>
                    <a:pt x="4275667" y="3285067"/>
                  </a:lnTo>
                  <a:cubicBezTo>
                    <a:pt x="4281311" y="3333045"/>
                    <a:pt x="4287454" y="3380966"/>
                    <a:pt x="4292600" y="3429000"/>
                  </a:cubicBezTo>
                  <a:cubicBezTo>
                    <a:pt x="4302259" y="3519148"/>
                    <a:pt x="4312999" y="3557535"/>
                    <a:pt x="4267200" y="3649134"/>
                  </a:cubicBezTo>
                  <a:cubicBezTo>
                    <a:pt x="4259841" y="3663853"/>
                    <a:pt x="4240057" y="3668205"/>
                    <a:pt x="4224867" y="3674534"/>
                  </a:cubicBezTo>
                  <a:cubicBezTo>
                    <a:pt x="4188787" y="3689567"/>
                    <a:pt x="4152701" y="3693617"/>
                    <a:pt x="4114800" y="3699934"/>
                  </a:cubicBezTo>
                  <a:cubicBezTo>
                    <a:pt x="4055533" y="3688645"/>
                    <a:pt x="3992243" y="3690320"/>
                    <a:pt x="3937000" y="3666067"/>
                  </a:cubicBezTo>
                  <a:cubicBezTo>
                    <a:pt x="3751554" y="3584652"/>
                    <a:pt x="3686999" y="3435474"/>
                    <a:pt x="3556000" y="3285067"/>
                  </a:cubicBezTo>
                  <a:cubicBezTo>
                    <a:pt x="3477316" y="3194726"/>
                    <a:pt x="3386918" y="3114839"/>
                    <a:pt x="3310467" y="3022600"/>
                  </a:cubicBezTo>
                  <a:cubicBezTo>
                    <a:pt x="3127078" y="2801338"/>
                    <a:pt x="2952218" y="2573106"/>
                    <a:pt x="2777067" y="2345267"/>
                  </a:cubicBezTo>
                  <a:cubicBezTo>
                    <a:pt x="2437837" y="1903993"/>
                    <a:pt x="2324000" y="1844939"/>
                    <a:pt x="2175934" y="1456267"/>
                  </a:cubicBezTo>
                  <a:cubicBezTo>
                    <a:pt x="2158131" y="1409533"/>
                    <a:pt x="2147711" y="1360312"/>
                    <a:pt x="2133600" y="1312334"/>
                  </a:cubicBezTo>
                  <a:cubicBezTo>
                    <a:pt x="2144889" y="1292578"/>
                    <a:pt x="2150461" y="1268184"/>
                    <a:pt x="2167467" y="1253067"/>
                  </a:cubicBezTo>
                  <a:cubicBezTo>
                    <a:pt x="2178223" y="1243506"/>
                    <a:pt x="2195622" y="1242134"/>
                    <a:pt x="2209800" y="1244600"/>
                  </a:cubicBezTo>
                  <a:cubicBezTo>
                    <a:pt x="2261744" y="1253634"/>
                    <a:pt x="2311400" y="1272823"/>
                    <a:pt x="2362200" y="1286934"/>
                  </a:cubicBezTo>
                  <a:cubicBezTo>
                    <a:pt x="2675412" y="1566101"/>
                    <a:pt x="3068569" y="1904854"/>
                    <a:pt x="3335867" y="2209800"/>
                  </a:cubicBezTo>
                  <a:lnTo>
                    <a:pt x="3937000" y="2895600"/>
                  </a:lnTo>
                  <a:cubicBezTo>
                    <a:pt x="4227869" y="3222481"/>
                    <a:pt x="4238971" y="3202598"/>
                    <a:pt x="4512734" y="3556000"/>
                  </a:cubicBezTo>
                  <a:cubicBezTo>
                    <a:pt x="4682881" y="3775644"/>
                    <a:pt x="4707116" y="3839478"/>
                    <a:pt x="4842934" y="4080934"/>
                  </a:cubicBezTo>
                  <a:cubicBezTo>
                    <a:pt x="4857045" y="4134556"/>
                    <a:pt x="4881579" y="4186475"/>
                    <a:pt x="4885267" y="4241800"/>
                  </a:cubicBezTo>
                  <a:cubicBezTo>
                    <a:pt x="4890162" y="4315232"/>
                    <a:pt x="4885673" y="4390411"/>
                    <a:pt x="4868334" y="4461934"/>
                  </a:cubicBezTo>
                  <a:cubicBezTo>
                    <a:pt x="4858183" y="4503808"/>
                    <a:pt x="4780273" y="4545892"/>
                    <a:pt x="4749800" y="4563534"/>
                  </a:cubicBezTo>
                  <a:cubicBezTo>
                    <a:pt x="4577645" y="4663203"/>
                    <a:pt x="4652666" y="4614767"/>
                    <a:pt x="4343400" y="4648200"/>
                  </a:cubicBezTo>
                  <a:cubicBezTo>
                    <a:pt x="4301067" y="4628445"/>
                    <a:pt x="4254998" y="4615251"/>
                    <a:pt x="4216400" y="4588934"/>
                  </a:cubicBezTo>
                  <a:cubicBezTo>
                    <a:pt x="4166902" y="4555185"/>
                    <a:pt x="4132539" y="4476110"/>
                    <a:pt x="4106334" y="4428067"/>
                  </a:cubicBezTo>
                  <a:cubicBezTo>
                    <a:pt x="4065424" y="4182617"/>
                    <a:pt x="4058149" y="4179718"/>
                    <a:pt x="4106334" y="3784600"/>
                  </a:cubicBezTo>
                  <a:cubicBezTo>
                    <a:pt x="4113064" y="3729418"/>
                    <a:pt x="4149854" y="3682241"/>
                    <a:pt x="4174067" y="3632200"/>
                  </a:cubicBezTo>
                  <a:cubicBezTo>
                    <a:pt x="4192217" y="3594691"/>
                    <a:pt x="4208986" y="3555950"/>
                    <a:pt x="4233334" y="3522134"/>
                  </a:cubicBezTo>
                  <a:cubicBezTo>
                    <a:pt x="4269661" y="3471680"/>
                    <a:pt x="4374267" y="3369684"/>
                    <a:pt x="4428067" y="3335867"/>
                  </a:cubicBezTo>
                  <a:cubicBezTo>
                    <a:pt x="4490053" y="3296904"/>
                    <a:pt x="4622800" y="3234267"/>
                    <a:pt x="4622800" y="3234267"/>
                  </a:cubicBezTo>
                  <a:cubicBezTo>
                    <a:pt x="4673600" y="3242734"/>
                    <a:pt x="4734778" y="3227755"/>
                    <a:pt x="4775200" y="3259667"/>
                  </a:cubicBezTo>
                  <a:cubicBezTo>
                    <a:pt x="4811054" y="3287973"/>
                    <a:pt x="4774589" y="3407791"/>
                    <a:pt x="4758267" y="3437467"/>
                  </a:cubicBezTo>
                  <a:cubicBezTo>
                    <a:pt x="4708714" y="3527563"/>
                    <a:pt x="4635842" y="3585919"/>
                    <a:pt x="4555067" y="3649134"/>
                  </a:cubicBezTo>
                  <a:cubicBezTo>
                    <a:pt x="4472385" y="3713842"/>
                    <a:pt x="4387754" y="3776164"/>
                    <a:pt x="4301067" y="3835400"/>
                  </a:cubicBezTo>
                  <a:cubicBezTo>
                    <a:pt x="4058737" y="4000992"/>
                    <a:pt x="4021496" y="4016319"/>
                    <a:pt x="3742267" y="4131734"/>
                  </a:cubicBezTo>
                  <a:cubicBezTo>
                    <a:pt x="3633283" y="4176781"/>
                    <a:pt x="3528047" y="4237394"/>
                    <a:pt x="3412067" y="4258734"/>
                  </a:cubicBezTo>
                  <a:cubicBezTo>
                    <a:pt x="3172333" y="4302845"/>
                    <a:pt x="2926645" y="4303889"/>
                    <a:pt x="2683934" y="4326467"/>
                  </a:cubicBezTo>
                  <a:cubicBezTo>
                    <a:pt x="2514559" y="4310076"/>
                    <a:pt x="2363139" y="4306899"/>
                    <a:pt x="2201334" y="4250267"/>
                  </a:cubicBezTo>
                  <a:cubicBezTo>
                    <a:pt x="2130677" y="4225537"/>
                    <a:pt x="2065112" y="4168776"/>
                    <a:pt x="2006600" y="4123267"/>
                  </a:cubicBezTo>
                  <a:cubicBezTo>
                    <a:pt x="2000956" y="4103511"/>
                    <a:pt x="1987119" y="4084388"/>
                    <a:pt x="1989667" y="4064000"/>
                  </a:cubicBezTo>
                  <a:cubicBezTo>
                    <a:pt x="1995870" y="4014376"/>
                    <a:pt x="2010305" y="3965126"/>
                    <a:pt x="2032000" y="3920067"/>
                  </a:cubicBezTo>
                  <a:cubicBezTo>
                    <a:pt x="2065997" y="3849457"/>
                    <a:pt x="2196620" y="3750741"/>
                    <a:pt x="2243667" y="3716867"/>
                  </a:cubicBezTo>
                  <a:cubicBezTo>
                    <a:pt x="2334504" y="3651464"/>
                    <a:pt x="2425154" y="3584839"/>
                    <a:pt x="2523067" y="3530600"/>
                  </a:cubicBezTo>
                  <a:cubicBezTo>
                    <a:pt x="3536881" y="2968991"/>
                    <a:pt x="3129846" y="3192252"/>
                    <a:pt x="3928534" y="2870200"/>
                  </a:cubicBezTo>
                  <a:cubicBezTo>
                    <a:pt x="5168849" y="2370072"/>
                    <a:pt x="3871503" y="2860944"/>
                    <a:pt x="4876800" y="2506134"/>
                  </a:cubicBezTo>
                  <a:cubicBezTo>
                    <a:pt x="4982083" y="2468975"/>
                    <a:pt x="5084149" y="2422906"/>
                    <a:pt x="5190067" y="2387600"/>
                  </a:cubicBezTo>
                  <a:cubicBezTo>
                    <a:pt x="5293813" y="2353018"/>
                    <a:pt x="5384474" y="2334051"/>
                    <a:pt x="5486400" y="2311400"/>
                  </a:cubicBezTo>
                  <a:cubicBezTo>
                    <a:pt x="4915965" y="2216335"/>
                    <a:pt x="5508900" y="2312381"/>
                    <a:pt x="3860800" y="2294467"/>
                  </a:cubicBezTo>
                  <a:cubicBezTo>
                    <a:pt x="3606752" y="2291706"/>
                    <a:pt x="3352800" y="2283178"/>
                    <a:pt x="3098800" y="2277534"/>
                  </a:cubicBezTo>
                  <a:cubicBezTo>
                    <a:pt x="2902536" y="2248671"/>
                    <a:pt x="2707385" y="2225006"/>
                    <a:pt x="2514600" y="2175934"/>
                  </a:cubicBezTo>
                  <a:cubicBezTo>
                    <a:pt x="2456646" y="2161182"/>
                    <a:pt x="2401711" y="2136423"/>
                    <a:pt x="2345267" y="2116667"/>
                  </a:cubicBezTo>
                  <a:cubicBezTo>
                    <a:pt x="2402067" y="2003066"/>
                    <a:pt x="2353731" y="2077510"/>
                    <a:pt x="2548467" y="1955800"/>
                  </a:cubicBezTo>
                  <a:cubicBezTo>
                    <a:pt x="2602248" y="1922187"/>
                    <a:pt x="2649661" y="1875682"/>
                    <a:pt x="2709334" y="1854200"/>
                  </a:cubicBezTo>
                  <a:cubicBezTo>
                    <a:pt x="2894139" y="1787670"/>
                    <a:pt x="2975613" y="1763065"/>
                    <a:pt x="3158067" y="1676400"/>
                  </a:cubicBezTo>
                  <a:cubicBezTo>
                    <a:pt x="3306275" y="1606001"/>
                    <a:pt x="3452422" y="1531308"/>
                    <a:pt x="3598334" y="1456267"/>
                  </a:cubicBezTo>
                  <a:cubicBezTo>
                    <a:pt x="3650013" y="1429689"/>
                    <a:pt x="3705039" y="1407504"/>
                    <a:pt x="3750734" y="1371600"/>
                  </a:cubicBezTo>
                  <a:lnTo>
                    <a:pt x="3869267" y="1278467"/>
                  </a:lnTo>
                  <a:cubicBezTo>
                    <a:pt x="3872089" y="1270000"/>
                    <a:pt x="3879484" y="1261818"/>
                    <a:pt x="3877734" y="1253067"/>
                  </a:cubicBezTo>
                  <a:cubicBezTo>
                    <a:pt x="3876168" y="1245240"/>
                    <a:pt x="3867940" y="1239704"/>
                    <a:pt x="3860800" y="1236134"/>
                  </a:cubicBezTo>
                  <a:cubicBezTo>
                    <a:pt x="3837938" y="1224703"/>
                    <a:pt x="3744620" y="1219281"/>
                    <a:pt x="3742267" y="1219200"/>
                  </a:cubicBezTo>
                  <a:cubicBezTo>
                    <a:pt x="3606851" y="1214531"/>
                    <a:pt x="3471334" y="1213556"/>
                    <a:pt x="3335867" y="1210734"/>
                  </a:cubicBezTo>
                  <a:cubicBezTo>
                    <a:pt x="3203223" y="1213556"/>
                    <a:pt x="3070218" y="1209024"/>
                    <a:pt x="2937934" y="1219200"/>
                  </a:cubicBezTo>
                  <a:cubicBezTo>
                    <a:pt x="2886048" y="1223191"/>
                    <a:pt x="2835139" y="1237338"/>
                    <a:pt x="2785534" y="1253067"/>
                  </a:cubicBezTo>
                  <a:cubicBezTo>
                    <a:pt x="2682691" y="1285676"/>
                    <a:pt x="2539923" y="1351879"/>
                    <a:pt x="2438400" y="1397000"/>
                  </a:cubicBezTo>
                  <a:cubicBezTo>
                    <a:pt x="2388678" y="1446722"/>
                    <a:pt x="2353581" y="1473468"/>
                    <a:pt x="2319867" y="1532467"/>
                  </a:cubicBezTo>
                  <a:cubicBezTo>
                    <a:pt x="2309203" y="1551129"/>
                    <a:pt x="2302934" y="1571978"/>
                    <a:pt x="2294467" y="1591734"/>
                  </a:cubicBezTo>
                  <a:cubicBezTo>
                    <a:pt x="2373366" y="1796871"/>
                    <a:pt x="2313144" y="1692036"/>
                    <a:pt x="2582334" y="1913467"/>
                  </a:cubicBezTo>
                  <a:cubicBezTo>
                    <a:pt x="3143985" y="2375469"/>
                    <a:pt x="2719080" y="1976975"/>
                    <a:pt x="3708400" y="2700867"/>
                  </a:cubicBezTo>
                  <a:cubicBezTo>
                    <a:pt x="4055533" y="2954867"/>
                    <a:pt x="4378721" y="3245339"/>
                    <a:pt x="4749800" y="3462867"/>
                  </a:cubicBezTo>
                  <a:cubicBezTo>
                    <a:pt x="5101041" y="3668766"/>
                    <a:pt x="4921040" y="3547802"/>
                    <a:pt x="5283200" y="3835400"/>
                  </a:cubicBezTo>
                  <a:cubicBezTo>
                    <a:pt x="5312482" y="3893964"/>
                    <a:pt x="5338370" y="3922255"/>
                    <a:pt x="5334000" y="3987800"/>
                  </a:cubicBezTo>
                  <a:cubicBezTo>
                    <a:pt x="5327126" y="4090909"/>
                    <a:pt x="5214193" y="4146449"/>
                    <a:pt x="5139267" y="4191000"/>
                  </a:cubicBezTo>
                  <a:cubicBezTo>
                    <a:pt x="5075178" y="4229107"/>
                    <a:pt x="5011485" y="4268248"/>
                    <a:pt x="4944534" y="4301067"/>
                  </a:cubicBezTo>
                  <a:cubicBezTo>
                    <a:pt x="4720357" y="4410958"/>
                    <a:pt x="4666325" y="4420780"/>
                    <a:pt x="4411134" y="4470400"/>
                  </a:cubicBezTo>
                  <a:cubicBezTo>
                    <a:pt x="4307292" y="4490591"/>
                    <a:pt x="4203208" y="4511498"/>
                    <a:pt x="4097867" y="4521200"/>
                  </a:cubicBezTo>
                  <a:cubicBezTo>
                    <a:pt x="3988228" y="4531298"/>
                    <a:pt x="3877734" y="4526845"/>
                    <a:pt x="3767667" y="4529667"/>
                  </a:cubicBezTo>
                  <a:cubicBezTo>
                    <a:pt x="3418782" y="4517636"/>
                    <a:pt x="3185388" y="4628725"/>
                    <a:pt x="2946400" y="4453467"/>
                  </a:cubicBezTo>
                  <a:cubicBezTo>
                    <a:pt x="2930307" y="4441666"/>
                    <a:pt x="2918178" y="4425245"/>
                    <a:pt x="2904067" y="4411134"/>
                  </a:cubicBezTo>
                  <a:cubicBezTo>
                    <a:pt x="2813130" y="4198945"/>
                    <a:pt x="2857809" y="4327927"/>
                    <a:pt x="2912534" y="3835400"/>
                  </a:cubicBezTo>
                  <a:cubicBezTo>
                    <a:pt x="2937363" y="3611942"/>
                    <a:pt x="3149054" y="3254426"/>
                    <a:pt x="3225800" y="3141134"/>
                  </a:cubicBezTo>
                  <a:cubicBezTo>
                    <a:pt x="3285067" y="3053645"/>
                    <a:pt x="3337032" y="2960737"/>
                    <a:pt x="3403600" y="2878667"/>
                  </a:cubicBezTo>
                  <a:cubicBezTo>
                    <a:pt x="3543418" y="2706289"/>
                    <a:pt x="3679958" y="2528790"/>
                    <a:pt x="3843867" y="2379134"/>
                  </a:cubicBezTo>
                  <a:cubicBezTo>
                    <a:pt x="3908778" y="2319867"/>
                    <a:pt x="3975498" y="2262524"/>
                    <a:pt x="4038600" y="2201334"/>
                  </a:cubicBezTo>
                  <a:cubicBezTo>
                    <a:pt x="4068720" y="2172127"/>
                    <a:pt x="4094916" y="2139128"/>
                    <a:pt x="4123267" y="2108200"/>
                  </a:cubicBezTo>
                  <a:cubicBezTo>
                    <a:pt x="4149915" y="2079130"/>
                    <a:pt x="4171762" y="2079965"/>
                    <a:pt x="4055534" y="2159000"/>
                  </a:cubicBezTo>
                  <a:cubicBezTo>
                    <a:pt x="4011500" y="2188943"/>
                    <a:pt x="3967128" y="2218752"/>
                    <a:pt x="3920067" y="2243667"/>
                  </a:cubicBezTo>
                  <a:cubicBezTo>
                    <a:pt x="3775057" y="2320437"/>
                    <a:pt x="3626192" y="2389700"/>
                    <a:pt x="3479800" y="2463800"/>
                  </a:cubicBezTo>
                  <a:cubicBezTo>
                    <a:pt x="3246871" y="2581702"/>
                    <a:pt x="3256502" y="2595030"/>
                    <a:pt x="3022600" y="2667000"/>
                  </a:cubicBezTo>
                  <a:cubicBezTo>
                    <a:pt x="2961048" y="2685939"/>
                    <a:pt x="2630272" y="2768605"/>
                    <a:pt x="2565400" y="2777067"/>
                  </a:cubicBezTo>
                  <a:cubicBezTo>
                    <a:pt x="2447563" y="2792437"/>
                    <a:pt x="2328298" y="2793524"/>
                    <a:pt x="2209800" y="2802467"/>
                  </a:cubicBezTo>
                  <a:cubicBezTo>
                    <a:pt x="2178716" y="2804813"/>
                    <a:pt x="2147711" y="2808112"/>
                    <a:pt x="2116667" y="2810934"/>
                  </a:cubicBezTo>
                  <a:cubicBezTo>
                    <a:pt x="2088779" y="2755157"/>
                    <a:pt x="2088435" y="2779712"/>
                    <a:pt x="2150534" y="2709334"/>
                  </a:cubicBezTo>
                  <a:cubicBezTo>
                    <a:pt x="2234696" y="2613951"/>
                    <a:pt x="2406074" y="2482055"/>
                    <a:pt x="2480734" y="2429934"/>
                  </a:cubicBezTo>
                  <a:cubicBezTo>
                    <a:pt x="3340853" y="1829473"/>
                    <a:pt x="2586232" y="2363857"/>
                    <a:pt x="3200400" y="1913467"/>
                  </a:cubicBezTo>
                  <a:cubicBezTo>
                    <a:pt x="3442312" y="1736065"/>
                    <a:pt x="3536897" y="1694801"/>
                    <a:pt x="3759200" y="1447800"/>
                  </a:cubicBezTo>
                  <a:cubicBezTo>
                    <a:pt x="3852287" y="1344371"/>
                    <a:pt x="3818420" y="1397094"/>
                    <a:pt x="3869267" y="1295400"/>
                  </a:cubicBezTo>
                  <a:cubicBezTo>
                    <a:pt x="3850388" y="1238761"/>
                    <a:pt x="3865124" y="1232485"/>
                    <a:pt x="3793067" y="1236134"/>
                  </a:cubicBezTo>
                  <a:cubicBezTo>
                    <a:pt x="3589638" y="1246434"/>
                    <a:pt x="3386667" y="1264356"/>
                    <a:pt x="3183467" y="1278467"/>
                  </a:cubicBezTo>
                  <a:cubicBezTo>
                    <a:pt x="3002845" y="1320800"/>
                    <a:pt x="2818402" y="1349274"/>
                    <a:pt x="2641600" y="1405467"/>
                  </a:cubicBezTo>
                  <a:cubicBezTo>
                    <a:pt x="2613726" y="1414326"/>
                    <a:pt x="2004412" y="1649832"/>
                    <a:pt x="1854200" y="1735667"/>
                  </a:cubicBezTo>
                  <a:lnTo>
                    <a:pt x="1676400" y="1837267"/>
                  </a:lnTo>
                  <a:cubicBezTo>
                    <a:pt x="1645356" y="1873956"/>
                    <a:pt x="1613290" y="1909805"/>
                    <a:pt x="1583267" y="1947334"/>
                  </a:cubicBezTo>
                  <a:cubicBezTo>
                    <a:pt x="1568101" y="1966292"/>
                    <a:pt x="1546201" y="1982901"/>
                    <a:pt x="1540934" y="2006600"/>
                  </a:cubicBezTo>
                  <a:cubicBezTo>
                    <a:pt x="1534172" y="2037030"/>
                    <a:pt x="1535459" y="2071852"/>
                    <a:pt x="1549400" y="2099734"/>
                  </a:cubicBezTo>
                  <a:cubicBezTo>
                    <a:pt x="1562817" y="2126567"/>
                    <a:pt x="1593976" y="2139928"/>
                    <a:pt x="1617134" y="2159000"/>
                  </a:cubicBezTo>
                  <a:cubicBezTo>
                    <a:pt x="1663733" y="2197375"/>
                    <a:pt x="1790886" y="2292905"/>
                    <a:pt x="1828800" y="2311400"/>
                  </a:cubicBezTo>
                  <a:cubicBezTo>
                    <a:pt x="2011659" y="2400599"/>
                    <a:pt x="2202133" y="2473292"/>
                    <a:pt x="2387600" y="2556934"/>
                  </a:cubicBezTo>
                  <a:cubicBezTo>
                    <a:pt x="2490024" y="2603125"/>
                    <a:pt x="2588980" y="2656949"/>
                    <a:pt x="2692400" y="2700867"/>
                  </a:cubicBezTo>
                  <a:cubicBezTo>
                    <a:pt x="2898422" y="2788356"/>
                    <a:pt x="3108492" y="2866868"/>
                    <a:pt x="3310467" y="2963334"/>
                  </a:cubicBezTo>
                  <a:cubicBezTo>
                    <a:pt x="3487089" y="3047691"/>
                    <a:pt x="3655833" y="3147678"/>
                    <a:pt x="3826934" y="3242734"/>
                  </a:cubicBezTo>
                  <a:cubicBezTo>
                    <a:pt x="4021077" y="3350591"/>
                    <a:pt x="4100977" y="3383241"/>
                    <a:pt x="4241800" y="3547534"/>
                  </a:cubicBezTo>
                  <a:cubicBezTo>
                    <a:pt x="4276454" y="3587964"/>
                    <a:pt x="4298245" y="3637845"/>
                    <a:pt x="4326467" y="3683000"/>
                  </a:cubicBezTo>
                  <a:cubicBezTo>
                    <a:pt x="4332111" y="3716867"/>
                    <a:pt x="4349367" y="3750789"/>
                    <a:pt x="4343400" y="3784600"/>
                  </a:cubicBezTo>
                  <a:cubicBezTo>
                    <a:pt x="4323526" y="3897221"/>
                    <a:pt x="4293060" y="4008747"/>
                    <a:pt x="4250267" y="4114800"/>
                  </a:cubicBezTo>
                  <a:cubicBezTo>
                    <a:pt x="4227421" y="4171418"/>
                    <a:pt x="4184577" y="4217823"/>
                    <a:pt x="4148667" y="4267200"/>
                  </a:cubicBezTo>
                  <a:cubicBezTo>
                    <a:pt x="4018337" y="4446403"/>
                    <a:pt x="3837672" y="4615943"/>
                    <a:pt x="3674534" y="4749800"/>
                  </a:cubicBezTo>
                  <a:lnTo>
                    <a:pt x="3344334" y="5020734"/>
                  </a:lnTo>
                  <a:cubicBezTo>
                    <a:pt x="3332028" y="5031031"/>
                    <a:pt x="3229650" y="5121755"/>
                    <a:pt x="3208867" y="5147734"/>
                  </a:cubicBezTo>
                  <a:cubicBezTo>
                    <a:pt x="3200983" y="5157589"/>
                    <a:pt x="3197578" y="5170311"/>
                    <a:pt x="3191934" y="5181600"/>
                  </a:cubicBezTo>
                  <a:cubicBezTo>
                    <a:pt x="3236322" y="5192698"/>
                    <a:pt x="3232246" y="5200554"/>
                    <a:pt x="3276600" y="5156200"/>
                  </a:cubicBezTo>
                  <a:cubicBezTo>
                    <a:pt x="3360263" y="5072537"/>
                    <a:pt x="3351099" y="5078325"/>
                    <a:pt x="3386667" y="4995334"/>
                  </a:cubicBezTo>
                  <a:cubicBezTo>
                    <a:pt x="3378200" y="4907845"/>
                    <a:pt x="3378505" y="4819058"/>
                    <a:pt x="3361267" y="4732867"/>
                  </a:cubicBezTo>
                  <a:cubicBezTo>
                    <a:pt x="3351752" y="4685290"/>
                    <a:pt x="3238643" y="4473839"/>
                    <a:pt x="3225800" y="4453467"/>
                  </a:cubicBezTo>
                  <a:cubicBezTo>
                    <a:pt x="3050152" y="4174852"/>
                    <a:pt x="2813131" y="3925553"/>
                    <a:pt x="2599267" y="3683000"/>
                  </a:cubicBezTo>
                  <a:cubicBezTo>
                    <a:pt x="2571684" y="3651717"/>
                    <a:pt x="2221637" y="3272960"/>
                    <a:pt x="2167467" y="3234267"/>
                  </a:cubicBezTo>
                  <a:cubicBezTo>
                    <a:pt x="2027761" y="3134476"/>
                    <a:pt x="2085800" y="3181199"/>
                    <a:pt x="1989667" y="3098800"/>
                  </a:cubicBezTo>
                  <a:cubicBezTo>
                    <a:pt x="1992489" y="3090333"/>
                    <a:pt x="1992655" y="3080445"/>
                    <a:pt x="1998134" y="3073400"/>
                  </a:cubicBezTo>
                  <a:cubicBezTo>
                    <a:pt x="2060445" y="2993286"/>
                    <a:pt x="2067298" y="3021414"/>
                    <a:pt x="2184400" y="2988734"/>
                  </a:cubicBezTo>
                  <a:cubicBezTo>
                    <a:pt x="2544516" y="2888236"/>
                    <a:pt x="2290918" y="2934564"/>
                    <a:pt x="2717800" y="2887134"/>
                  </a:cubicBezTo>
                  <a:lnTo>
                    <a:pt x="4580467" y="2895600"/>
                  </a:lnTo>
                  <a:cubicBezTo>
                    <a:pt x="4738932" y="2896904"/>
                    <a:pt x="4728144" y="2897345"/>
                    <a:pt x="4834467" y="2912534"/>
                  </a:cubicBezTo>
                  <a:cubicBezTo>
                    <a:pt x="4803423" y="2926645"/>
                    <a:pt x="4774083" y="2945359"/>
                    <a:pt x="4741334" y="2954867"/>
                  </a:cubicBezTo>
                  <a:cubicBezTo>
                    <a:pt x="4632405" y="2986491"/>
                    <a:pt x="4342137" y="3020659"/>
                    <a:pt x="4267200" y="3031067"/>
                  </a:cubicBezTo>
                  <a:lnTo>
                    <a:pt x="2175934" y="3022600"/>
                  </a:lnTo>
                  <a:cubicBezTo>
                    <a:pt x="1986769" y="3020793"/>
                    <a:pt x="1797427" y="3018158"/>
                    <a:pt x="1608667" y="3005667"/>
                  </a:cubicBezTo>
                  <a:cubicBezTo>
                    <a:pt x="1413361" y="2992742"/>
                    <a:pt x="1219566" y="2962134"/>
                    <a:pt x="1024467" y="2946400"/>
                  </a:cubicBezTo>
                  <a:cubicBezTo>
                    <a:pt x="869517" y="2933904"/>
                    <a:pt x="714022" y="2929467"/>
                    <a:pt x="558800" y="2921000"/>
                  </a:cubicBezTo>
                  <a:cubicBezTo>
                    <a:pt x="284652" y="2878823"/>
                    <a:pt x="264246" y="2893123"/>
                    <a:pt x="42334" y="2810934"/>
                  </a:cubicBezTo>
                  <a:cubicBezTo>
                    <a:pt x="26902" y="2805218"/>
                    <a:pt x="14111" y="2794001"/>
                    <a:pt x="0" y="2785534"/>
                  </a:cubicBezTo>
                  <a:cubicBezTo>
                    <a:pt x="90311" y="2734734"/>
                    <a:pt x="172633" y="2665901"/>
                    <a:pt x="270934" y="2633134"/>
                  </a:cubicBezTo>
                  <a:cubicBezTo>
                    <a:pt x="372534" y="2599267"/>
                    <a:pt x="471575" y="2556442"/>
                    <a:pt x="575734" y="2531534"/>
                  </a:cubicBezTo>
                  <a:cubicBezTo>
                    <a:pt x="1114704" y="2402650"/>
                    <a:pt x="1583061" y="2410670"/>
                    <a:pt x="2159000" y="2362200"/>
                  </a:cubicBezTo>
                  <a:cubicBezTo>
                    <a:pt x="2359640" y="2345314"/>
                    <a:pt x="2559964" y="2324692"/>
                    <a:pt x="2760134" y="2302934"/>
                  </a:cubicBezTo>
                  <a:cubicBezTo>
                    <a:pt x="3070934" y="2269151"/>
                    <a:pt x="3533112" y="2215956"/>
                    <a:pt x="3843867" y="2150534"/>
                  </a:cubicBezTo>
                  <a:cubicBezTo>
                    <a:pt x="3995257" y="2118662"/>
                    <a:pt x="4144153" y="2075566"/>
                    <a:pt x="4292600" y="2032000"/>
                  </a:cubicBezTo>
                  <a:cubicBezTo>
                    <a:pt x="4783704" y="1887872"/>
                    <a:pt x="4455544" y="1947022"/>
                    <a:pt x="4792134" y="1896534"/>
                  </a:cubicBezTo>
                  <a:cubicBezTo>
                    <a:pt x="4649057" y="1991919"/>
                    <a:pt x="4778282" y="1914893"/>
                    <a:pt x="4546600" y="2006600"/>
                  </a:cubicBezTo>
                  <a:cubicBezTo>
                    <a:pt x="4466661" y="2038242"/>
                    <a:pt x="4389684" y="2077097"/>
                    <a:pt x="4309534" y="2108200"/>
                  </a:cubicBezTo>
                  <a:cubicBezTo>
                    <a:pt x="4200512" y="2150507"/>
                    <a:pt x="4088158" y="2183918"/>
                    <a:pt x="3979334" y="2226734"/>
                  </a:cubicBezTo>
                  <a:cubicBezTo>
                    <a:pt x="3743774" y="2319413"/>
                    <a:pt x="3519219" y="2442392"/>
                    <a:pt x="3276600" y="2514600"/>
                  </a:cubicBezTo>
                  <a:cubicBezTo>
                    <a:pt x="2471502" y="2754213"/>
                    <a:pt x="2807662" y="2676389"/>
                    <a:pt x="2277534" y="2785534"/>
                  </a:cubicBezTo>
                  <a:cubicBezTo>
                    <a:pt x="2187223" y="2777067"/>
                    <a:pt x="2077669" y="2816499"/>
                    <a:pt x="2006600" y="2760134"/>
                  </a:cubicBezTo>
                  <a:cubicBezTo>
                    <a:pt x="1938262" y="2705935"/>
                    <a:pt x="2077660" y="2520354"/>
                    <a:pt x="2099734" y="2480734"/>
                  </a:cubicBezTo>
                  <a:cubicBezTo>
                    <a:pt x="2188858" y="2320768"/>
                    <a:pt x="2259498" y="2149741"/>
                    <a:pt x="2362200" y="1998134"/>
                  </a:cubicBezTo>
                  <a:cubicBezTo>
                    <a:pt x="2421467" y="1910645"/>
                    <a:pt x="2475760" y="1819572"/>
                    <a:pt x="2540000" y="1735667"/>
                  </a:cubicBezTo>
                  <a:cubicBezTo>
                    <a:pt x="2747726" y="1464351"/>
                    <a:pt x="2775146" y="1495788"/>
                    <a:pt x="2937934" y="1227667"/>
                  </a:cubicBezTo>
                  <a:cubicBezTo>
                    <a:pt x="2985755" y="1148903"/>
                    <a:pt x="3020421" y="1062814"/>
                    <a:pt x="3064934" y="982134"/>
                  </a:cubicBezTo>
                  <a:cubicBezTo>
                    <a:pt x="3110764" y="899067"/>
                    <a:pt x="3160889" y="818445"/>
                    <a:pt x="3208867" y="736600"/>
                  </a:cubicBezTo>
                  <a:cubicBezTo>
                    <a:pt x="3212510" y="696526"/>
                    <a:pt x="3226225" y="619130"/>
                    <a:pt x="3208867" y="575734"/>
                  </a:cubicBezTo>
                  <a:cubicBezTo>
                    <a:pt x="3200363" y="554473"/>
                    <a:pt x="3140904" y="551707"/>
                    <a:pt x="3132667" y="550334"/>
                  </a:cubicBezTo>
                  <a:cubicBezTo>
                    <a:pt x="3045178" y="558801"/>
                    <a:pt x="2955584" y="554862"/>
                    <a:pt x="2870200" y="575734"/>
                  </a:cubicBezTo>
                  <a:cubicBezTo>
                    <a:pt x="2825995" y="586540"/>
                    <a:pt x="2791937" y="622272"/>
                    <a:pt x="2751667" y="643467"/>
                  </a:cubicBezTo>
                  <a:cubicBezTo>
                    <a:pt x="2602321" y="722070"/>
                    <a:pt x="2480528" y="766864"/>
                    <a:pt x="2345267" y="872067"/>
                  </a:cubicBezTo>
                  <a:cubicBezTo>
                    <a:pt x="2280663" y="922315"/>
                    <a:pt x="2219863" y="978525"/>
                    <a:pt x="2167467" y="1041400"/>
                  </a:cubicBezTo>
                  <a:cubicBezTo>
                    <a:pt x="2061787" y="1168216"/>
                    <a:pt x="1962327" y="1346080"/>
                    <a:pt x="1896534" y="1498600"/>
                  </a:cubicBezTo>
                  <a:cubicBezTo>
                    <a:pt x="1866832" y="1567455"/>
                    <a:pt x="1845734" y="1639711"/>
                    <a:pt x="1820334" y="1710267"/>
                  </a:cubicBezTo>
                  <a:cubicBezTo>
                    <a:pt x="1859845" y="1938867"/>
                    <a:pt x="1872757" y="2173697"/>
                    <a:pt x="1938867" y="2396067"/>
                  </a:cubicBezTo>
                  <a:cubicBezTo>
                    <a:pt x="1967426" y="2492130"/>
                    <a:pt x="2033379" y="2574962"/>
                    <a:pt x="2099734" y="2650067"/>
                  </a:cubicBezTo>
                  <a:cubicBezTo>
                    <a:pt x="2291327" y="2866925"/>
                    <a:pt x="2499115" y="3069278"/>
                    <a:pt x="2709334" y="3268134"/>
                  </a:cubicBezTo>
                  <a:cubicBezTo>
                    <a:pt x="2813756" y="3366912"/>
                    <a:pt x="2911669" y="3473060"/>
                    <a:pt x="3022600" y="3564467"/>
                  </a:cubicBezTo>
                  <a:cubicBezTo>
                    <a:pt x="3362775" y="3844771"/>
                    <a:pt x="3799412" y="4188318"/>
                    <a:pt x="4199467" y="4419600"/>
                  </a:cubicBezTo>
                  <a:cubicBezTo>
                    <a:pt x="5014748" y="4890935"/>
                    <a:pt x="4592122" y="4645170"/>
                    <a:pt x="5105400" y="4868334"/>
                  </a:cubicBezTo>
                  <a:cubicBezTo>
                    <a:pt x="5294944" y="4950744"/>
                    <a:pt x="5179617" y="4923816"/>
                    <a:pt x="5283200" y="4944534"/>
                  </a:cubicBezTo>
                  <a:cubicBezTo>
                    <a:pt x="5162941" y="4964576"/>
                    <a:pt x="5156661" y="4971180"/>
                    <a:pt x="4969934" y="4910667"/>
                  </a:cubicBezTo>
                  <a:cubicBezTo>
                    <a:pt x="4223468" y="4668757"/>
                    <a:pt x="4507676" y="4717454"/>
                    <a:pt x="3937000" y="4478867"/>
                  </a:cubicBezTo>
                  <a:cubicBezTo>
                    <a:pt x="3647996" y="4358041"/>
                    <a:pt x="2753597" y="3986333"/>
                    <a:pt x="2311400" y="3852334"/>
                  </a:cubicBezTo>
                  <a:cubicBezTo>
                    <a:pt x="2017184" y="3763177"/>
                    <a:pt x="1722038" y="3675569"/>
                    <a:pt x="1422400" y="3606800"/>
                  </a:cubicBezTo>
                  <a:cubicBezTo>
                    <a:pt x="883757" y="3483177"/>
                    <a:pt x="1081201" y="3510176"/>
                    <a:pt x="838200" y="3479800"/>
                  </a:cubicBezTo>
                  <a:cubicBezTo>
                    <a:pt x="860778" y="3460045"/>
                    <a:pt x="879555" y="3434823"/>
                    <a:pt x="905934" y="3420534"/>
                  </a:cubicBezTo>
                  <a:cubicBezTo>
                    <a:pt x="982413" y="3379108"/>
                    <a:pt x="1280605" y="3300475"/>
                    <a:pt x="1312334" y="3293534"/>
                  </a:cubicBezTo>
                  <a:cubicBezTo>
                    <a:pt x="1582143" y="3234513"/>
                    <a:pt x="1852907" y="3179281"/>
                    <a:pt x="2125134" y="3132667"/>
                  </a:cubicBezTo>
                  <a:cubicBezTo>
                    <a:pt x="2265219" y="3108680"/>
                    <a:pt x="2407249" y="3097881"/>
                    <a:pt x="2548467" y="3081867"/>
                  </a:cubicBezTo>
                  <a:cubicBezTo>
                    <a:pt x="3025912" y="3027724"/>
                    <a:pt x="2865388" y="3042981"/>
                    <a:pt x="3344334" y="3022600"/>
                  </a:cubicBezTo>
                  <a:cubicBezTo>
                    <a:pt x="3423356" y="3014133"/>
                    <a:pt x="3502593" y="3007479"/>
                    <a:pt x="3581400" y="2997200"/>
                  </a:cubicBezTo>
                  <a:cubicBezTo>
                    <a:pt x="3632468" y="2990539"/>
                    <a:pt x="3683130" y="2981013"/>
                    <a:pt x="3733800" y="2971800"/>
                  </a:cubicBezTo>
                  <a:cubicBezTo>
                    <a:pt x="3745249" y="2969718"/>
                    <a:pt x="3779303" y="2963334"/>
                    <a:pt x="3767667" y="2963334"/>
                  </a:cubicBezTo>
                  <a:cubicBezTo>
                    <a:pt x="3747711" y="2963334"/>
                    <a:pt x="3728056" y="2968352"/>
                    <a:pt x="3708400" y="2971800"/>
                  </a:cubicBezTo>
                  <a:cubicBezTo>
                    <a:pt x="3567178" y="2996576"/>
                    <a:pt x="3427800" y="3034406"/>
                    <a:pt x="3285067" y="3048000"/>
                  </a:cubicBezTo>
                  <a:cubicBezTo>
                    <a:pt x="3166534" y="3059289"/>
                    <a:pt x="3048385" y="3075854"/>
                    <a:pt x="2929467" y="3081867"/>
                  </a:cubicBezTo>
                  <a:cubicBezTo>
                    <a:pt x="2545875" y="3101262"/>
                    <a:pt x="1778000" y="3124200"/>
                    <a:pt x="1778000" y="3124200"/>
                  </a:cubicBezTo>
                  <a:cubicBezTo>
                    <a:pt x="1687689" y="3110089"/>
                    <a:pt x="1543074" y="3165883"/>
                    <a:pt x="1507067" y="3081867"/>
                  </a:cubicBezTo>
                  <a:cubicBezTo>
                    <a:pt x="1476479" y="3010496"/>
                    <a:pt x="1652383" y="3026449"/>
                    <a:pt x="1727200" y="3005667"/>
                  </a:cubicBezTo>
                  <a:cubicBezTo>
                    <a:pt x="1855813" y="2969941"/>
                    <a:pt x="1985229" y="2935809"/>
                    <a:pt x="2116667" y="2912534"/>
                  </a:cubicBezTo>
                  <a:cubicBezTo>
                    <a:pt x="2490077" y="2846409"/>
                    <a:pt x="2722896" y="2855712"/>
                    <a:pt x="3115734" y="2844800"/>
                  </a:cubicBezTo>
                  <a:lnTo>
                    <a:pt x="3759200" y="2827867"/>
                  </a:lnTo>
                  <a:cubicBezTo>
                    <a:pt x="4250267" y="2833511"/>
                    <a:pt x="4741574" y="2828439"/>
                    <a:pt x="5232400" y="2844800"/>
                  </a:cubicBezTo>
                  <a:cubicBezTo>
                    <a:pt x="5252740" y="2845478"/>
                    <a:pt x="5274098" y="2860464"/>
                    <a:pt x="5283200" y="2878667"/>
                  </a:cubicBezTo>
                  <a:cubicBezTo>
                    <a:pt x="5304624" y="2921515"/>
                    <a:pt x="5215908" y="2998739"/>
                    <a:pt x="5207000" y="3005667"/>
                  </a:cubicBezTo>
                  <a:cubicBezTo>
                    <a:pt x="5082348" y="3102619"/>
                    <a:pt x="4883039" y="3184804"/>
                    <a:pt x="4758267" y="3259667"/>
                  </a:cubicBezTo>
                  <a:cubicBezTo>
                    <a:pt x="4138282" y="3631658"/>
                    <a:pt x="4440376" y="3590620"/>
                    <a:pt x="3403600" y="3953934"/>
                  </a:cubicBezTo>
                  <a:cubicBezTo>
                    <a:pt x="3073400" y="4069645"/>
                    <a:pt x="2735830" y="4166153"/>
                    <a:pt x="2413000" y="4301067"/>
                  </a:cubicBezTo>
                  <a:cubicBezTo>
                    <a:pt x="2223911" y="4380089"/>
                    <a:pt x="2025647" y="4440000"/>
                    <a:pt x="1845734" y="4538134"/>
                  </a:cubicBezTo>
                  <a:cubicBezTo>
                    <a:pt x="1814689" y="4555067"/>
                    <a:pt x="1784597" y="4573877"/>
                    <a:pt x="1752600" y="4588934"/>
                  </a:cubicBezTo>
                  <a:cubicBezTo>
                    <a:pt x="1736450" y="4596534"/>
                    <a:pt x="1714421" y="4618489"/>
                    <a:pt x="1701800" y="4605867"/>
                  </a:cubicBezTo>
                  <a:cubicBezTo>
                    <a:pt x="1690164" y="4594230"/>
                    <a:pt x="1731639" y="4591177"/>
                    <a:pt x="1744134" y="4580467"/>
                  </a:cubicBezTo>
                  <a:cubicBezTo>
                    <a:pt x="1791129" y="4540186"/>
                    <a:pt x="1831596" y="4492540"/>
                    <a:pt x="1879600" y="4453467"/>
                  </a:cubicBezTo>
                  <a:cubicBezTo>
                    <a:pt x="1953145" y="4393605"/>
                    <a:pt x="2038659" y="4348604"/>
                    <a:pt x="2108200" y="4284134"/>
                  </a:cubicBezTo>
                  <a:cubicBezTo>
                    <a:pt x="2310157" y="4096903"/>
                    <a:pt x="2476876" y="3871374"/>
                    <a:pt x="2692400" y="3699934"/>
                  </a:cubicBezTo>
                  <a:cubicBezTo>
                    <a:pt x="4390442" y="2349219"/>
                    <a:pt x="2490678" y="3870555"/>
                    <a:pt x="4165600" y="2497667"/>
                  </a:cubicBezTo>
                  <a:cubicBezTo>
                    <a:pt x="4277268" y="2406135"/>
                    <a:pt x="4602440" y="2152309"/>
                    <a:pt x="4741334" y="2074334"/>
                  </a:cubicBezTo>
                  <a:cubicBezTo>
                    <a:pt x="4807596" y="2037134"/>
                    <a:pt x="4953000" y="1989667"/>
                    <a:pt x="4953000" y="1989667"/>
                  </a:cubicBezTo>
                  <a:cubicBezTo>
                    <a:pt x="4965396" y="2126022"/>
                    <a:pt x="4971238" y="2068468"/>
                    <a:pt x="4919134" y="2235200"/>
                  </a:cubicBezTo>
                  <a:cubicBezTo>
                    <a:pt x="4849241" y="2458857"/>
                    <a:pt x="4807646" y="2573018"/>
                    <a:pt x="4707467" y="2794000"/>
                  </a:cubicBezTo>
                  <a:cubicBezTo>
                    <a:pt x="4580171" y="3074801"/>
                    <a:pt x="4527695" y="3181079"/>
                    <a:pt x="4343400" y="3429000"/>
                  </a:cubicBezTo>
                  <a:cubicBezTo>
                    <a:pt x="4056783" y="3814568"/>
                    <a:pt x="3896626" y="4049588"/>
                    <a:pt x="3572934" y="4343400"/>
                  </a:cubicBezTo>
                  <a:cubicBezTo>
                    <a:pt x="3480891" y="4426947"/>
                    <a:pt x="3379447" y="4499570"/>
                    <a:pt x="3285067" y="4580467"/>
                  </a:cubicBezTo>
                  <a:cubicBezTo>
                    <a:pt x="3221357" y="4635075"/>
                    <a:pt x="3166662" y="4700446"/>
                    <a:pt x="3098800" y="4749800"/>
                  </a:cubicBezTo>
                  <a:cubicBezTo>
                    <a:pt x="2959792" y="4850896"/>
                    <a:pt x="2938689" y="4845364"/>
                    <a:pt x="2802467" y="4876800"/>
                  </a:cubicBezTo>
                  <a:cubicBezTo>
                    <a:pt x="2734734" y="4862689"/>
                    <a:pt x="2664125" y="4858557"/>
                    <a:pt x="2599267" y="4834467"/>
                  </a:cubicBezTo>
                  <a:cubicBezTo>
                    <a:pt x="2512319" y="4802172"/>
                    <a:pt x="2420575" y="4662274"/>
                    <a:pt x="2379134" y="4605867"/>
                  </a:cubicBezTo>
                  <a:cubicBezTo>
                    <a:pt x="2267772" y="4454291"/>
                    <a:pt x="2142686" y="4280457"/>
                    <a:pt x="2065867" y="4106334"/>
                  </a:cubicBezTo>
                  <a:cubicBezTo>
                    <a:pt x="2018664" y="3999340"/>
                    <a:pt x="1986845" y="3886201"/>
                    <a:pt x="1947334" y="3776134"/>
                  </a:cubicBezTo>
                  <a:cubicBezTo>
                    <a:pt x="1916289" y="3561645"/>
                    <a:pt x="1879866" y="3347866"/>
                    <a:pt x="1854200" y="3132667"/>
                  </a:cubicBezTo>
                  <a:cubicBezTo>
                    <a:pt x="1825676" y="2893508"/>
                    <a:pt x="1839230" y="2621757"/>
                    <a:pt x="1845734" y="2387600"/>
                  </a:cubicBezTo>
                  <a:cubicBezTo>
                    <a:pt x="1847068" y="2339558"/>
                    <a:pt x="1843393" y="2290497"/>
                    <a:pt x="1854200" y="2243667"/>
                  </a:cubicBezTo>
                  <a:cubicBezTo>
                    <a:pt x="1858946" y="2223101"/>
                    <a:pt x="1893873" y="2160774"/>
                    <a:pt x="1921934" y="2142067"/>
                  </a:cubicBezTo>
                  <a:cubicBezTo>
                    <a:pt x="1929360" y="2137116"/>
                    <a:pt x="1938867" y="2136422"/>
                    <a:pt x="1947334" y="2133600"/>
                  </a:cubicBezTo>
                  <a:cubicBezTo>
                    <a:pt x="1967089" y="2139245"/>
                    <a:pt x="1989505" y="2139137"/>
                    <a:pt x="2006600" y="2150534"/>
                  </a:cubicBezTo>
                  <a:cubicBezTo>
                    <a:pt x="2033167" y="2168246"/>
                    <a:pt x="2052342" y="2195118"/>
                    <a:pt x="2074334" y="2218267"/>
                  </a:cubicBezTo>
                  <a:cubicBezTo>
                    <a:pt x="2159596" y="2308016"/>
                    <a:pt x="2242200" y="2400287"/>
                    <a:pt x="2328334" y="2489200"/>
                  </a:cubicBezTo>
                  <a:cubicBezTo>
                    <a:pt x="2417200" y="2580933"/>
                    <a:pt x="2518390" y="2661285"/>
                    <a:pt x="2599267" y="2760134"/>
                  </a:cubicBezTo>
                  <a:cubicBezTo>
                    <a:pt x="2802467" y="3008489"/>
                    <a:pt x="3019104" y="3246432"/>
                    <a:pt x="3208867" y="3505200"/>
                  </a:cubicBezTo>
                  <a:cubicBezTo>
                    <a:pt x="4403978" y="5134896"/>
                    <a:pt x="3194173" y="3538371"/>
                    <a:pt x="4224867" y="4775200"/>
                  </a:cubicBezTo>
                  <a:cubicBezTo>
                    <a:pt x="4323645" y="4893733"/>
                    <a:pt x="4275667" y="4848577"/>
                    <a:pt x="4360334" y="4919134"/>
                  </a:cubicBezTo>
                  <a:cubicBezTo>
                    <a:pt x="4337756" y="4924778"/>
                    <a:pt x="4315873" y="4936067"/>
                    <a:pt x="4292600" y="4936067"/>
                  </a:cubicBezTo>
                  <a:cubicBezTo>
                    <a:pt x="4211260" y="4936067"/>
                    <a:pt x="4114786" y="4893727"/>
                    <a:pt x="4047067" y="4859867"/>
                  </a:cubicBezTo>
                  <a:cubicBezTo>
                    <a:pt x="3980377" y="4826522"/>
                    <a:pt x="3914179" y="4791450"/>
                    <a:pt x="3852334" y="4749800"/>
                  </a:cubicBezTo>
                  <a:cubicBezTo>
                    <a:pt x="3735485" y="4671106"/>
                    <a:pt x="3450369" y="4435555"/>
                    <a:pt x="3369734" y="4343400"/>
                  </a:cubicBezTo>
                  <a:cubicBezTo>
                    <a:pt x="3229228" y="4182821"/>
                    <a:pt x="3110089" y="4004733"/>
                    <a:pt x="2980267" y="3835400"/>
                  </a:cubicBezTo>
                  <a:cubicBezTo>
                    <a:pt x="2923209" y="3645207"/>
                    <a:pt x="2876101" y="3564726"/>
                    <a:pt x="2895600" y="3369734"/>
                  </a:cubicBezTo>
                  <a:cubicBezTo>
                    <a:pt x="2908435" y="3241383"/>
                    <a:pt x="2923118" y="3111296"/>
                    <a:pt x="2963334" y="2988734"/>
                  </a:cubicBezTo>
                  <a:cubicBezTo>
                    <a:pt x="2999123" y="2879663"/>
                    <a:pt x="3203926" y="2691276"/>
                    <a:pt x="3276600" y="2641600"/>
                  </a:cubicBezTo>
                  <a:cubicBezTo>
                    <a:pt x="3424857" y="2540260"/>
                    <a:pt x="3578229" y="2443753"/>
                    <a:pt x="3742267" y="2370667"/>
                  </a:cubicBezTo>
                  <a:cubicBezTo>
                    <a:pt x="4007844" y="2252341"/>
                    <a:pt x="4245978" y="2244465"/>
                    <a:pt x="4529667" y="2226734"/>
                  </a:cubicBezTo>
                  <a:cubicBezTo>
                    <a:pt x="4667802" y="2218101"/>
                    <a:pt x="4806245" y="2215445"/>
                    <a:pt x="4944534" y="2209800"/>
                  </a:cubicBezTo>
                  <a:cubicBezTo>
                    <a:pt x="5071534" y="2218267"/>
                    <a:pt x="5200530" y="2211227"/>
                    <a:pt x="5325534" y="2235200"/>
                  </a:cubicBezTo>
                  <a:cubicBezTo>
                    <a:pt x="5496752" y="2268037"/>
                    <a:pt x="5568056" y="2332085"/>
                    <a:pt x="5698067" y="2421467"/>
                  </a:cubicBezTo>
                  <a:cubicBezTo>
                    <a:pt x="5845345" y="2647293"/>
                    <a:pt x="5813284" y="2539606"/>
                    <a:pt x="5842000" y="2726267"/>
                  </a:cubicBezTo>
                  <a:cubicBezTo>
                    <a:pt x="5827889" y="2816578"/>
                    <a:pt x="5831186" y="2911399"/>
                    <a:pt x="5799667" y="2997200"/>
                  </a:cubicBezTo>
                  <a:cubicBezTo>
                    <a:pt x="5778841" y="3053894"/>
                    <a:pt x="5733407" y="3099554"/>
                    <a:pt x="5689600" y="3141134"/>
                  </a:cubicBezTo>
                  <a:cubicBezTo>
                    <a:pt x="5522705" y="3299544"/>
                    <a:pt x="5297547" y="3520454"/>
                    <a:pt x="5054600" y="3589867"/>
                  </a:cubicBezTo>
                  <a:cubicBezTo>
                    <a:pt x="4863544" y="3644454"/>
                    <a:pt x="4665133" y="3668889"/>
                    <a:pt x="4470400" y="3708400"/>
                  </a:cubicBezTo>
                  <a:cubicBezTo>
                    <a:pt x="4343400" y="3688645"/>
                    <a:pt x="4213678" y="3681911"/>
                    <a:pt x="4089400" y="3649134"/>
                  </a:cubicBezTo>
                  <a:cubicBezTo>
                    <a:pt x="3822183" y="3578659"/>
                    <a:pt x="3537993" y="3438455"/>
                    <a:pt x="3310467" y="3285067"/>
                  </a:cubicBezTo>
                  <a:cubicBezTo>
                    <a:pt x="2972638" y="3057318"/>
                    <a:pt x="2527257" y="2605352"/>
                    <a:pt x="2277534" y="2362200"/>
                  </a:cubicBezTo>
                  <a:cubicBezTo>
                    <a:pt x="1939435" y="2032999"/>
                    <a:pt x="2031896" y="2138514"/>
                    <a:pt x="1811867" y="1786467"/>
                  </a:cubicBezTo>
                  <a:cubicBezTo>
                    <a:pt x="1794934" y="1701800"/>
                    <a:pt x="1754445" y="1618556"/>
                    <a:pt x="1761067" y="1532467"/>
                  </a:cubicBezTo>
                  <a:cubicBezTo>
                    <a:pt x="1769008" y="1429231"/>
                    <a:pt x="1808724" y="1329154"/>
                    <a:pt x="1854200" y="1236134"/>
                  </a:cubicBezTo>
                  <a:cubicBezTo>
                    <a:pt x="1872627" y="1198442"/>
                    <a:pt x="1909808" y="1170230"/>
                    <a:pt x="1947334" y="1151467"/>
                  </a:cubicBezTo>
                  <a:cubicBezTo>
                    <a:pt x="2057291" y="1096489"/>
                    <a:pt x="2192212" y="1084678"/>
                    <a:pt x="2311400" y="1066800"/>
                  </a:cubicBezTo>
                  <a:lnTo>
                    <a:pt x="2802467" y="1075267"/>
                  </a:lnTo>
                  <a:cubicBezTo>
                    <a:pt x="2889638" y="1084182"/>
                    <a:pt x="2976576" y="1107005"/>
                    <a:pt x="3056467" y="1143000"/>
                  </a:cubicBezTo>
                  <a:cubicBezTo>
                    <a:pt x="3331885" y="1267089"/>
                    <a:pt x="3595169" y="1387709"/>
                    <a:pt x="3784600" y="1625600"/>
                  </a:cubicBezTo>
                  <a:cubicBezTo>
                    <a:pt x="3899063" y="1769344"/>
                    <a:pt x="3957813" y="1926903"/>
                    <a:pt x="4030134" y="2091267"/>
                  </a:cubicBezTo>
                  <a:cubicBezTo>
                    <a:pt x="4045238" y="2483995"/>
                    <a:pt x="4070110" y="2496013"/>
                    <a:pt x="3818467" y="3022600"/>
                  </a:cubicBezTo>
                  <a:cubicBezTo>
                    <a:pt x="3769413" y="3125249"/>
                    <a:pt x="3663815" y="3189707"/>
                    <a:pt x="3581400" y="3268134"/>
                  </a:cubicBezTo>
                  <a:cubicBezTo>
                    <a:pt x="3443855" y="3399024"/>
                    <a:pt x="3184045" y="3626219"/>
                    <a:pt x="3014134" y="3725334"/>
                  </a:cubicBezTo>
                  <a:cubicBezTo>
                    <a:pt x="2909423" y="3786415"/>
                    <a:pt x="2798247" y="3837388"/>
                    <a:pt x="2683934" y="3877734"/>
                  </a:cubicBezTo>
                  <a:cubicBezTo>
                    <a:pt x="2377743" y="3985802"/>
                    <a:pt x="2250836" y="3984528"/>
                    <a:pt x="1938867" y="4021667"/>
                  </a:cubicBezTo>
                  <a:cubicBezTo>
                    <a:pt x="1746956" y="4001911"/>
                    <a:pt x="1551702" y="4003172"/>
                    <a:pt x="1363134" y="3962400"/>
                  </a:cubicBezTo>
                  <a:cubicBezTo>
                    <a:pt x="1333296" y="3955949"/>
                    <a:pt x="1309171" y="3916563"/>
                    <a:pt x="1312334" y="3886200"/>
                  </a:cubicBezTo>
                  <a:cubicBezTo>
                    <a:pt x="1324182" y="3772455"/>
                    <a:pt x="1363286" y="3662297"/>
                    <a:pt x="1405467" y="3556000"/>
                  </a:cubicBezTo>
                  <a:cubicBezTo>
                    <a:pt x="1508902" y="3295343"/>
                    <a:pt x="1930556" y="2886791"/>
                    <a:pt x="2057400" y="2810934"/>
                  </a:cubicBezTo>
                  <a:cubicBezTo>
                    <a:pt x="2345267" y="2638778"/>
                    <a:pt x="2619920" y="2442303"/>
                    <a:pt x="2921000" y="2294467"/>
                  </a:cubicBezTo>
                  <a:cubicBezTo>
                    <a:pt x="3094046" y="2209498"/>
                    <a:pt x="3285241" y="2167004"/>
                    <a:pt x="3471334" y="2116667"/>
                  </a:cubicBezTo>
                  <a:cubicBezTo>
                    <a:pt x="3906110" y="1999064"/>
                    <a:pt x="3903326" y="2017536"/>
                    <a:pt x="4301067" y="1998134"/>
                  </a:cubicBezTo>
                  <a:cubicBezTo>
                    <a:pt x="4466195" y="2019440"/>
                    <a:pt x="4568996" y="2003434"/>
                    <a:pt x="4699000" y="2099734"/>
                  </a:cubicBezTo>
                  <a:cubicBezTo>
                    <a:pt x="4735917" y="2127080"/>
                    <a:pt x="4761089" y="2167467"/>
                    <a:pt x="4792134" y="2201334"/>
                  </a:cubicBezTo>
                  <a:cubicBezTo>
                    <a:pt x="4817534" y="2266245"/>
                    <a:pt x="4851428" y="2328445"/>
                    <a:pt x="4868334" y="2396067"/>
                  </a:cubicBezTo>
                  <a:cubicBezTo>
                    <a:pt x="4936361" y="2668174"/>
                    <a:pt x="4785898" y="3092035"/>
                    <a:pt x="4707467" y="3268134"/>
                  </a:cubicBezTo>
                  <a:cubicBezTo>
                    <a:pt x="4666764" y="3359524"/>
                    <a:pt x="4243875" y="3778407"/>
                    <a:pt x="4165600" y="3852334"/>
                  </a:cubicBezTo>
                  <a:cubicBezTo>
                    <a:pt x="3953599" y="4052557"/>
                    <a:pt x="3766835" y="4286397"/>
                    <a:pt x="3522134" y="4445000"/>
                  </a:cubicBezTo>
                  <a:cubicBezTo>
                    <a:pt x="3354560" y="4553613"/>
                    <a:pt x="2844611" y="4898105"/>
                    <a:pt x="2641600" y="4978400"/>
                  </a:cubicBezTo>
                  <a:cubicBezTo>
                    <a:pt x="2159951" y="5168903"/>
                    <a:pt x="2125575" y="5165670"/>
                    <a:pt x="1794934" y="5207000"/>
                  </a:cubicBezTo>
                  <a:cubicBezTo>
                    <a:pt x="1728972" y="5180616"/>
                    <a:pt x="1719493" y="5192490"/>
                    <a:pt x="1820334" y="5105400"/>
                  </a:cubicBezTo>
                  <a:cubicBezTo>
                    <a:pt x="2041853" y="4914088"/>
                    <a:pt x="2278193" y="4740254"/>
                    <a:pt x="2497667" y="4546600"/>
                  </a:cubicBezTo>
                  <a:cubicBezTo>
                    <a:pt x="2593623" y="4461933"/>
                    <a:pt x="2684570" y="4371227"/>
                    <a:pt x="2785534" y="4292600"/>
                  </a:cubicBezTo>
                  <a:cubicBezTo>
                    <a:pt x="3003758" y="4122655"/>
                    <a:pt x="3250011" y="3987889"/>
                    <a:pt x="3454400" y="3801534"/>
                  </a:cubicBezTo>
                  <a:cubicBezTo>
                    <a:pt x="4078146" y="3232825"/>
                    <a:pt x="3815797" y="3423252"/>
                    <a:pt x="4191000" y="3166534"/>
                  </a:cubicBezTo>
                  <a:cubicBezTo>
                    <a:pt x="4210756" y="3138312"/>
                    <a:pt x="4250267" y="3116317"/>
                    <a:pt x="4250267" y="3081867"/>
                  </a:cubicBezTo>
                  <a:cubicBezTo>
                    <a:pt x="4250267" y="3061321"/>
                    <a:pt x="4211546" y="3064934"/>
                    <a:pt x="4191000" y="3064934"/>
                  </a:cubicBezTo>
                  <a:cubicBezTo>
                    <a:pt x="4117406" y="3064934"/>
                    <a:pt x="4044245" y="3076223"/>
                    <a:pt x="3970867" y="3081867"/>
                  </a:cubicBezTo>
                  <a:cubicBezTo>
                    <a:pt x="3556000" y="3062111"/>
                    <a:pt x="3140626" y="3051087"/>
                    <a:pt x="2726267" y="3022600"/>
                  </a:cubicBezTo>
                  <a:cubicBezTo>
                    <a:pt x="2687971" y="3019967"/>
                    <a:pt x="2652142" y="3002212"/>
                    <a:pt x="2616200" y="2988734"/>
                  </a:cubicBezTo>
                  <a:cubicBezTo>
                    <a:pt x="2560546" y="2967864"/>
                    <a:pt x="2529523" y="2955562"/>
                    <a:pt x="2489200" y="2921000"/>
                  </a:cubicBezTo>
                  <a:cubicBezTo>
                    <a:pt x="2480109" y="2913208"/>
                    <a:pt x="2472267" y="2904067"/>
                    <a:pt x="2463800" y="2895600"/>
                  </a:cubicBezTo>
                  <a:cubicBezTo>
                    <a:pt x="2475779" y="2787796"/>
                    <a:pt x="2456917" y="2821738"/>
                    <a:pt x="2556934" y="2726267"/>
                  </a:cubicBezTo>
                  <a:cubicBezTo>
                    <a:pt x="2650864" y="2636607"/>
                    <a:pt x="2740917" y="2541711"/>
                    <a:pt x="2844800" y="2463800"/>
                  </a:cubicBezTo>
                  <a:cubicBezTo>
                    <a:pt x="2883340" y="2434896"/>
                    <a:pt x="2937212" y="2396788"/>
                    <a:pt x="2971800" y="2362200"/>
                  </a:cubicBezTo>
                  <a:cubicBezTo>
                    <a:pt x="2978995" y="2355005"/>
                    <a:pt x="2983089" y="2345267"/>
                    <a:pt x="2988734" y="2336800"/>
                  </a:cubicBezTo>
                  <a:cubicBezTo>
                    <a:pt x="2748845" y="2331156"/>
                    <a:pt x="2508205" y="2339658"/>
                    <a:pt x="2269067" y="2319867"/>
                  </a:cubicBezTo>
                  <a:cubicBezTo>
                    <a:pt x="2097983" y="2305708"/>
                    <a:pt x="1761067" y="2235200"/>
                    <a:pt x="1761067" y="2235200"/>
                  </a:cubicBezTo>
                  <a:cubicBezTo>
                    <a:pt x="1701800" y="2212622"/>
                    <a:pt x="1634558" y="2204770"/>
                    <a:pt x="1583267" y="2167467"/>
                  </a:cubicBezTo>
                  <a:cubicBezTo>
                    <a:pt x="1558128" y="2149184"/>
                    <a:pt x="1581302" y="2058548"/>
                    <a:pt x="1591734" y="2040467"/>
                  </a:cubicBezTo>
                  <a:cubicBezTo>
                    <a:pt x="1631626" y="1971322"/>
                    <a:pt x="1717963" y="1852824"/>
                    <a:pt x="1778000" y="1786467"/>
                  </a:cubicBezTo>
                  <a:cubicBezTo>
                    <a:pt x="1847274" y="1709901"/>
                    <a:pt x="1914101" y="1655188"/>
                    <a:pt x="1998134" y="1591734"/>
                  </a:cubicBezTo>
                  <a:cubicBezTo>
                    <a:pt x="2090036" y="1522339"/>
                    <a:pt x="2177213" y="1445079"/>
                    <a:pt x="2277534" y="1388534"/>
                  </a:cubicBezTo>
                  <a:cubicBezTo>
                    <a:pt x="2334295" y="1356542"/>
                    <a:pt x="2401151" y="1347167"/>
                    <a:pt x="2463800" y="1329267"/>
                  </a:cubicBezTo>
                  <a:cubicBezTo>
                    <a:pt x="2549105" y="1304894"/>
                    <a:pt x="2596722" y="1300351"/>
                    <a:pt x="2683934" y="1286934"/>
                  </a:cubicBezTo>
                  <a:cubicBezTo>
                    <a:pt x="3031276" y="1356402"/>
                    <a:pt x="2897951" y="1308054"/>
                    <a:pt x="3369734" y="1794934"/>
                  </a:cubicBezTo>
                  <a:cubicBezTo>
                    <a:pt x="3696618" y="2132279"/>
                    <a:pt x="3902087" y="2425933"/>
                    <a:pt x="4123267" y="2819400"/>
                  </a:cubicBezTo>
                  <a:cubicBezTo>
                    <a:pt x="4312001" y="3155148"/>
                    <a:pt x="4505248" y="3488983"/>
                    <a:pt x="4673600" y="3835400"/>
                  </a:cubicBezTo>
                  <a:cubicBezTo>
                    <a:pt x="4799141" y="4093726"/>
                    <a:pt x="4893024" y="4366273"/>
                    <a:pt x="5003800" y="4631267"/>
                  </a:cubicBezTo>
                  <a:cubicBezTo>
                    <a:pt x="5036959" y="4710589"/>
                    <a:pt x="5072202" y="4789028"/>
                    <a:pt x="5105400" y="4868334"/>
                  </a:cubicBezTo>
                  <a:cubicBezTo>
                    <a:pt x="5123006" y="4910392"/>
                    <a:pt x="5147258" y="4950625"/>
                    <a:pt x="5156200" y="4995334"/>
                  </a:cubicBezTo>
                  <a:cubicBezTo>
                    <a:pt x="5161845" y="5023556"/>
                    <a:pt x="5201626" y="5075930"/>
                    <a:pt x="5173134" y="5080000"/>
                  </a:cubicBezTo>
                  <a:cubicBezTo>
                    <a:pt x="5123156" y="5087140"/>
                    <a:pt x="5082823" y="5034845"/>
                    <a:pt x="5037667" y="5012267"/>
                  </a:cubicBezTo>
                  <a:cubicBezTo>
                    <a:pt x="3707713" y="3431379"/>
                    <a:pt x="4548562" y="4515500"/>
                    <a:pt x="3505200" y="2980267"/>
                  </a:cubicBezTo>
                  <a:cubicBezTo>
                    <a:pt x="3326506" y="2717331"/>
                    <a:pt x="3083355" y="2492122"/>
                    <a:pt x="2954867" y="2201334"/>
                  </a:cubicBezTo>
                  <a:lnTo>
                    <a:pt x="2794000" y="1837267"/>
                  </a:lnTo>
                  <a:cubicBezTo>
                    <a:pt x="2791178" y="1817511"/>
                    <a:pt x="2771423" y="1792111"/>
                    <a:pt x="2785534" y="1778000"/>
                  </a:cubicBezTo>
                  <a:cubicBezTo>
                    <a:pt x="2798156" y="1765379"/>
                    <a:pt x="2822299" y="1783906"/>
                    <a:pt x="2836334" y="1794934"/>
                  </a:cubicBezTo>
                  <a:cubicBezTo>
                    <a:pt x="2863056" y="1815930"/>
                    <a:pt x="2880037" y="1847104"/>
                    <a:pt x="2904067" y="1871134"/>
                  </a:cubicBezTo>
                  <a:cubicBezTo>
                    <a:pt x="2950655" y="1917722"/>
                    <a:pt x="3002857" y="1958610"/>
                    <a:pt x="3048000" y="2006600"/>
                  </a:cubicBezTo>
                  <a:cubicBezTo>
                    <a:pt x="3316222" y="2291736"/>
                    <a:pt x="3579622" y="2581374"/>
                    <a:pt x="3843867" y="2870200"/>
                  </a:cubicBezTo>
                  <a:cubicBezTo>
                    <a:pt x="4088571" y="3137667"/>
                    <a:pt x="4145812" y="3215448"/>
                    <a:pt x="4385734" y="3462867"/>
                  </a:cubicBezTo>
                  <a:cubicBezTo>
                    <a:pt x="4482981" y="3563152"/>
                    <a:pt x="4594478" y="3650378"/>
                    <a:pt x="4682067" y="3759200"/>
                  </a:cubicBezTo>
                  <a:lnTo>
                    <a:pt x="4961467" y="4106334"/>
                  </a:lnTo>
                  <a:cubicBezTo>
                    <a:pt x="4936067" y="4109156"/>
                    <a:pt x="4909232" y="4123676"/>
                    <a:pt x="4885267" y="4114800"/>
                  </a:cubicBezTo>
                  <a:cubicBezTo>
                    <a:pt x="4829438" y="4094123"/>
                    <a:pt x="4782714" y="4054220"/>
                    <a:pt x="4732867" y="4021667"/>
                  </a:cubicBezTo>
                  <a:cubicBezTo>
                    <a:pt x="4644390" y="3963886"/>
                    <a:pt x="4553814" y="3908744"/>
                    <a:pt x="4470400" y="3843867"/>
                  </a:cubicBezTo>
                  <a:cubicBezTo>
                    <a:pt x="4070996" y="3533220"/>
                    <a:pt x="3703879" y="3179540"/>
                    <a:pt x="3285067" y="2895600"/>
                  </a:cubicBezTo>
                  <a:cubicBezTo>
                    <a:pt x="3118556" y="2782711"/>
                    <a:pt x="2940969" y="2684643"/>
                    <a:pt x="2785534" y="2556934"/>
                  </a:cubicBezTo>
                  <a:cubicBezTo>
                    <a:pt x="2417924" y="2254897"/>
                    <a:pt x="2075338" y="1923623"/>
                    <a:pt x="1718734" y="1608667"/>
                  </a:cubicBezTo>
                  <a:cubicBezTo>
                    <a:pt x="1688670" y="1582114"/>
                    <a:pt x="1653963" y="1560831"/>
                    <a:pt x="1625600" y="1532467"/>
                  </a:cubicBezTo>
                  <a:cubicBezTo>
                    <a:pt x="1614311" y="1521178"/>
                    <a:pt x="1606013" y="1505740"/>
                    <a:pt x="1591734" y="1498600"/>
                  </a:cubicBezTo>
                  <a:cubicBezTo>
                    <a:pt x="1582633" y="1494049"/>
                    <a:pt x="1601472" y="1516805"/>
                    <a:pt x="1608667" y="1524000"/>
                  </a:cubicBezTo>
                  <a:cubicBezTo>
                    <a:pt x="1683469" y="1598802"/>
                    <a:pt x="1769795" y="1662658"/>
                    <a:pt x="1837267" y="1744134"/>
                  </a:cubicBezTo>
                  <a:cubicBezTo>
                    <a:pt x="1930808" y="1857089"/>
                    <a:pt x="2712142" y="2789333"/>
                    <a:pt x="2760134" y="2895600"/>
                  </a:cubicBezTo>
                  <a:lnTo>
                    <a:pt x="2997200" y="3420534"/>
                  </a:lnTo>
                  <a:cubicBezTo>
                    <a:pt x="3039831" y="3664691"/>
                    <a:pt x="3146630" y="3875918"/>
                    <a:pt x="3056467" y="4106334"/>
                  </a:cubicBezTo>
                  <a:cubicBezTo>
                    <a:pt x="3049195" y="4124918"/>
                    <a:pt x="3028245" y="4134556"/>
                    <a:pt x="3014134" y="4148667"/>
                  </a:cubicBezTo>
                  <a:cubicBezTo>
                    <a:pt x="3029518" y="4102511"/>
                    <a:pt x="3030876" y="4092315"/>
                    <a:pt x="3073400" y="4038600"/>
                  </a:cubicBezTo>
                  <a:cubicBezTo>
                    <a:pt x="3106867" y="3996325"/>
                    <a:pt x="3148639" y="3961228"/>
                    <a:pt x="3183467" y="3920067"/>
                  </a:cubicBezTo>
                  <a:cubicBezTo>
                    <a:pt x="3241831" y="3851091"/>
                    <a:pt x="3291318" y="3774612"/>
                    <a:pt x="3352800" y="3708400"/>
                  </a:cubicBezTo>
                  <a:cubicBezTo>
                    <a:pt x="3562086" y="3483015"/>
                    <a:pt x="4124475" y="2908206"/>
                    <a:pt x="4385734" y="2743200"/>
                  </a:cubicBezTo>
                  <a:cubicBezTo>
                    <a:pt x="4897849" y="2419759"/>
                    <a:pt x="4683750" y="2484546"/>
                    <a:pt x="4969934" y="2413000"/>
                  </a:cubicBezTo>
                  <a:cubicBezTo>
                    <a:pt x="5097867" y="2540934"/>
                    <a:pt x="5113579" y="2513198"/>
                    <a:pt x="4876800" y="2768600"/>
                  </a:cubicBezTo>
                  <a:cubicBezTo>
                    <a:pt x="3983861" y="3731770"/>
                    <a:pt x="4369360" y="3345253"/>
                    <a:pt x="3589867" y="4097867"/>
                  </a:cubicBezTo>
                  <a:cubicBezTo>
                    <a:pt x="3522376" y="4163030"/>
                    <a:pt x="3468676" y="4247039"/>
                    <a:pt x="3386667" y="4292600"/>
                  </a:cubicBezTo>
                  <a:cubicBezTo>
                    <a:pt x="3361267" y="4306711"/>
                    <a:pt x="3335213" y="4319705"/>
                    <a:pt x="3310467" y="4334934"/>
                  </a:cubicBezTo>
                  <a:cubicBezTo>
                    <a:pt x="3298449" y="4342330"/>
                    <a:pt x="3272137" y="4373721"/>
                    <a:pt x="3276600" y="4360334"/>
                  </a:cubicBezTo>
                  <a:cubicBezTo>
                    <a:pt x="3283571" y="4339423"/>
                    <a:pt x="3303858" y="4325615"/>
                    <a:pt x="3318934" y="4309534"/>
                  </a:cubicBezTo>
                  <a:cubicBezTo>
                    <a:pt x="3473220" y="4144962"/>
                    <a:pt x="3628797" y="3981603"/>
                    <a:pt x="3784600" y="3818467"/>
                  </a:cubicBezTo>
                  <a:cubicBezTo>
                    <a:pt x="4159342" y="3426089"/>
                    <a:pt x="3914245" y="3686521"/>
                    <a:pt x="4284134" y="3310467"/>
                  </a:cubicBezTo>
                  <a:cubicBezTo>
                    <a:pt x="4372307" y="3220824"/>
                    <a:pt x="4459756" y="3130465"/>
                    <a:pt x="4546600" y="3039534"/>
                  </a:cubicBezTo>
                  <a:cubicBezTo>
                    <a:pt x="4699648" y="2879284"/>
                    <a:pt x="4839090" y="2705172"/>
                    <a:pt x="5003800" y="2556934"/>
                  </a:cubicBezTo>
                  <a:cubicBezTo>
                    <a:pt x="5106267" y="2464714"/>
                    <a:pt x="5061619" y="2507582"/>
                    <a:pt x="5139267" y="2429934"/>
                  </a:cubicBezTo>
                  <a:cubicBezTo>
                    <a:pt x="5098501" y="2389165"/>
                    <a:pt x="5118997" y="2400559"/>
                    <a:pt x="5012267" y="2429934"/>
                  </a:cubicBezTo>
                  <a:cubicBezTo>
                    <a:pt x="4740163" y="2504825"/>
                    <a:pt x="4470830" y="2589468"/>
                    <a:pt x="4199467" y="2667000"/>
                  </a:cubicBezTo>
                  <a:cubicBezTo>
                    <a:pt x="3704804" y="2808332"/>
                    <a:pt x="3583413" y="2839281"/>
                    <a:pt x="2997200" y="2929467"/>
                  </a:cubicBezTo>
                  <a:cubicBezTo>
                    <a:pt x="2888092" y="2946253"/>
                    <a:pt x="2777067" y="2946400"/>
                    <a:pt x="2667000" y="2954867"/>
                  </a:cubicBezTo>
                  <a:cubicBezTo>
                    <a:pt x="2510067" y="2981924"/>
                    <a:pt x="2345921" y="3027499"/>
                    <a:pt x="2184400" y="2988734"/>
                  </a:cubicBezTo>
                  <a:cubicBezTo>
                    <a:pt x="2168398" y="2984894"/>
                    <a:pt x="2199980" y="2959606"/>
                    <a:pt x="2209800" y="2946400"/>
                  </a:cubicBezTo>
                  <a:cubicBezTo>
                    <a:pt x="2363721" y="2739404"/>
                    <a:pt x="2521723" y="2535461"/>
                    <a:pt x="2675467" y="2328334"/>
                  </a:cubicBezTo>
                  <a:cubicBezTo>
                    <a:pt x="2753720" y="2222911"/>
                    <a:pt x="2882445" y="2044009"/>
                    <a:pt x="2937934" y="1921934"/>
                  </a:cubicBezTo>
                  <a:cubicBezTo>
                    <a:pt x="2976349" y="1837421"/>
                    <a:pt x="3031067" y="1659467"/>
                    <a:pt x="3031067" y="1659467"/>
                  </a:cubicBezTo>
                  <a:cubicBezTo>
                    <a:pt x="2967685" y="1574957"/>
                    <a:pt x="2996194" y="1589488"/>
                    <a:pt x="2844800" y="1761067"/>
                  </a:cubicBezTo>
                  <a:lnTo>
                    <a:pt x="2717800" y="1905000"/>
                  </a:lnTo>
                  <a:cubicBezTo>
                    <a:pt x="2695222" y="1972733"/>
                    <a:pt x="2648836" y="2036813"/>
                    <a:pt x="2650067" y="2108200"/>
                  </a:cubicBezTo>
                  <a:cubicBezTo>
                    <a:pt x="2651778" y="2207446"/>
                    <a:pt x="2688684" y="2304197"/>
                    <a:pt x="2726267" y="2396067"/>
                  </a:cubicBezTo>
                  <a:cubicBezTo>
                    <a:pt x="2740643" y="2431209"/>
                    <a:pt x="2771570" y="2458665"/>
                    <a:pt x="2802467" y="2480734"/>
                  </a:cubicBezTo>
                  <a:cubicBezTo>
                    <a:pt x="2893430" y="2545707"/>
                    <a:pt x="3133704" y="2636443"/>
                    <a:pt x="3217334" y="2667000"/>
                  </a:cubicBezTo>
                  <a:cubicBezTo>
                    <a:pt x="3425250" y="2742969"/>
                    <a:pt x="3631532" y="2824571"/>
                    <a:pt x="3843867" y="2887134"/>
                  </a:cubicBezTo>
                  <a:cubicBezTo>
                    <a:pt x="3948470" y="2917954"/>
                    <a:pt x="4058783" y="2924451"/>
                    <a:pt x="4165600" y="2946400"/>
                  </a:cubicBezTo>
                  <a:cubicBezTo>
                    <a:pt x="4446469" y="3004113"/>
                    <a:pt x="4661578" y="3063748"/>
                    <a:pt x="4944534" y="3158067"/>
                  </a:cubicBezTo>
                  <a:cubicBezTo>
                    <a:pt x="5056783" y="3195483"/>
                    <a:pt x="5057413" y="3205230"/>
                    <a:pt x="5130800" y="3268134"/>
                  </a:cubicBezTo>
                  <a:cubicBezTo>
                    <a:pt x="5144911" y="3299178"/>
                    <a:pt x="5165736" y="3327978"/>
                    <a:pt x="5173134" y="3361267"/>
                  </a:cubicBezTo>
                  <a:cubicBezTo>
                    <a:pt x="5177463" y="3380748"/>
                    <a:pt x="5176314" y="3404329"/>
                    <a:pt x="5164667" y="3420534"/>
                  </a:cubicBezTo>
                  <a:cubicBezTo>
                    <a:pt x="5109814" y="3496851"/>
                    <a:pt x="5046702" y="3567641"/>
                    <a:pt x="4978400" y="3632200"/>
                  </a:cubicBezTo>
                  <a:cubicBezTo>
                    <a:pt x="4840249" y="3762781"/>
                    <a:pt x="4698218" y="3890065"/>
                    <a:pt x="4546600" y="4004734"/>
                  </a:cubicBezTo>
                  <a:cubicBezTo>
                    <a:pt x="4361803" y="4144497"/>
                    <a:pt x="4174342" y="4283379"/>
                    <a:pt x="3970867" y="4394200"/>
                  </a:cubicBezTo>
                  <a:cubicBezTo>
                    <a:pt x="3728555" y="4526173"/>
                    <a:pt x="3465233" y="4541024"/>
                    <a:pt x="3200400" y="4580467"/>
                  </a:cubicBezTo>
                  <a:cubicBezTo>
                    <a:pt x="2867378" y="4574823"/>
                    <a:pt x="2533821" y="4583237"/>
                    <a:pt x="2201334" y="4563534"/>
                  </a:cubicBezTo>
                  <a:cubicBezTo>
                    <a:pt x="2150545" y="4560524"/>
                    <a:pt x="2101399" y="4538282"/>
                    <a:pt x="2057400" y="4512734"/>
                  </a:cubicBezTo>
                  <a:cubicBezTo>
                    <a:pt x="2012397" y="4486603"/>
                    <a:pt x="1978378" y="4445001"/>
                    <a:pt x="1938867" y="4411134"/>
                  </a:cubicBezTo>
                  <a:cubicBezTo>
                    <a:pt x="1995311" y="4250267"/>
                    <a:pt x="2028662" y="4079325"/>
                    <a:pt x="2108200" y="3928534"/>
                  </a:cubicBezTo>
                  <a:cubicBezTo>
                    <a:pt x="2149904" y="3849470"/>
                    <a:pt x="2525970" y="3433438"/>
                    <a:pt x="2599267" y="3378200"/>
                  </a:cubicBezTo>
                  <a:cubicBezTo>
                    <a:pt x="2817718" y="3213570"/>
                    <a:pt x="3436017" y="2737210"/>
                    <a:pt x="3843867" y="2616200"/>
                  </a:cubicBezTo>
                  <a:cubicBezTo>
                    <a:pt x="3987138" y="2573691"/>
                    <a:pt x="4137378" y="2559756"/>
                    <a:pt x="4284134" y="2531534"/>
                  </a:cubicBezTo>
                  <a:cubicBezTo>
                    <a:pt x="4315178" y="2534356"/>
                    <a:pt x="4347845" y="2529702"/>
                    <a:pt x="4377267" y="2540000"/>
                  </a:cubicBezTo>
                  <a:cubicBezTo>
                    <a:pt x="4457358" y="2568032"/>
                    <a:pt x="4490935" y="2613352"/>
                    <a:pt x="4436534" y="2700867"/>
                  </a:cubicBezTo>
                  <a:cubicBezTo>
                    <a:pt x="4321442" y="2886015"/>
                    <a:pt x="4225162" y="2936090"/>
                    <a:pt x="4038600" y="3031067"/>
                  </a:cubicBezTo>
                  <a:cubicBezTo>
                    <a:pt x="3732004" y="3187152"/>
                    <a:pt x="3509240" y="3237795"/>
                    <a:pt x="3132667" y="3310467"/>
                  </a:cubicBezTo>
                  <a:cubicBezTo>
                    <a:pt x="3032754" y="3329748"/>
                    <a:pt x="2929467" y="3321756"/>
                    <a:pt x="2827867" y="3327400"/>
                  </a:cubicBezTo>
                  <a:cubicBezTo>
                    <a:pt x="2542823" y="3276600"/>
                    <a:pt x="2255439" y="3237521"/>
                    <a:pt x="1972734" y="3175000"/>
                  </a:cubicBezTo>
                  <a:cubicBezTo>
                    <a:pt x="1956666" y="3171447"/>
                    <a:pt x="1945228" y="3148988"/>
                    <a:pt x="1947334" y="3132667"/>
                  </a:cubicBezTo>
                  <a:cubicBezTo>
                    <a:pt x="1956156" y="3064299"/>
                    <a:pt x="2019062" y="2839664"/>
                    <a:pt x="2074334" y="2768600"/>
                  </a:cubicBezTo>
                  <a:cubicBezTo>
                    <a:pt x="2220548" y="2580611"/>
                    <a:pt x="2379242" y="2402447"/>
                    <a:pt x="2540000" y="2226734"/>
                  </a:cubicBezTo>
                  <a:cubicBezTo>
                    <a:pt x="2622182" y="2136907"/>
                    <a:pt x="2711712" y="2053890"/>
                    <a:pt x="2802467" y="1972734"/>
                  </a:cubicBezTo>
                  <a:cubicBezTo>
                    <a:pt x="3015282" y="1782429"/>
                    <a:pt x="3381207" y="1439454"/>
                    <a:pt x="3674534" y="1261534"/>
                  </a:cubicBezTo>
                  <a:cubicBezTo>
                    <a:pt x="3774466" y="1200920"/>
                    <a:pt x="4027766" y="1079434"/>
                    <a:pt x="4148667" y="1032934"/>
                  </a:cubicBezTo>
                  <a:cubicBezTo>
                    <a:pt x="4184007" y="1019342"/>
                    <a:pt x="4083990" y="1075343"/>
                    <a:pt x="4047067" y="1083734"/>
                  </a:cubicBezTo>
                  <a:cubicBezTo>
                    <a:pt x="3260569" y="1262483"/>
                    <a:pt x="3417011" y="1236103"/>
                    <a:pt x="2819400" y="1261534"/>
                  </a:cubicBezTo>
                  <a:cubicBezTo>
                    <a:pt x="2695222" y="1258712"/>
                    <a:pt x="2570767" y="1261839"/>
                    <a:pt x="2446867" y="1253067"/>
                  </a:cubicBezTo>
                  <a:cubicBezTo>
                    <a:pt x="2002989" y="1221642"/>
                    <a:pt x="1982542" y="1213779"/>
                    <a:pt x="1659467" y="1159934"/>
                  </a:cubicBezTo>
                  <a:cubicBezTo>
                    <a:pt x="1603023" y="1134534"/>
                    <a:pt x="1540501" y="1119710"/>
                    <a:pt x="1490134" y="1083734"/>
                  </a:cubicBezTo>
                  <a:cubicBezTo>
                    <a:pt x="1439784" y="1047770"/>
                    <a:pt x="1500454" y="1019598"/>
                    <a:pt x="1515534" y="1007534"/>
                  </a:cubicBezTo>
                  <a:cubicBezTo>
                    <a:pt x="1532746" y="993764"/>
                    <a:pt x="1546474" y="974762"/>
                    <a:pt x="1566334" y="965200"/>
                  </a:cubicBezTo>
                  <a:cubicBezTo>
                    <a:pt x="1623477" y="937687"/>
                    <a:pt x="1684867" y="920045"/>
                    <a:pt x="1744134" y="897467"/>
                  </a:cubicBezTo>
                  <a:cubicBezTo>
                    <a:pt x="1868312" y="911578"/>
                    <a:pt x="2000491" y="893730"/>
                    <a:pt x="2116667" y="939800"/>
                  </a:cubicBezTo>
                  <a:cubicBezTo>
                    <a:pt x="2334036" y="1025998"/>
                    <a:pt x="2537155" y="1149399"/>
                    <a:pt x="2726267" y="1286934"/>
                  </a:cubicBezTo>
                  <a:cubicBezTo>
                    <a:pt x="2788356" y="1332089"/>
                    <a:pt x="2861684" y="1364882"/>
                    <a:pt x="2912534" y="1422400"/>
                  </a:cubicBezTo>
                  <a:cubicBezTo>
                    <a:pt x="3035537" y="1561535"/>
                    <a:pt x="3152246" y="1708961"/>
                    <a:pt x="3242734" y="1871134"/>
                  </a:cubicBezTo>
                  <a:cubicBezTo>
                    <a:pt x="3370770" y="2100600"/>
                    <a:pt x="3455416" y="2351727"/>
                    <a:pt x="3564467" y="2590800"/>
                  </a:cubicBezTo>
                  <a:cubicBezTo>
                    <a:pt x="3602184" y="2673487"/>
                    <a:pt x="3648485" y="2752260"/>
                    <a:pt x="3683000" y="2836334"/>
                  </a:cubicBezTo>
                  <a:cubicBezTo>
                    <a:pt x="3793067" y="3104445"/>
                    <a:pt x="3900499" y="3373653"/>
                    <a:pt x="4013200" y="3640667"/>
                  </a:cubicBezTo>
                  <a:cubicBezTo>
                    <a:pt x="4411910" y="4585300"/>
                    <a:pt x="4099453" y="3799410"/>
                    <a:pt x="4326467" y="4377267"/>
                  </a:cubicBezTo>
                  <a:cubicBezTo>
                    <a:pt x="4356613" y="4558141"/>
                    <a:pt x="4360334" y="4540883"/>
                    <a:pt x="4360334" y="4749800"/>
                  </a:cubicBezTo>
                  <a:cubicBezTo>
                    <a:pt x="4360334" y="4769756"/>
                    <a:pt x="4363375" y="4792763"/>
                    <a:pt x="4351867" y="4809067"/>
                  </a:cubicBezTo>
                  <a:cubicBezTo>
                    <a:pt x="4327672" y="4843343"/>
                    <a:pt x="4292746" y="4869169"/>
                    <a:pt x="4258734" y="4893734"/>
                  </a:cubicBezTo>
                  <a:cubicBezTo>
                    <a:pt x="4241310" y="4906318"/>
                    <a:pt x="4220614" y="4915289"/>
                    <a:pt x="4199467" y="4919134"/>
                  </a:cubicBezTo>
                  <a:cubicBezTo>
                    <a:pt x="4157724" y="4926723"/>
                    <a:pt x="4114800" y="4924778"/>
                    <a:pt x="4072467" y="4927600"/>
                  </a:cubicBezTo>
                  <a:cubicBezTo>
                    <a:pt x="4049889" y="4921956"/>
                    <a:pt x="4024793" y="4922467"/>
                    <a:pt x="4004734" y="4910667"/>
                  </a:cubicBezTo>
                  <a:cubicBezTo>
                    <a:pt x="3975442" y="4893437"/>
                    <a:pt x="3952233" y="4867291"/>
                    <a:pt x="3928534" y="4842934"/>
                  </a:cubicBezTo>
                  <a:cubicBezTo>
                    <a:pt x="3850552" y="4762786"/>
                    <a:pt x="3770506" y="4684145"/>
                    <a:pt x="3699934" y="4597400"/>
                  </a:cubicBezTo>
                  <a:cubicBezTo>
                    <a:pt x="3574235" y="4442895"/>
                    <a:pt x="3283314" y="3967262"/>
                    <a:pt x="3225800" y="3860800"/>
                  </a:cubicBezTo>
                  <a:cubicBezTo>
                    <a:pt x="3182457" y="3780570"/>
                    <a:pt x="3158067" y="3691467"/>
                    <a:pt x="3124200" y="3606800"/>
                  </a:cubicBezTo>
                  <a:cubicBezTo>
                    <a:pt x="3110089" y="3499556"/>
                    <a:pt x="3063221" y="3391616"/>
                    <a:pt x="3081867" y="3285067"/>
                  </a:cubicBezTo>
                  <a:cubicBezTo>
                    <a:pt x="3157602" y="2852297"/>
                    <a:pt x="3428757" y="2775125"/>
                    <a:pt x="3835400" y="2624667"/>
                  </a:cubicBezTo>
                  <a:cubicBezTo>
                    <a:pt x="3914850" y="2595271"/>
                    <a:pt x="4004733" y="2619022"/>
                    <a:pt x="4089400" y="2616200"/>
                  </a:cubicBezTo>
                  <a:cubicBezTo>
                    <a:pt x="4109156" y="2621845"/>
                    <a:pt x="4135514" y="2617350"/>
                    <a:pt x="4148667" y="2633134"/>
                  </a:cubicBezTo>
                  <a:cubicBezTo>
                    <a:pt x="4167530" y="2655769"/>
                    <a:pt x="4170983" y="2688497"/>
                    <a:pt x="4174067" y="2717800"/>
                  </a:cubicBezTo>
                  <a:cubicBezTo>
                    <a:pt x="4180672" y="2780546"/>
                    <a:pt x="4142544" y="2870288"/>
                    <a:pt x="4106334" y="2912534"/>
                  </a:cubicBezTo>
                  <a:cubicBezTo>
                    <a:pt x="3998532" y="3038303"/>
                    <a:pt x="3880298" y="3155109"/>
                    <a:pt x="3759200" y="3268134"/>
                  </a:cubicBezTo>
                  <a:cubicBezTo>
                    <a:pt x="3495509" y="3514245"/>
                    <a:pt x="3245588" y="3665607"/>
                    <a:pt x="2912534" y="3835400"/>
                  </a:cubicBezTo>
                  <a:cubicBezTo>
                    <a:pt x="2816297" y="3884462"/>
                    <a:pt x="2712257" y="3918200"/>
                    <a:pt x="2607734" y="3945467"/>
                  </a:cubicBezTo>
                  <a:cubicBezTo>
                    <a:pt x="2451885" y="3986123"/>
                    <a:pt x="2291645" y="4007556"/>
                    <a:pt x="2133600" y="4038600"/>
                  </a:cubicBezTo>
                  <a:cubicBezTo>
                    <a:pt x="1994010" y="3968805"/>
                    <a:pt x="1960215" y="3998763"/>
                    <a:pt x="2116667" y="3877734"/>
                  </a:cubicBezTo>
                  <a:cubicBezTo>
                    <a:pt x="2378289" y="3675347"/>
                    <a:pt x="2637320" y="3468543"/>
                    <a:pt x="2912534" y="3285067"/>
                  </a:cubicBezTo>
                  <a:cubicBezTo>
                    <a:pt x="3242734" y="3064934"/>
                    <a:pt x="3544172" y="2793892"/>
                    <a:pt x="3903134" y="2624667"/>
                  </a:cubicBezTo>
                  <a:lnTo>
                    <a:pt x="4495800" y="2345267"/>
                  </a:lnTo>
                  <a:cubicBezTo>
                    <a:pt x="4356230" y="2484837"/>
                    <a:pt x="4622777" y="2221790"/>
                    <a:pt x="4106334" y="2607734"/>
                  </a:cubicBezTo>
                  <a:cubicBezTo>
                    <a:pt x="3581401" y="3000023"/>
                    <a:pt x="3099030" y="3456891"/>
                    <a:pt x="2531534" y="3784600"/>
                  </a:cubicBezTo>
                  <a:cubicBezTo>
                    <a:pt x="2331156" y="3900311"/>
                    <a:pt x="2115509" y="3992899"/>
                    <a:pt x="1930400" y="4131734"/>
                  </a:cubicBezTo>
                  <a:cubicBezTo>
                    <a:pt x="1919111" y="4140201"/>
                    <a:pt x="1886555" y="4147157"/>
                    <a:pt x="1896534" y="4157134"/>
                  </a:cubicBezTo>
                  <a:cubicBezTo>
                    <a:pt x="1907281" y="4167880"/>
                    <a:pt x="1925979" y="4148255"/>
                    <a:pt x="1938867" y="4140200"/>
                  </a:cubicBezTo>
                  <a:cubicBezTo>
                    <a:pt x="1971418" y="4119855"/>
                    <a:pt x="1999802" y="4093367"/>
                    <a:pt x="2032000" y="4072467"/>
                  </a:cubicBezTo>
                  <a:cubicBezTo>
                    <a:pt x="2352479" y="3864437"/>
                    <a:pt x="2422161" y="3851910"/>
                    <a:pt x="2683934" y="3615267"/>
                  </a:cubicBezTo>
                  <a:cubicBezTo>
                    <a:pt x="2953509" y="3371571"/>
                    <a:pt x="3215546" y="3119656"/>
                    <a:pt x="3479800" y="2870200"/>
                  </a:cubicBezTo>
                  <a:cubicBezTo>
                    <a:pt x="3852538" y="2518336"/>
                    <a:pt x="3626157" y="2684306"/>
                    <a:pt x="4089400" y="2396067"/>
                  </a:cubicBezTo>
                  <a:cubicBezTo>
                    <a:pt x="4100116" y="2389399"/>
                    <a:pt x="4111978" y="2384778"/>
                    <a:pt x="4123267" y="2379134"/>
                  </a:cubicBezTo>
                  <a:cubicBezTo>
                    <a:pt x="4037057" y="2637769"/>
                    <a:pt x="4118945" y="2408700"/>
                    <a:pt x="3725334" y="2963334"/>
                  </a:cubicBezTo>
                  <a:cubicBezTo>
                    <a:pt x="3665521" y="3047616"/>
                    <a:pt x="3598643" y="3127507"/>
                    <a:pt x="3547534" y="3217334"/>
                  </a:cubicBezTo>
                  <a:cubicBezTo>
                    <a:pt x="3235672" y="3765455"/>
                    <a:pt x="3349103" y="3538365"/>
                    <a:pt x="3183467" y="3886200"/>
                  </a:cubicBezTo>
                  <a:cubicBezTo>
                    <a:pt x="3177823" y="3925711"/>
                    <a:pt x="3159972" y="3965365"/>
                    <a:pt x="3166534" y="4004734"/>
                  </a:cubicBezTo>
                  <a:cubicBezTo>
                    <a:pt x="3170498" y="4028519"/>
                    <a:pt x="3186086" y="3960393"/>
                    <a:pt x="3191934" y="3937000"/>
                  </a:cubicBezTo>
                  <a:cubicBezTo>
                    <a:pt x="3200261" y="3903691"/>
                    <a:pt x="3203223" y="3869267"/>
                    <a:pt x="3208867" y="3835400"/>
                  </a:cubicBezTo>
                  <a:cubicBezTo>
                    <a:pt x="3244964" y="2993133"/>
                    <a:pt x="3188415" y="3292730"/>
                    <a:pt x="3496734" y="2277534"/>
                  </a:cubicBezTo>
                  <a:cubicBezTo>
                    <a:pt x="3540448" y="2133598"/>
                    <a:pt x="3609270" y="2055906"/>
                    <a:pt x="3708400" y="1947334"/>
                  </a:cubicBezTo>
                  <a:cubicBezTo>
                    <a:pt x="3723262" y="1931056"/>
                    <a:pt x="3738289" y="1911970"/>
                    <a:pt x="3759200" y="1905000"/>
                  </a:cubicBezTo>
                  <a:cubicBezTo>
                    <a:pt x="3799716" y="1891494"/>
                    <a:pt x="3843867" y="1893711"/>
                    <a:pt x="3886200" y="1888067"/>
                  </a:cubicBezTo>
                  <a:cubicBezTo>
                    <a:pt x="3946349" y="1910296"/>
                    <a:pt x="4370927" y="2051058"/>
                    <a:pt x="4478867" y="2133600"/>
                  </a:cubicBezTo>
                  <a:cubicBezTo>
                    <a:pt x="4717527" y="2316105"/>
                    <a:pt x="5024851" y="2552692"/>
                    <a:pt x="5181600" y="2836334"/>
                  </a:cubicBezTo>
                  <a:cubicBezTo>
                    <a:pt x="5250072" y="2960235"/>
                    <a:pt x="5294489" y="3095978"/>
                    <a:pt x="5350934" y="3225800"/>
                  </a:cubicBezTo>
                  <a:cubicBezTo>
                    <a:pt x="5356578" y="3276600"/>
                    <a:pt x="5366679" y="3327101"/>
                    <a:pt x="5367867" y="3378200"/>
                  </a:cubicBezTo>
                  <a:cubicBezTo>
                    <a:pt x="5371333" y="3527268"/>
                    <a:pt x="5393720" y="3640862"/>
                    <a:pt x="5240867" y="3725334"/>
                  </a:cubicBezTo>
                  <a:cubicBezTo>
                    <a:pt x="5180311" y="3758799"/>
                    <a:pt x="5105400" y="3753556"/>
                    <a:pt x="5037667" y="3767667"/>
                  </a:cubicBezTo>
                  <a:cubicBezTo>
                    <a:pt x="4933245" y="3733800"/>
                    <a:pt x="4821929" y="3716457"/>
                    <a:pt x="4724400" y="3666067"/>
                  </a:cubicBezTo>
                  <a:cubicBezTo>
                    <a:pt x="4649599" y="3627420"/>
                    <a:pt x="4584052" y="3569473"/>
                    <a:pt x="4529667" y="3505200"/>
                  </a:cubicBezTo>
                  <a:cubicBezTo>
                    <a:pt x="4365598" y="3311300"/>
                    <a:pt x="4206562" y="3111318"/>
                    <a:pt x="4072467" y="2895600"/>
                  </a:cubicBezTo>
                  <a:cubicBezTo>
                    <a:pt x="3933182" y="2671532"/>
                    <a:pt x="3765691" y="1815028"/>
                    <a:pt x="3750734" y="1752600"/>
                  </a:cubicBezTo>
                  <a:cubicBezTo>
                    <a:pt x="3720035" y="1414911"/>
                    <a:pt x="3682061" y="1209944"/>
                    <a:pt x="3750734" y="855134"/>
                  </a:cubicBezTo>
                  <a:cubicBezTo>
                    <a:pt x="3768976" y="760886"/>
                    <a:pt x="3817406" y="673450"/>
                    <a:pt x="3869267" y="592667"/>
                  </a:cubicBezTo>
                  <a:cubicBezTo>
                    <a:pt x="3988401" y="407093"/>
                    <a:pt x="4133404" y="163297"/>
                    <a:pt x="4351867" y="59267"/>
                  </a:cubicBezTo>
                  <a:cubicBezTo>
                    <a:pt x="4413127" y="30096"/>
                    <a:pt x="4481689" y="19756"/>
                    <a:pt x="4546600" y="0"/>
                  </a:cubicBezTo>
                  <a:cubicBezTo>
                    <a:pt x="4583289" y="11289"/>
                    <a:pt x="4633818" y="3021"/>
                    <a:pt x="4656667" y="33867"/>
                  </a:cubicBezTo>
                  <a:cubicBezTo>
                    <a:pt x="4697054" y="88389"/>
                    <a:pt x="4710220" y="160990"/>
                    <a:pt x="4715934" y="228600"/>
                  </a:cubicBezTo>
                  <a:cubicBezTo>
                    <a:pt x="4734467" y="447913"/>
                    <a:pt x="4714865" y="744953"/>
                    <a:pt x="4631267" y="956734"/>
                  </a:cubicBezTo>
                  <a:cubicBezTo>
                    <a:pt x="4471262" y="1362079"/>
                    <a:pt x="4352710" y="1630754"/>
                    <a:pt x="4064000" y="1930400"/>
                  </a:cubicBezTo>
                  <a:cubicBezTo>
                    <a:pt x="3788425" y="2216414"/>
                    <a:pt x="3439719" y="2436942"/>
                    <a:pt x="3208867" y="2760134"/>
                  </a:cubicBezTo>
                  <a:cubicBezTo>
                    <a:pt x="3194756" y="2779889"/>
                    <a:pt x="3143191" y="2826070"/>
                    <a:pt x="3166534" y="2819400"/>
                  </a:cubicBezTo>
                  <a:cubicBezTo>
                    <a:pt x="3226110" y="2802378"/>
                    <a:pt x="3274998" y="2759330"/>
                    <a:pt x="3327400" y="2726267"/>
                  </a:cubicBezTo>
                  <a:lnTo>
                    <a:pt x="4588934" y="1921934"/>
                  </a:lnTo>
                  <a:cubicBezTo>
                    <a:pt x="4865552" y="1749436"/>
                    <a:pt x="4898173" y="1764365"/>
                    <a:pt x="5249334" y="1642534"/>
                  </a:cubicBezTo>
                  <a:cubicBezTo>
                    <a:pt x="5286023" y="1645356"/>
                    <a:pt x="5345390" y="1616975"/>
                    <a:pt x="5359400" y="1651000"/>
                  </a:cubicBezTo>
                  <a:cubicBezTo>
                    <a:pt x="5383887" y="1710468"/>
                    <a:pt x="5241569" y="1876752"/>
                    <a:pt x="5215467" y="1905000"/>
                  </a:cubicBezTo>
                  <a:cubicBezTo>
                    <a:pt x="5043416" y="2091192"/>
                    <a:pt x="4869795" y="2276073"/>
                    <a:pt x="4690534" y="2455334"/>
                  </a:cubicBezTo>
                  <a:cubicBezTo>
                    <a:pt x="4350180" y="2795688"/>
                    <a:pt x="4079963" y="2961976"/>
                    <a:pt x="3606800" y="3217334"/>
                  </a:cubicBezTo>
                  <a:cubicBezTo>
                    <a:pt x="3351096" y="3355333"/>
                    <a:pt x="3078492" y="3459615"/>
                    <a:pt x="2810934" y="3572934"/>
                  </a:cubicBezTo>
                  <a:cubicBezTo>
                    <a:pt x="2598598" y="3662864"/>
                    <a:pt x="2381194" y="3740361"/>
                    <a:pt x="2167467" y="3826934"/>
                  </a:cubicBezTo>
                  <a:cubicBezTo>
                    <a:pt x="2158036" y="3830754"/>
                    <a:pt x="2131891" y="3843867"/>
                    <a:pt x="2142067" y="3843867"/>
                  </a:cubicBezTo>
                  <a:cubicBezTo>
                    <a:pt x="2157265" y="3843867"/>
                    <a:pt x="2171432" y="3834859"/>
                    <a:pt x="2184400" y="3826934"/>
                  </a:cubicBezTo>
                  <a:cubicBezTo>
                    <a:pt x="2222476" y="3803665"/>
                    <a:pt x="2256259" y="3773785"/>
                    <a:pt x="2294467" y="3750734"/>
                  </a:cubicBezTo>
                  <a:cubicBezTo>
                    <a:pt x="2597832" y="3567712"/>
                    <a:pt x="2883450" y="3348977"/>
                    <a:pt x="3208867" y="3208867"/>
                  </a:cubicBezTo>
                  <a:cubicBezTo>
                    <a:pt x="3925030" y="2900519"/>
                    <a:pt x="3608586" y="3016360"/>
                    <a:pt x="4148667" y="2836334"/>
                  </a:cubicBezTo>
                  <a:cubicBezTo>
                    <a:pt x="4116018" y="2917958"/>
                    <a:pt x="4139176" y="2883803"/>
                    <a:pt x="4013200" y="2954867"/>
                  </a:cubicBezTo>
                  <a:cubicBezTo>
                    <a:pt x="3833894" y="3056014"/>
                    <a:pt x="3662311" y="3174329"/>
                    <a:pt x="3471334" y="3251200"/>
                  </a:cubicBezTo>
                  <a:cubicBezTo>
                    <a:pt x="3269140" y="3332586"/>
                    <a:pt x="2609155" y="3540530"/>
                    <a:pt x="2286000" y="3564467"/>
                  </a:cubicBezTo>
                  <a:cubicBezTo>
                    <a:pt x="2032631" y="3583235"/>
                    <a:pt x="1778000" y="3575756"/>
                    <a:pt x="1524000" y="3581400"/>
                  </a:cubicBezTo>
                  <a:cubicBezTo>
                    <a:pt x="1498810" y="3574979"/>
                    <a:pt x="1100727" y="3536733"/>
                    <a:pt x="1007534" y="3403600"/>
                  </a:cubicBezTo>
                  <a:cubicBezTo>
                    <a:pt x="967726" y="3346731"/>
                    <a:pt x="945445" y="3279423"/>
                    <a:pt x="914400" y="3217334"/>
                  </a:cubicBezTo>
                  <a:cubicBezTo>
                    <a:pt x="928511" y="3062112"/>
                    <a:pt x="910897" y="2900637"/>
                    <a:pt x="956734" y="2751667"/>
                  </a:cubicBezTo>
                  <a:cubicBezTo>
                    <a:pt x="1014266" y="2564687"/>
                    <a:pt x="1114340" y="2391888"/>
                    <a:pt x="1219200" y="2226734"/>
                  </a:cubicBezTo>
                  <a:cubicBezTo>
                    <a:pt x="1301337" y="2097369"/>
                    <a:pt x="1676037" y="1604936"/>
                    <a:pt x="1862667" y="1439334"/>
                  </a:cubicBezTo>
                  <a:cubicBezTo>
                    <a:pt x="1980050" y="1335177"/>
                    <a:pt x="2096457" y="1224802"/>
                    <a:pt x="2235200" y="1151467"/>
                  </a:cubicBezTo>
                  <a:cubicBezTo>
                    <a:pt x="2300504" y="1116949"/>
                    <a:pt x="2381956" y="1134534"/>
                    <a:pt x="2455334" y="1126067"/>
                  </a:cubicBezTo>
                  <a:cubicBezTo>
                    <a:pt x="2469445" y="1140178"/>
                    <a:pt x="2485616" y="1152493"/>
                    <a:pt x="2497667" y="1168400"/>
                  </a:cubicBezTo>
                  <a:cubicBezTo>
                    <a:pt x="2800286" y="1567858"/>
                    <a:pt x="2741052" y="1555304"/>
                    <a:pt x="3056467" y="2201334"/>
                  </a:cubicBezTo>
                  <a:cubicBezTo>
                    <a:pt x="3818529" y="3762182"/>
                    <a:pt x="2933893" y="1896436"/>
                    <a:pt x="3623734" y="3547534"/>
                  </a:cubicBezTo>
                  <a:cubicBezTo>
                    <a:pt x="3700127" y="3730376"/>
                    <a:pt x="3795215" y="3904898"/>
                    <a:pt x="3886200" y="4080934"/>
                  </a:cubicBezTo>
                  <a:cubicBezTo>
                    <a:pt x="3990428" y="4282593"/>
                    <a:pt x="4057477" y="4373482"/>
                    <a:pt x="4207934" y="4555067"/>
                  </a:cubicBezTo>
                  <a:cubicBezTo>
                    <a:pt x="4221997" y="4572040"/>
                    <a:pt x="4241801" y="4583289"/>
                    <a:pt x="4258734" y="4597400"/>
                  </a:cubicBezTo>
                  <a:cubicBezTo>
                    <a:pt x="4130594" y="4353935"/>
                    <a:pt x="3982856" y="4118075"/>
                    <a:pt x="3903134" y="3852334"/>
                  </a:cubicBezTo>
                  <a:cubicBezTo>
                    <a:pt x="3853765" y="3687771"/>
                    <a:pt x="3818467" y="3519311"/>
                    <a:pt x="3776134" y="3352800"/>
                  </a:cubicBezTo>
                  <a:cubicBezTo>
                    <a:pt x="3770489" y="3285067"/>
                    <a:pt x="3714166" y="3098692"/>
                    <a:pt x="3759200" y="3149600"/>
                  </a:cubicBezTo>
                  <a:cubicBezTo>
                    <a:pt x="3863732" y="3267767"/>
                    <a:pt x="3902244" y="3430873"/>
                    <a:pt x="3970867" y="3572934"/>
                  </a:cubicBezTo>
                  <a:cubicBezTo>
                    <a:pt x="4063122" y="3763918"/>
                    <a:pt x="4152426" y="3956318"/>
                    <a:pt x="4241800" y="4148667"/>
                  </a:cubicBezTo>
                  <a:cubicBezTo>
                    <a:pt x="4282251" y="4235725"/>
                    <a:pt x="4332234" y="4319341"/>
                    <a:pt x="4360334" y="4411134"/>
                  </a:cubicBezTo>
                  <a:lnTo>
                    <a:pt x="4487334" y="4826000"/>
                  </a:lnTo>
                  <a:cubicBezTo>
                    <a:pt x="4490156" y="4871156"/>
                    <a:pt x="4535636" y="4940017"/>
                    <a:pt x="4495800" y="4961467"/>
                  </a:cubicBezTo>
                  <a:cubicBezTo>
                    <a:pt x="4454443" y="4983736"/>
                    <a:pt x="4409228" y="4919687"/>
                    <a:pt x="4377267" y="4885267"/>
                  </a:cubicBezTo>
                  <a:cubicBezTo>
                    <a:pt x="4297762" y="4799646"/>
                    <a:pt x="4225252" y="4706334"/>
                    <a:pt x="4165600" y="4605867"/>
                  </a:cubicBezTo>
                  <a:cubicBezTo>
                    <a:pt x="4117165" y="4524292"/>
                    <a:pt x="4101834" y="4426205"/>
                    <a:pt x="4055534" y="4343400"/>
                  </a:cubicBezTo>
                  <a:cubicBezTo>
                    <a:pt x="3954650" y="4162972"/>
                    <a:pt x="3826872" y="3998528"/>
                    <a:pt x="3725334" y="3818467"/>
                  </a:cubicBezTo>
                  <a:cubicBezTo>
                    <a:pt x="3614981" y="3622774"/>
                    <a:pt x="3420534" y="3217334"/>
                    <a:pt x="3420534" y="3217334"/>
                  </a:cubicBezTo>
                  <a:cubicBezTo>
                    <a:pt x="3429001" y="3214512"/>
                    <a:pt x="3437131" y="3207400"/>
                    <a:pt x="3445934" y="3208867"/>
                  </a:cubicBezTo>
                  <a:cubicBezTo>
                    <a:pt x="3455971" y="3210540"/>
                    <a:pt x="3462439" y="3220858"/>
                    <a:pt x="3471334" y="3225800"/>
                  </a:cubicBezTo>
                  <a:cubicBezTo>
                    <a:pt x="3513274" y="3249100"/>
                    <a:pt x="3557193" y="3268850"/>
                    <a:pt x="3598334" y="3293534"/>
                  </a:cubicBezTo>
                  <a:cubicBezTo>
                    <a:pt x="3627874" y="3311258"/>
                    <a:pt x="3653460" y="3335076"/>
                    <a:pt x="3683000" y="3352800"/>
                  </a:cubicBezTo>
                  <a:cubicBezTo>
                    <a:pt x="3710850" y="3369510"/>
                    <a:pt x="3736796" y="3372026"/>
                    <a:pt x="3767667" y="3378200"/>
                  </a:cubicBezTo>
                  <a:lnTo>
                    <a:pt x="3810000" y="3369734"/>
                  </a:lnTo>
                </a:path>
              </a:pathLst>
            </a:custGeom>
            <a:solidFill>
              <a:schemeClr val="tx1">
                <a:lumMod val="95000"/>
                <a:lumOff val="5000"/>
              </a:schemeClr>
            </a:solidFill>
            <a:ln>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63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5" name="Cloud Callout 64"/>
            <p:cNvSpPr/>
            <p:nvPr/>
          </p:nvSpPr>
          <p:spPr>
            <a:xfrm flipH="1">
              <a:off x="1898446" y="2729275"/>
              <a:ext cx="360095" cy="207935"/>
            </a:xfrm>
            <a:prstGeom prst="cloudCallout">
              <a:avLst>
                <a:gd name="adj1" fmla="val -25235"/>
                <a:gd name="adj2" fmla="val 76855"/>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63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6" name="Cloud Callout 65"/>
            <p:cNvSpPr/>
            <p:nvPr/>
          </p:nvSpPr>
          <p:spPr>
            <a:xfrm flipH="1">
              <a:off x="1459751" y="2723966"/>
              <a:ext cx="311733" cy="200664"/>
            </a:xfrm>
            <a:prstGeom prst="cloudCallout">
              <a:avLst>
                <a:gd name="adj1" fmla="val -25235"/>
                <a:gd name="adj2" fmla="val 76855"/>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63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67" name="Group 2">
            <a:extLst>
              <a:ext uri="{FF2B5EF4-FFF2-40B4-BE49-F238E27FC236}">
                <a16:creationId xmlns:a16="http://schemas.microsoft.com/office/drawing/2014/main" id="{5EA9197A-777E-481A-B277-E1005454E825}"/>
              </a:ext>
            </a:extLst>
          </p:cNvPr>
          <p:cNvGrpSpPr/>
          <p:nvPr/>
        </p:nvGrpSpPr>
        <p:grpSpPr>
          <a:xfrm rot="5400000">
            <a:off x="5706602" y="-5430014"/>
            <a:ext cx="746777" cy="12192000"/>
            <a:chOff x="0" y="0"/>
            <a:chExt cx="463973" cy="6186311"/>
          </a:xfrm>
        </p:grpSpPr>
        <p:sp>
          <p:nvSpPr>
            <p:cNvPr id="69" name="Freeform 3">
              <a:extLst>
                <a:ext uri="{FF2B5EF4-FFF2-40B4-BE49-F238E27FC236}">
                  <a16:creationId xmlns:a16="http://schemas.microsoft.com/office/drawing/2014/main" id="{D10B9415-D08D-4F7D-8D20-56609880F9BD}"/>
                </a:ext>
              </a:extLst>
            </p:cNvPr>
            <p:cNvSpPr/>
            <p:nvPr/>
          </p:nvSpPr>
          <p:spPr>
            <a:xfrm>
              <a:off x="0" y="0"/>
              <a:ext cx="463973" cy="6186311"/>
            </a:xfrm>
            <a:custGeom>
              <a:avLst/>
              <a:gdLst/>
              <a:ahLst/>
              <a:cxnLst/>
              <a:rect l="l" t="t" r="r" b="b"/>
              <a:pathLst>
                <a:path w="463973" h="6186311">
                  <a:moveTo>
                    <a:pt x="0" y="0"/>
                  </a:moveTo>
                  <a:lnTo>
                    <a:pt x="463973" y="0"/>
                  </a:lnTo>
                  <a:lnTo>
                    <a:pt x="463973" y="6186311"/>
                  </a:lnTo>
                  <a:lnTo>
                    <a:pt x="0" y="6186311"/>
                  </a:lnTo>
                  <a:close/>
                </a:path>
              </a:pathLst>
            </a:custGeom>
            <a:solidFill>
              <a:srgbClr val="4D7568"/>
            </a:solidFill>
          </p:spPr>
        </p:sp>
      </p:grpSp>
      <p:sp>
        <p:nvSpPr>
          <p:cNvPr id="70" name="TextBox 34">
            <a:extLst>
              <a:ext uri="{FF2B5EF4-FFF2-40B4-BE49-F238E27FC236}">
                <a16:creationId xmlns:a16="http://schemas.microsoft.com/office/drawing/2014/main" id="{F5C7C4C6-CE88-4783-A9EE-03F9ECEAA189}"/>
              </a:ext>
            </a:extLst>
          </p:cNvPr>
          <p:cNvSpPr txBox="1"/>
          <p:nvPr/>
        </p:nvSpPr>
        <p:spPr>
          <a:xfrm>
            <a:off x="16009" y="329157"/>
            <a:ext cx="12159982" cy="517449"/>
          </a:xfrm>
          <a:prstGeom prst="rect">
            <a:avLst/>
          </a:prstGeom>
        </p:spPr>
        <p:txBody>
          <a:bodyPr wrap="square" lIns="0" tIns="0" rIns="0" bIns="0" rtlCol="0" anchor="t">
            <a:spAutoFit/>
          </a:bodyPr>
          <a:lstStyle/>
          <a:p>
            <a:pPr marL="0" marR="0" lvl="0" indent="0" algn="ctr" defTabSz="609630" rtl="0" eaLnBrk="1" fontAlgn="auto" latinLnBrk="0" hangingPunct="1">
              <a:lnSpc>
                <a:spcPts val="4534"/>
              </a:lnSpc>
              <a:spcBef>
                <a:spcPts val="0"/>
              </a:spcBef>
              <a:spcAft>
                <a:spcPts val="0"/>
              </a:spcAft>
              <a:buClrTx/>
              <a:buSzTx/>
              <a:buFontTx/>
              <a:buNone/>
              <a:tabLst/>
              <a:defRPr/>
            </a:pPr>
            <a:r>
              <a:rPr kumimoji="0" lang="fr-FR" sz="2600" b="0" i="0" u="none" strike="noStrike" cap="none" normalizeH="0" baseline="0" noProof="0" dirty="0">
                <a:ln>
                  <a:noFill/>
                </a:ln>
                <a:solidFill>
                  <a:srgbClr val="FFFFFF"/>
                </a:solidFill>
                <a:effectLst/>
                <a:uLnTx/>
                <a:uFillTx/>
                <a:latin typeface="IBM Plex Sans Bold"/>
                <a:ea typeface="+mn-ea"/>
                <a:cs typeface="+mn-cs"/>
              </a:rPr>
              <a:t>Souffrance : la violence sexuelle, son impact et ses conséquences néfastes</a:t>
            </a:r>
          </a:p>
        </p:txBody>
      </p:sp>
    </p:spTree>
    <p:extLst>
      <p:ext uri="{BB962C8B-B14F-4D97-AF65-F5344CB8AC3E}">
        <p14:creationId xmlns:p14="http://schemas.microsoft.com/office/powerpoint/2010/main" val="371872223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4D7568"/>
        </a:solidFill>
        <a:effectLst/>
      </p:bgPr>
    </p:bg>
    <p:spTree>
      <p:nvGrpSpPr>
        <p:cNvPr id="1" name=""/>
        <p:cNvGrpSpPr/>
        <p:nvPr/>
      </p:nvGrpSpPr>
      <p:grpSpPr>
        <a:xfrm>
          <a:off x="0" y="0"/>
          <a:ext cx="0" cy="0"/>
          <a:chOff x="0" y="0"/>
          <a:chExt cx="0" cy="0"/>
        </a:xfrm>
      </p:grpSpPr>
      <p:pic>
        <p:nvPicPr>
          <p:cNvPr id="53" name="Picture 52">
            <a:extLst>
              <a:ext uri="{FF2B5EF4-FFF2-40B4-BE49-F238E27FC236}">
                <a16:creationId xmlns:a16="http://schemas.microsoft.com/office/drawing/2014/main" id="{3AF4F8BE-2390-4CF3-9DC5-1875F46D6104}"/>
              </a:ext>
            </a:extLst>
          </p:cNvPr>
          <p:cNvPicPr>
            <a:picLocks noChangeAspect="1"/>
          </p:cNvPicPr>
          <p:nvPr/>
        </p:nvPicPr>
        <p:blipFill>
          <a:blip r:embed="rId3"/>
          <a:stretch>
            <a:fillRect/>
          </a:stretch>
        </p:blipFill>
        <p:spPr>
          <a:xfrm rot="10800000">
            <a:off x="4022750" y="3508445"/>
            <a:ext cx="2805808" cy="1477454"/>
          </a:xfrm>
          <a:prstGeom prst="rect">
            <a:avLst/>
          </a:prstGeom>
        </p:spPr>
      </p:pic>
      <p:pic>
        <p:nvPicPr>
          <p:cNvPr id="51" name="Picture 50">
            <a:extLst>
              <a:ext uri="{FF2B5EF4-FFF2-40B4-BE49-F238E27FC236}">
                <a16:creationId xmlns:a16="http://schemas.microsoft.com/office/drawing/2014/main" id="{53A96075-3F76-43EE-A050-4ABDA2B2E62C}"/>
              </a:ext>
            </a:extLst>
          </p:cNvPr>
          <p:cNvPicPr>
            <a:picLocks noChangeAspect="1"/>
          </p:cNvPicPr>
          <p:nvPr/>
        </p:nvPicPr>
        <p:blipFill>
          <a:blip r:embed="rId3"/>
          <a:stretch>
            <a:fillRect/>
          </a:stretch>
        </p:blipFill>
        <p:spPr>
          <a:xfrm>
            <a:off x="3993017" y="2146676"/>
            <a:ext cx="2805808" cy="1477454"/>
          </a:xfrm>
          <a:prstGeom prst="rect">
            <a:avLst/>
          </a:prstGeom>
        </p:spPr>
      </p:pic>
      <p:grpSp>
        <p:nvGrpSpPr>
          <p:cNvPr id="2" name="Group 2"/>
          <p:cNvGrpSpPr>
            <a:grpSpLocks noChangeAspect="1"/>
          </p:cNvGrpSpPr>
          <p:nvPr/>
        </p:nvGrpSpPr>
        <p:grpSpPr>
          <a:xfrm>
            <a:off x="3114410" y="1354830"/>
            <a:ext cx="4603518" cy="4603518"/>
            <a:chOff x="-2540" y="-2540"/>
            <a:chExt cx="6355080" cy="6355080"/>
          </a:xfrm>
        </p:grpSpPr>
        <p:sp>
          <p:nvSpPr>
            <p:cNvPr id="3" name="Freeform 3"/>
            <p:cNvSpPr/>
            <p:nvPr/>
          </p:nvSpPr>
          <p:spPr>
            <a:xfrm>
              <a:off x="-2540" y="-2540"/>
              <a:ext cx="6355080" cy="6355080"/>
            </a:xfrm>
            <a:custGeom>
              <a:avLst/>
              <a:gdLst/>
              <a:ahLst/>
              <a:cxnLst/>
              <a:rect l="l" t="t" r="r" b="b"/>
              <a:pathLst>
                <a:path w="6355080" h="6355080">
                  <a:moveTo>
                    <a:pt x="3177540" y="6355080"/>
                  </a:moveTo>
                  <a:cubicBezTo>
                    <a:pt x="2329180" y="6355080"/>
                    <a:pt x="1530350" y="6024880"/>
                    <a:pt x="930910" y="5424170"/>
                  </a:cubicBezTo>
                  <a:cubicBezTo>
                    <a:pt x="330200" y="4824730"/>
                    <a:pt x="0" y="4025900"/>
                    <a:pt x="0" y="3177540"/>
                  </a:cubicBezTo>
                  <a:cubicBezTo>
                    <a:pt x="0" y="2329180"/>
                    <a:pt x="330200" y="1530350"/>
                    <a:pt x="930910" y="930910"/>
                  </a:cubicBezTo>
                  <a:cubicBezTo>
                    <a:pt x="1530350" y="330200"/>
                    <a:pt x="2329180" y="0"/>
                    <a:pt x="3177540" y="0"/>
                  </a:cubicBezTo>
                  <a:cubicBezTo>
                    <a:pt x="4025900" y="0"/>
                    <a:pt x="4824730" y="330200"/>
                    <a:pt x="5424170" y="930910"/>
                  </a:cubicBezTo>
                  <a:cubicBezTo>
                    <a:pt x="6024880" y="1531620"/>
                    <a:pt x="6355080" y="2329180"/>
                    <a:pt x="6355080" y="3177540"/>
                  </a:cubicBezTo>
                  <a:cubicBezTo>
                    <a:pt x="6355080" y="4025900"/>
                    <a:pt x="6024880" y="4824730"/>
                    <a:pt x="5424170" y="5424170"/>
                  </a:cubicBezTo>
                  <a:cubicBezTo>
                    <a:pt x="4824730" y="6024880"/>
                    <a:pt x="4025900" y="6355080"/>
                    <a:pt x="3177540" y="6355080"/>
                  </a:cubicBezTo>
                  <a:close/>
                  <a:moveTo>
                    <a:pt x="3177540" y="190500"/>
                  </a:moveTo>
                  <a:cubicBezTo>
                    <a:pt x="2379980" y="190500"/>
                    <a:pt x="1629410" y="501650"/>
                    <a:pt x="1065530" y="1065530"/>
                  </a:cubicBezTo>
                  <a:cubicBezTo>
                    <a:pt x="501650" y="1629410"/>
                    <a:pt x="190500" y="2379980"/>
                    <a:pt x="190500" y="3177540"/>
                  </a:cubicBezTo>
                  <a:cubicBezTo>
                    <a:pt x="190500" y="3975100"/>
                    <a:pt x="501650" y="4725670"/>
                    <a:pt x="1065530" y="5289550"/>
                  </a:cubicBezTo>
                  <a:cubicBezTo>
                    <a:pt x="1629410" y="5853430"/>
                    <a:pt x="2379980" y="6164580"/>
                    <a:pt x="3177540" y="6164580"/>
                  </a:cubicBezTo>
                  <a:cubicBezTo>
                    <a:pt x="3975100" y="6164580"/>
                    <a:pt x="4725670" y="5853430"/>
                    <a:pt x="5289550" y="5289550"/>
                  </a:cubicBezTo>
                  <a:cubicBezTo>
                    <a:pt x="5853430" y="4725670"/>
                    <a:pt x="6164580" y="3975100"/>
                    <a:pt x="6164580" y="3177540"/>
                  </a:cubicBezTo>
                  <a:cubicBezTo>
                    <a:pt x="6164580" y="2379980"/>
                    <a:pt x="5853430" y="1629410"/>
                    <a:pt x="5289550" y="1065530"/>
                  </a:cubicBezTo>
                  <a:cubicBezTo>
                    <a:pt x="4725670" y="501650"/>
                    <a:pt x="3975100" y="190500"/>
                    <a:pt x="3177540" y="190500"/>
                  </a:cubicBezTo>
                  <a:close/>
                </a:path>
              </a:pathLst>
            </a:custGeom>
            <a:solidFill>
              <a:srgbClr val="FFFFFF"/>
            </a:solidFill>
          </p:spPr>
        </p:sp>
      </p:grpSp>
      <p:grpSp>
        <p:nvGrpSpPr>
          <p:cNvPr id="4" name="Group 4"/>
          <p:cNvGrpSpPr/>
          <p:nvPr/>
        </p:nvGrpSpPr>
        <p:grpSpPr>
          <a:xfrm>
            <a:off x="6195022" y="4763453"/>
            <a:ext cx="1194894" cy="1194894"/>
            <a:chOff x="0" y="0"/>
            <a:chExt cx="6350000" cy="6350000"/>
          </a:xfrm>
        </p:grpSpPr>
        <p:sp>
          <p:nvSpPr>
            <p:cNvPr id="5" name="Freeform 5"/>
            <p:cNvSpPr/>
            <p:nvPr/>
          </p:nvSpPr>
          <p:spPr>
            <a:xfrm>
              <a:off x="14167" y="0"/>
              <a:ext cx="6321665" cy="6350000"/>
            </a:xfrm>
            <a:custGeom>
              <a:avLst/>
              <a:gdLst/>
              <a:ahLst/>
              <a:cxnLst/>
              <a:rect l="l" t="t" r="r" b="b"/>
              <a:pathLst>
                <a:path w="6321665" h="6350000">
                  <a:moveTo>
                    <a:pt x="3160833" y="0"/>
                  </a:moveTo>
                  <a:lnTo>
                    <a:pt x="3160833" y="0"/>
                  </a:lnTo>
                  <a:cubicBezTo>
                    <a:pt x="4908795" y="7817"/>
                    <a:pt x="6321666" y="1427021"/>
                    <a:pt x="6321666" y="3175000"/>
                  </a:cubicBezTo>
                  <a:cubicBezTo>
                    <a:pt x="6321666" y="4922979"/>
                    <a:pt x="4908795" y="6342183"/>
                    <a:pt x="3160833" y="6350000"/>
                  </a:cubicBezTo>
                  <a:cubicBezTo>
                    <a:pt x="1412871" y="6342183"/>
                    <a:pt x="0" y="4922979"/>
                    <a:pt x="0" y="3175000"/>
                  </a:cubicBezTo>
                  <a:cubicBezTo>
                    <a:pt x="0" y="1427021"/>
                    <a:pt x="1412871" y="7817"/>
                    <a:pt x="3160833" y="0"/>
                  </a:cubicBezTo>
                  <a:close/>
                </a:path>
              </a:pathLst>
            </a:custGeom>
            <a:solidFill>
              <a:srgbClr val="A6CDB6"/>
            </a:solidFill>
          </p:spPr>
        </p:sp>
      </p:grpSp>
      <p:grpSp>
        <p:nvGrpSpPr>
          <p:cNvPr id="6" name="Group 6"/>
          <p:cNvGrpSpPr/>
          <p:nvPr/>
        </p:nvGrpSpPr>
        <p:grpSpPr>
          <a:xfrm>
            <a:off x="4847589" y="853858"/>
            <a:ext cx="1194894" cy="1194894"/>
            <a:chOff x="0" y="0"/>
            <a:chExt cx="6350000" cy="6350000"/>
          </a:xfrm>
        </p:grpSpPr>
        <p:sp>
          <p:nvSpPr>
            <p:cNvPr id="7" name="Freeform 7"/>
            <p:cNvSpPr/>
            <p:nvPr/>
          </p:nvSpPr>
          <p:spPr>
            <a:xfrm>
              <a:off x="14167" y="0"/>
              <a:ext cx="6321665" cy="6350000"/>
            </a:xfrm>
            <a:custGeom>
              <a:avLst/>
              <a:gdLst/>
              <a:ahLst/>
              <a:cxnLst/>
              <a:rect l="l" t="t" r="r" b="b"/>
              <a:pathLst>
                <a:path w="6321665" h="6350000">
                  <a:moveTo>
                    <a:pt x="3160833" y="0"/>
                  </a:moveTo>
                  <a:lnTo>
                    <a:pt x="3160833" y="0"/>
                  </a:lnTo>
                  <a:cubicBezTo>
                    <a:pt x="4908795" y="7817"/>
                    <a:pt x="6321666" y="1427021"/>
                    <a:pt x="6321666" y="3175000"/>
                  </a:cubicBezTo>
                  <a:cubicBezTo>
                    <a:pt x="6321666" y="4922979"/>
                    <a:pt x="4908795" y="6342183"/>
                    <a:pt x="3160833" y="6350000"/>
                  </a:cubicBezTo>
                  <a:cubicBezTo>
                    <a:pt x="1412871" y="6342183"/>
                    <a:pt x="0" y="4922979"/>
                    <a:pt x="0" y="3175000"/>
                  </a:cubicBezTo>
                  <a:cubicBezTo>
                    <a:pt x="0" y="1427021"/>
                    <a:pt x="1412871" y="7817"/>
                    <a:pt x="3160833" y="0"/>
                  </a:cubicBezTo>
                  <a:close/>
                </a:path>
              </a:pathLst>
            </a:custGeom>
            <a:solidFill>
              <a:srgbClr val="A6CDB6"/>
            </a:solidFill>
          </p:spPr>
        </p:sp>
      </p:grpSp>
      <p:grpSp>
        <p:nvGrpSpPr>
          <p:cNvPr id="8" name="Group 8"/>
          <p:cNvGrpSpPr/>
          <p:nvPr/>
        </p:nvGrpSpPr>
        <p:grpSpPr>
          <a:xfrm>
            <a:off x="6817652" y="2322476"/>
            <a:ext cx="1194894" cy="1194894"/>
            <a:chOff x="0" y="0"/>
            <a:chExt cx="6350000" cy="6350000"/>
          </a:xfrm>
        </p:grpSpPr>
        <p:sp>
          <p:nvSpPr>
            <p:cNvPr id="9" name="Freeform 9"/>
            <p:cNvSpPr/>
            <p:nvPr/>
          </p:nvSpPr>
          <p:spPr>
            <a:xfrm>
              <a:off x="14167" y="0"/>
              <a:ext cx="6321665" cy="6350000"/>
            </a:xfrm>
            <a:custGeom>
              <a:avLst/>
              <a:gdLst/>
              <a:ahLst/>
              <a:cxnLst/>
              <a:rect l="l" t="t" r="r" b="b"/>
              <a:pathLst>
                <a:path w="6321665" h="6350000">
                  <a:moveTo>
                    <a:pt x="3160833" y="0"/>
                  </a:moveTo>
                  <a:lnTo>
                    <a:pt x="3160833" y="0"/>
                  </a:lnTo>
                  <a:cubicBezTo>
                    <a:pt x="4908795" y="7817"/>
                    <a:pt x="6321666" y="1427021"/>
                    <a:pt x="6321666" y="3175000"/>
                  </a:cubicBezTo>
                  <a:cubicBezTo>
                    <a:pt x="6321666" y="4922979"/>
                    <a:pt x="4908795" y="6342183"/>
                    <a:pt x="3160833" y="6350000"/>
                  </a:cubicBezTo>
                  <a:cubicBezTo>
                    <a:pt x="1412871" y="6342183"/>
                    <a:pt x="0" y="4922979"/>
                    <a:pt x="0" y="3175000"/>
                  </a:cubicBezTo>
                  <a:cubicBezTo>
                    <a:pt x="0" y="1427021"/>
                    <a:pt x="1412871" y="7817"/>
                    <a:pt x="3160833" y="0"/>
                  </a:cubicBezTo>
                  <a:close/>
                </a:path>
              </a:pathLst>
            </a:custGeom>
            <a:solidFill>
              <a:srgbClr val="A6CDB6"/>
            </a:solidFill>
          </p:spPr>
        </p:sp>
      </p:grpSp>
      <p:grpSp>
        <p:nvGrpSpPr>
          <p:cNvPr id="10" name="Group 10"/>
          <p:cNvGrpSpPr/>
          <p:nvPr/>
        </p:nvGrpSpPr>
        <p:grpSpPr>
          <a:xfrm>
            <a:off x="4708702" y="2947923"/>
            <a:ext cx="1414934" cy="1414934"/>
            <a:chOff x="0" y="0"/>
            <a:chExt cx="6350000" cy="6350000"/>
          </a:xfrm>
        </p:grpSpPr>
        <p:sp>
          <p:nvSpPr>
            <p:cNvPr id="11" name="Freeform 11"/>
            <p:cNvSpPr/>
            <p:nvPr/>
          </p:nvSpPr>
          <p:spPr>
            <a:xfrm>
              <a:off x="14167" y="0"/>
              <a:ext cx="6321665" cy="6350000"/>
            </a:xfrm>
            <a:custGeom>
              <a:avLst/>
              <a:gdLst/>
              <a:ahLst/>
              <a:cxnLst/>
              <a:rect l="l" t="t" r="r" b="b"/>
              <a:pathLst>
                <a:path w="6321665" h="6350000">
                  <a:moveTo>
                    <a:pt x="3160833" y="0"/>
                  </a:moveTo>
                  <a:lnTo>
                    <a:pt x="3160833" y="0"/>
                  </a:lnTo>
                  <a:cubicBezTo>
                    <a:pt x="4908795" y="7817"/>
                    <a:pt x="6321666" y="1427021"/>
                    <a:pt x="6321666" y="3175000"/>
                  </a:cubicBezTo>
                  <a:cubicBezTo>
                    <a:pt x="6321666" y="4922979"/>
                    <a:pt x="4908795" y="6342183"/>
                    <a:pt x="3160833" y="6350000"/>
                  </a:cubicBezTo>
                  <a:cubicBezTo>
                    <a:pt x="1412871" y="6342183"/>
                    <a:pt x="0" y="4922979"/>
                    <a:pt x="0" y="3175000"/>
                  </a:cubicBezTo>
                  <a:cubicBezTo>
                    <a:pt x="0" y="1427021"/>
                    <a:pt x="1412871" y="7817"/>
                    <a:pt x="3160833" y="0"/>
                  </a:cubicBezTo>
                  <a:close/>
                </a:path>
              </a:pathLst>
            </a:custGeom>
            <a:solidFill>
              <a:srgbClr val="A6CDB6"/>
            </a:solidFill>
          </p:spPr>
        </p:sp>
      </p:grpSp>
      <p:grpSp>
        <p:nvGrpSpPr>
          <p:cNvPr id="12" name="Group 12"/>
          <p:cNvGrpSpPr/>
          <p:nvPr/>
        </p:nvGrpSpPr>
        <p:grpSpPr>
          <a:xfrm>
            <a:off x="2744354" y="2350476"/>
            <a:ext cx="1194894" cy="1194894"/>
            <a:chOff x="0" y="0"/>
            <a:chExt cx="6350000" cy="6350000"/>
          </a:xfrm>
        </p:grpSpPr>
        <p:sp>
          <p:nvSpPr>
            <p:cNvPr id="13" name="Freeform 13"/>
            <p:cNvSpPr/>
            <p:nvPr/>
          </p:nvSpPr>
          <p:spPr>
            <a:xfrm>
              <a:off x="14167" y="0"/>
              <a:ext cx="6321665" cy="6350000"/>
            </a:xfrm>
            <a:custGeom>
              <a:avLst/>
              <a:gdLst/>
              <a:ahLst/>
              <a:cxnLst/>
              <a:rect l="l" t="t" r="r" b="b"/>
              <a:pathLst>
                <a:path w="6321665" h="6350000">
                  <a:moveTo>
                    <a:pt x="3160833" y="0"/>
                  </a:moveTo>
                  <a:lnTo>
                    <a:pt x="3160833" y="0"/>
                  </a:lnTo>
                  <a:cubicBezTo>
                    <a:pt x="4908795" y="7817"/>
                    <a:pt x="6321666" y="1427021"/>
                    <a:pt x="6321666" y="3175000"/>
                  </a:cubicBezTo>
                  <a:cubicBezTo>
                    <a:pt x="6321666" y="4922979"/>
                    <a:pt x="4908795" y="6342183"/>
                    <a:pt x="3160833" y="6350000"/>
                  </a:cubicBezTo>
                  <a:cubicBezTo>
                    <a:pt x="1412871" y="6342183"/>
                    <a:pt x="0" y="4922979"/>
                    <a:pt x="0" y="3175000"/>
                  </a:cubicBezTo>
                  <a:cubicBezTo>
                    <a:pt x="0" y="1427021"/>
                    <a:pt x="1412871" y="7817"/>
                    <a:pt x="3160833" y="0"/>
                  </a:cubicBezTo>
                  <a:close/>
                </a:path>
              </a:pathLst>
            </a:custGeom>
            <a:solidFill>
              <a:srgbClr val="A6CDB6"/>
            </a:solidFill>
          </p:spPr>
        </p:sp>
      </p:grpSp>
      <p:grpSp>
        <p:nvGrpSpPr>
          <p:cNvPr id="14" name="Group 14"/>
          <p:cNvGrpSpPr/>
          <p:nvPr/>
        </p:nvGrpSpPr>
        <p:grpSpPr>
          <a:xfrm>
            <a:off x="3224736" y="4740264"/>
            <a:ext cx="1194894" cy="1194894"/>
            <a:chOff x="0" y="0"/>
            <a:chExt cx="6350000" cy="6350000"/>
          </a:xfrm>
        </p:grpSpPr>
        <p:sp>
          <p:nvSpPr>
            <p:cNvPr id="15" name="Freeform 15"/>
            <p:cNvSpPr/>
            <p:nvPr/>
          </p:nvSpPr>
          <p:spPr>
            <a:xfrm>
              <a:off x="14167" y="0"/>
              <a:ext cx="6321665" cy="6350000"/>
            </a:xfrm>
            <a:custGeom>
              <a:avLst/>
              <a:gdLst/>
              <a:ahLst/>
              <a:cxnLst/>
              <a:rect l="l" t="t" r="r" b="b"/>
              <a:pathLst>
                <a:path w="6321665" h="6350000">
                  <a:moveTo>
                    <a:pt x="3160833" y="0"/>
                  </a:moveTo>
                  <a:lnTo>
                    <a:pt x="3160833" y="0"/>
                  </a:lnTo>
                  <a:cubicBezTo>
                    <a:pt x="4908795" y="7817"/>
                    <a:pt x="6321666" y="1427021"/>
                    <a:pt x="6321666" y="3175000"/>
                  </a:cubicBezTo>
                  <a:cubicBezTo>
                    <a:pt x="6321666" y="4922979"/>
                    <a:pt x="4908795" y="6342183"/>
                    <a:pt x="3160833" y="6350000"/>
                  </a:cubicBezTo>
                  <a:cubicBezTo>
                    <a:pt x="1412871" y="6342183"/>
                    <a:pt x="0" y="4922979"/>
                    <a:pt x="0" y="3175000"/>
                  </a:cubicBezTo>
                  <a:cubicBezTo>
                    <a:pt x="0" y="1427021"/>
                    <a:pt x="1412871" y="7817"/>
                    <a:pt x="3160833" y="0"/>
                  </a:cubicBezTo>
                  <a:close/>
                </a:path>
              </a:pathLst>
            </a:custGeom>
            <a:solidFill>
              <a:srgbClr val="A6CDB6"/>
            </a:solidFill>
          </p:spPr>
        </p:sp>
      </p:grpSp>
      <p:sp>
        <p:nvSpPr>
          <p:cNvPr id="17" name="TextBox 17"/>
          <p:cNvSpPr txBox="1"/>
          <p:nvPr/>
        </p:nvSpPr>
        <p:spPr>
          <a:xfrm>
            <a:off x="4756736" y="3084590"/>
            <a:ext cx="1414934" cy="687752"/>
          </a:xfrm>
          <a:prstGeom prst="rect">
            <a:avLst/>
          </a:prstGeom>
        </p:spPr>
        <p:txBody>
          <a:bodyPr lIns="0" tIns="0" rIns="0" bIns="0" rtlCol="0" anchor="t">
            <a:spAutoFit/>
          </a:bodyPr>
          <a:lstStyle/>
          <a:p>
            <a:pPr marL="0" marR="0" lvl="0" indent="0" algn="ctr" defTabSz="609630" rtl="0" eaLnBrk="1" fontAlgn="auto" latinLnBrk="0" hangingPunct="1">
              <a:lnSpc>
                <a:spcPts val="2847"/>
              </a:lnSpc>
              <a:spcBef>
                <a:spcPts val="0"/>
              </a:spcBef>
              <a:spcAft>
                <a:spcPts val="0"/>
              </a:spcAft>
              <a:buClrTx/>
              <a:buSzTx/>
              <a:buFontTx/>
              <a:buNone/>
              <a:tabLst/>
              <a:defRPr/>
            </a:pPr>
            <a:r>
              <a:rPr kumimoji="0" lang="fr-FR" sz="2034" b="0" i="0" u="none" strike="noStrike" cap="none" normalizeH="0" baseline="0" noProof="0" dirty="0">
                <a:ln>
                  <a:noFill/>
                </a:ln>
                <a:solidFill>
                  <a:srgbClr val="394D47"/>
                </a:solidFill>
                <a:effectLst/>
                <a:uLnTx/>
                <a:uFillTx/>
                <a:latin typeface="HK Grotesk Medium"/>
                <a:ea typeface="+mn-ea"/>
                <a:cs typeface="+mn-cs"/>
              </a:rPr>
              <a:t>Victime /</a:t>
            </a:r>
          </a:p>
          <a:p>
            <a:pPr marL="0" marR="0" lvl="0" indent="0" algn="ctr" defTabSz="609630" rtl="0" eaLnBrk="1" fontAlgn="auto" latinLnBrk="0" hangingPunct="1">
              <a:lnSpc>
                <a:spcPts val="2847"/>
              </a:lnSpc>
              <a:spcBef>
                <a:spcPts val="0"/>
              </a:spcBef>
              <a:spcAft>
                <a:spcPts val="0"/>
              </a:spcAft>
              <a:buClrTx/>
              <a:buSzTx/>
              <a:buFontTx/>
              <a:buNone/>
              <a:tabLst/>
              <a:defRPr/>
            </a:pPr>
            <a:r>
              <a:rPr kumimoji="0" lang="fr-FR" sz="2034" b="0" i="0" u="none" strike="noStrike" cap="none" normalizeH="0" baseline="0" noProof="0" dirty="0">
                <a:ln>
                  <a:noFill/>
                </a:ln>
                <a:solidFill>
                  <a:srgbClr val="394D47"/>
                </a:solidFill>
                <a:effectLst/>
                <a:uLnTx/>
                <a:uFillTx/>
                <a:latin typeface="HK Grotesk Medium"/>
                <a:ea typeface="+mn-ea"/>
                <a:cs typeface="+mn-cs"/>
              </a:rPr>
              <a:t>Personne survivante</a:t>
            </a:r>
          </a:p>
        </p:txBody>
      </p:sp>
      <p:sp>
        <p:nvSpPr>
          <p:cNvPr id="19" name="TextBox 19"/>
          <p:cNvSpPr txBox="1"/>
          <p:nvPr/>
        </p:nvSpPr>
        <p:spPr>
          <a:xfrm>
            <a:off x="555584" y="162045"/>
            <a:ext cx="3624149" cy="1855316"/>
          </a:xfrm>
          <a:prstGeom prst="rect">
            <a:avLst/>
          </a:prstGeom>
        </p:spPr>
        <p:txBody>
          <a:bodyPr wrap="square" lIns="0" tIns="0" rIns="0" bIns="0" rtlCol="0" anchor="t">
            <a:spAutoFit/>
          </a:bodyPr>
          <a:lstStyle/>
          <a:p>
            <a:pPr marL="179925" marR="0" lvl="1" indent="0" algn="l" defTabSz="609630" rtl="0" eaLnBrk="1" fontAlgn="auto" latinLnBrk="0" hangingPunct="1">
              <a:lnSpc>
                <a:spcPts val="2333"/>
              </a:lnSpc>
              <a:spcBef>
                <a:spcPts val="0"/>
              </a:spcBef>
              <a:spcAft>
                <a:spcPts val="0"/>
              </a:spcAft>
              <a:buClrTx/>
              <a:buSzTx/>
              <a:buFontTx/>
              <a:buNone/>
              <a:tabLst/>
              <a:defRPr/>
            </a:pPr>
            <a:r>
              <a:rPr kumimoji="0" lang="fr-FR" sz="1667" b="1" i="0" u="none" strike="noStrike" cap="none" normalizeH="0" baseline="0" noProof="0" dirty="0">
                <a:ln>
                  <a:noFill/>
                </a:ln>
                <a:solidFill>
                  <a:srgbClr val="FFFFFF"/>
                </a:solidFill>
                <a:effectLst/>
                <a:uLnTx/>
                <a:uFillTx/>
                <a:latin typeface="HK Grotesk Medium"/>
                <a:ea typeface="+mn-ea"/>
                <a:cs typeface="+mn-cs"/>
              </a:rPr>
              <a:t>Coordination</a:t>
            </a:r>
            <a:r>
              <a:rPr kumimoji="0" lang="fr-FR" sz="1667" i="0" u="none" strike="noStrike" cap="none" normalizeH="0" baseline="0" noProof="0" dirty="0">
                <a:ln>
                  <a:noFill/>
                </a:ln>
                <a:solidFill>
                  <a:srgbClr val="FFFFFF"/>
                </a:solidFill>
                <a:effectLst/>
                <a:uLnTx/>
                <a:uFillTx/>
                <a:latin typeface="HK Grotesk Medium"/>
                <a:ea typeface="+mn-ea"/>
                <a:cs typeface="+mn-cs"/>
              </a:rPr>
              <a:t> (interne et externe)</a:t>
            </a:r>
          </a:p>
          <a:p>
            <a:pPr marL="359851" marR="0" lvl="1" indent="-179926" algn="l" defTabSz="609630" rtl="0" eaLnBrk="1" fontAlgn="auto" latinLnBrk="0" hangingPunct="1">
              <a:lnSpc>
                <a:spcPct val="100000"/>
              </a:lnSpc>
              <a:spcBef>
                <a:spcPts val="0"/>
              </a:spcBef>
              <a:spcAft>
                <a:spcPts val="0"/>
              </a:spcAft>
              <a:buClrTx/>
              <a:buSzTx/>
              <a:buFont typeface="Arial"/>
              <a:buChar char="•"/>
              <a:tabLst/>
              <a:defRPr/>
            </a:pPr>
            <a:r>
              <a:rPr kumimoji="0" lang="fr-FR" sz="1667" b="0" i="0" u="none" strike="noStrike" cap="none" normalizeH="0" baseline="0" noProof="0" dirty="0">
                <a:ln>
                  <a:noFill/>
                </a:ln>
                <a:solidFill>
                  <a:srgbClr val="FFFFFF"/>
                </a:solidFill>
                <a:effectLst/>
                <a:uLnTx/>
                <a:uFillTx/>
                <a:latin typeface="HK Grotesk Medium"/>
                <a:ea typeface="+mn-ea"/>
                <a:cs typeface="+mn-cs"/>
              </a:rPr>
              <a:t>Réorientation</a:t>
            </a:r>
          </a:p>
          <a:p>
            <a:pPr marL="359851" marR="0" lvl="1" indent="-179926" algn="l" defTabSz="609630" rtl="0" eaLnBrk="1" fontAlgn="auto" latinLnBrk="0" hangingPunct="1">
              <a:lnSpc>
                <a:spcPct val="100000"/>
              </a:lnSpc>
              <a:spcBef>
                <a:spcPts val="0"/>
              </a:spcBef>
              <a:spcAft>
                <a:spcPts val="0"/>
              </a:spcAft>
              <a:buClrTx/>
              <a:buSzTx/>
              <a:buFont typeface="Arial"/>
              <a:buChar char="•"/>
              <a:tabLst/>
              <a:defRPr/>
            </a:pPr>
            <a:r>
              <a:rPr kumimoji="0" lang="fr-FR" sz="1667" b="0" i="0" u="none" strike="noStrike" cap="none" normalizeH="0" baseline="0" noProof="0" dirty="0">
                <a:ln>
                  <a:noFill/>
                </a:ln>
                <a:solidFill>
                  <a:srgbClr val="FFFFFF"/>
                </a:solidFill>
                <a:effectLst/>
                <a:uLnTx/>
                <a:uFillTx/>
                <a:latin typeface="HK Grotesk Medium"/>
                <a:ea typeface="+mn-ea"/>
                <a:cs typeface="+mn-cs"/>
              </a:rPr>
              <a:t>Enregistrement et suivi</a:t>
            </a:r>
          </a:p>
          <a:p>
            <a:pPr marL="359851" marR="0" lvl="1" indent="-179926" algn="l" defTabSz="609630" rtl="0" eaLnBrk="1" fontAlgn="auto" latinLnBrk="0" hangingPunct="1">
              <a:lnSpc>
                <a:spcPct val="100000"/>
              </a:lnSpc>
              <a:spcBef>
                <a:spcPts val="0"/>
              </a:spcBef>
              <a:spcAft>
                <a:spcPts val="0"/>
              </a:spcAft>
              <a:buClrTx/>
              <a:buSzTx/>
              <a:buFont typeface="Arial"/>
              <a:buChar char="•"/>
              <a:tabLst/>
              <a:defRPr/>
            </a:pPr>
            <a:r>
              <a:rPr kumimoji="0" lang="fr-FR" sz="1667" b="0" i="0" u="none" strike="noStrike" cap="none" normalizeH="0" baseline="0" noProof="0" dirty="0">
                <a:ln>
                  <a:noFill/>
                </a:ln>
                <a:solidFill>
                  <a:srgbClr val="FFFFFF"/>
                </a:solidFill>
                <a:effectLst/>
                <a:uLnTx/>
                <a:uFillTx/>
                <a:latin typeface="HK Grotesk Medium"/>
                <a:ea typeface="+mn-ea"/>
                <a:cs typeface="+mn-cs"/>
              </a:rPr>
              <a:t>Gestion des cas (renvoi vers d’autres agences spécialisées dans la gestion des cas)</a:t>
            </a:r>
          </a:p>
          <a:p>
            <a:pPr marL="0" marR="0" lvl="0" indent="0" algn="l" defTabSz="609630" rtl="0" eaLnBrk="1" fontAlgn="auto" latinLnBrk="0" hangingPunct="1">
              <a:lnSpc>
                <a:spcPts val="2333"/>
              </a:lnSpc>
              <a:spcBef>
                <a:spcPts val="0"/>
              </a:spcBef>
              <a:spcAft>
                <a:spcPts val="0"/>
              </a:spcAft>
              <a:buClrTx/>
              <a:buSzTx/>
              <a:buFontTx/>
              <a:buNone/>
              <a:tabLst/>
              <a:defRPr/>
            </a:pPr>
            <a:endParaRPr kumimoji="0" lang="en-US" sz="1666" b="0" i="0" u="none" strike="noStrike" kern="1200" cap="none" spc="0" normalizeH="0" baseline="0" noProof="0" dirty="0">
              <a:ln>
                <a:noFill/>
              </a:ln>
              <a:solidFill>
                <a:srgbClr val="FFFFFF"/>
              </a:solidFill>
              <a:effectLst/>
              <a:uLnTx/>
              <a:uFillTx/>
              <a:latin typeface="HK Grotesk Medium"/>
              <a:ea typeface="+mn-ea"/>
              <a:cs typeface="+mn-cs"/>
            </a:endParaRPr>
          </a:p>
        </p:txBody>
      </p:sp>
      <p:grpSp>
        <p:nvGrpSpPr>
          <p:cNvPr id="20" name="Group 20"/>
          <p:cNvGrpSpPr/>
          <p:nvPr/>
        </p:nvGrpSpPr>
        <p:grpSpPr>
          <a:xfrm>
            <a:off x="755229" y="1038903"/>
            <a:ext cx="101600" cy="101600"/>
            <a:chOff x="0" y="0"/>
            <a:chExt cx="1913890" cy="1913889"/>
          </a:xfrm>
        </p:grpSpPr>
        <p:sp>
          <p:nvSpPr>
            <p:cNvPr id="21" name="Freeform 21"/>
            <p:cNvSpPr/>
            <p:nvPr/>
          </p:nvSpPr>
          <p:spPr>
            <a:xfrm>
              <a:off x="0" y="0"/>
              <a:ext cx="1913890" cy="1913889"/>
            </a:xfrm>
            <a:custGeom>
              <a:avLst/>
              <a:gdLst/>
              <a:ahLst/>
              <a:cxnLst/>
              <a:rect l="l" t="t" r="r" b="b"/>
              <a:pathLst>
                <a:path w="1913890" h="1913890">
                  <a:moveTo>
                    <a:pt x="0" y="0"/>
                  </a:moveTo>
                  <a:lnTo>
                    <a:pt x="1913890" y="0"/>
                  </a:lnTo>
                  <a:lnTo>
                    <a:pt x="1913890" y="1913890"/>
                  </a:lnTo>
                  <a:lnTo>
                    <a:pt x="0" y="1913890"/>
                  </a:lnTo>
                  <a:close/>
                </a:path>
              </a:pathLst>
            </a:custGeom>
            <a:solidFill>
              <a:srgbClr val="A6CDB6"/>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H"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30" name="Group 30"/>
          <p:cNvGrpSpPr/>
          <p:nvPr/>
        </p:nvGrpSpPr>
        <p:grpSpPr>
          <a:xfrm>
            <a:off x="7552828" y="5795950"/>
            <a:ext cx="101600" cy="101600"/>
            <a:chOff x="0" y="0"/>
            <a:chExt cx="1913890" cy="1913890"/>
          </a:xfrm>
        </p:grpSpPr>
        <p:sp>
          <p:nvSpPr>
            <p:cNvPr id="31" name="Freeform 31"/>
            <p:cNvSpPr/>
            <p:nvPr/>
          </p:nvSpPr>
          <p:spPr>
            <a:xfrm>
              <a:off x="0" y="0"/>
              <a:ext cx="1913890" cy="1913890"/>
            </a:xfrm>
            <a:custGeom>
              <a:avLst/>
              <a:gdLst/>
              <a:ahLst/>
              <a:cxnLst/>
              <a:rect l="l" t="t" r="r" b="b"/>
              <a:pathLst>
                <a:path w="1913890" h="1913890">
                  <a:moveTo>
                    <a:pt x="0" y="0"/>
                  </a:moveTo>
                  <a:lnTo>
                    <a:pt x="1913890" y="0"/>
                  </a:lnTo>
                  <a:lnTo>
                    <a:pt x="1913890" y="1913890"/>
                  </a:lnTo>
                  <a:lnTo>
                    <a:pt x="0" y="1913890"/>
                  </a:lnTo>
                  <a:close/>
                </a:path>
              </a:pathLst>
            </a:custGeom>
            <a:solidFill>
              <a:srgbClr val="A6CDB6"/>
            </a:solidFill>
          </p:spPr>
        </p:sp>
      </p:grpSp>
      <p:pic>
        <p:nvPicPr>
          <p:cNvPr id="32" name="Picture 32"/>
          <p:cNvPicPr>
            <a:picLocks noChangeAspect="1"/>
          </p:cNvPicPr>
          <p:nvPr/>
        </p:nvPicPr>
        <p:blipFill>
          <a:blip r:embed="rId4"/>
          <a:srcRect/>
          <a:stretch>
            <a:fillRect/>
          </a:stretch>
        </p:blipFill>
        <p:spPr>
          <a:xfrm>
            <a:off x="7533172" y="5201740"/>
            <a:ext cx="127607" cy="176341"/>
          </a:xfrm>
          <a:prstGeom prst="rect">
            <a:avLst/>
          </a:prstGeom>
        </p:spPr>
      </p:pic>
      <p:pic>
        <p:nvPicPr>
          <p:cNvPr id="33" name="Picture 33"/>
          <p:cNvPicPr>
            <a:picLocks noChangeAspect="1"/>
          </p:cNvPicPr>
          <p:nvPr/>
        </p:nvPicPr>
        <p:blipFill>
          <a:blip r:embed="rId4"/>
          <a:srcRect/>
          <a:stretch>
            <a:fillRect/>
          </a:stretch>
        </p:blipFill>
        <p:spPr>
          <a:xfrm>
            <a:off x="7533172" y="6064980"/>
            <a:ext cx="127607" cy="176341"/>
          </a:xfrm>
          <a:prstGeom prst="rect">
            <a:avLst/>
          </a:prstGeom>
        </p:spPr>
      </p:pic>
      <p:grpSp>
        <p:nvGrpSpPr>
          <p:cNvPr id="34" name="Group 34"/>
          <p:cNvGrpSpPr/>
          <p:nvPr/>
        </p:nvGrpSpPr>
        <p:grpSpPr>
          <a:xfrm>
            <a:off x="10118907" y="4457236"/>
            <a:ext cx="1890909" cy="1954404"/>
            <a:chOff x="0" y="0"/>
            <a:chExt cx="1822396" cy="1932167"/>
          </a:xfrm>
        </p:grpSpPr>
        <p:sp>
          <p:nvSpPr>
            <p:cNvPr id="35" name="Freeform 35"/>
            <p:cNvSpPr/>
            <p:nvPr/>
          </p:nvSpPr>
          <p:spPr>
            <a:xfrm>
              <a:off x="0" y="0"/>
              <a:ext cx="1822397" cy="1932167"/>
            </a:xfrm>
            <a:custGeom>
              <a:avLst/>
              <a:gdLst/>
              <a:ahLst/>
              <a:cxnLst/>
              <a:rect l="l" t="t" r="r" b="b"/>
              <a:pathLst>
                <a:path w="1822397" h="1932167">
                  <a:moveTo>
                    <a:pt x="0" y="0"/>
                  </a:moveTo>
                  <a:lnTo>
                    <a:pt x="0" y="1932167"/>
                  </a:lnTo>
                  <a:lnTo>
                    <a:pt x="1822397" y="1932167"/>
                  </a:lnTo>
                  <a:lnTo>
                    <a:pt x="1822397" y="0"/>
                  </a:lnTo>
                  <a:lnTo>
                    <a:pt x="0" y="0"/>
                  </a:lnTo>
                  <a:close/>
                  <a:moveTo>
                    <a:pt x="1761436" y="1871207"/>
                  </a:moveTo>
                  <a:lnTo>
                    <a:pt x="59690" y="1871207"/>
                  </a:lnTo>
                  <a:lnTo>
                    <a:pt x="59690" y="59690"/>
                  </a:lnTo>
                  <a:lnTo>
                    <a:pt x="1761436" y="59690"/>
                  </a:lnTo>
                  <a:lnTo>
                    <a:pt x="1761436" y="1871207"/>
                  </a:lnTo>
                  <a:close/>
                </a:path>
              </a:pathLst>
            </a:custGeom>
            <a:solidFill>
              <a:srgbClr val="A6CDB6"/>
            </a:solidFill>
          </p:spPr>
        </p:sp>
      </p:grpSp>
      <p:grpSp>
        <p:nvGrpSpPr>
          <p:cNvPr id="16" name="Group 15">
            <a:extLst>
              <a:ext uri="{FF2B5EF4-FFF2-40B4-BE49-F238E27FC236}">
                <a16:creationId xmlns:a16="http://schemas.microsoft.com/office/drawing/2014/main" id="{51C3DAEC-B51A-4DD1-861E-9FEC25942D0D}"/>
              </a:ext>
            </a:extLst>
          </p:cNvPr>
          <p:cNvGrpSpPr/>
          <p:nvPr/>
        </p:nvGrpSpPr>
        <p:grpSpPr>
          <a:xfrm>
            <a:off x="8146597" y="1949001"/>
            <a:ext cx="3719202" cy="2308132"/>
            <a:chOff x="8275320" y="2188227"/>
            <a:chExt cx="3521902" cy="1807023"/>
          </a:xfrm>
        </p:grpSpPr>
        <p:grpSp>
          <p:nvGrpSpPr>
            <p:cNvPr id="22" name="Group 22"/>
            <p:cNvGrpSpPr/>
            <p:nvPr/>
          </p:nvGrpSpPr>
          <p:grpSpPr>
            <a:xfrm>
              <a:off x="8275320" y="2383617"/>
              <a:ext cx="62230" cy="49415"/>
              <a:chOff x="741632" y="-283660"/>
              <a:chExt cx="1172258" cy="930866"/>
            </a:xfrm>
          </p:grpSpPr>
          <p:sp>
            <p:nvSpPr>
              <p:cNvPr id="23" name="Freeform 23"/>
              <p:cNvSpPr/>
              <p:nvPr/>
            </p:nvSpPr>
            <p:spPr>
              <a:xfrm>
                <a:off x="741632" y="-283660"/>
                <a:ext cx="1172258" cy="930866"/>
              </a:xfrm>
              <a:custGeom>
                <a:avLst/>
                <a:gdLst>
                  <a:gd name="connsiteX0" fmla="*/ 0 w 1913890"/>
                  <a:gd name="connsiteY0" fmla="*/ 1913890 h 1913890"/>
                  <a:gd name="connsiteX1" fmla="*/ 1913890 w 1913890"/>
                  <a:gd name="connsiteY1" fmla="*/ 0 h 1913890"/>
                  <a:gd name="connsiteX2" fmla="*/ 1913890 w 1913890"/>
                  <a:gd name="connsiteY2" fmla="*/ 1913890 h 1913890"/>
                  <a:gd name="connsiteX3" fmla="*/ 0 w 1913890"/>
                  <a:gd name="connsiteY3" fmla="*/ 1913890 h 1913890"/>
                  <a:gd name="connsiteX0" fmla="*/ 0 w 1913890"/>
                  <a:gd name="connsiteY0" fmla="*/ 1913890 h 1913890"/>
                  <a:gd name="connsiteX1" fmla="*/ 1913890 w 1913890"/>
                  <a:gd name="connsiteY1" fmla="*/ 0 h 1913890"/>
                  <a:gd name="connsiteX2" fmla="*/ 0 w 1913890"/>
                  <a:gd name="connsiteY2" fmla="*/ 1913890 h 1913890"/>
                  <a:gd name="connsiteX0" fmla="*/ 0 w 1913890"/>
                  <a:gd name="connsiteY0" fmla="*/ 1913890 h 1913890"/>
                  <a:gd name="connsiteX1" fmla="*/ 810589 w 1913890"/>
                  <a:gd name="connsiteY1" fmla="*/ 810716 h 1913890"/>
                  <a:gd name="connsiteX2" fmla="*/ 1913890 w 1913890"/>
                  <a:gd name="connsiteY2" fmla="*/ 0 h 1913890"/>
                  <a:gd name="connsiteX3" fmla="*/ 0 w 1913890"/>
                  <a:gd name="connsiteY3" fmla="*/ 1913890 h 1913890"/>
                  <a:gd name="connsiteX0" fmla="*/ 1103301 w 1103301"/>
                  <a:gd name="connsiteY0" fmla="*/ 0 h 810716"/>
                  <a:gd name="connsiteX1" fmla="*/ 0 w 1103301"/>
                  <a:gd name="connsiteY1" fmla="*/ 810716 h 810716"/>
                  <a:gd name="connsiteX2" fmla="*/ 1103301 w 1103301"/>
                  <a:gd name="connsiteY2" fmla="*/ 0 h 810716"/>
                </a:gdLst>
                <a:ahLst/>
                <a:cxnLst>
                  <a:cxn ang="0">
                    <a:pos x="connsiteX0" y="connsiteY0"/>
                  </a:cxn>
                  <a:cxn ang="0">
                    <a:pos x="connsiteX1" y="connsiteY1"/>
                  </a:cxn>
                  <a:cxn ang="0">
                    <a:pos x="connsiteX2" y="connsiteY2"/>
                  </a:cxn>
                </a:cxnLst>
                <a:rect l="l" t="t" r="r" b="b"/>
                <a:pathLst>
                  <a:path w="1103301" h="810716">
                    <a:moveTo>
                      <a:pt x="1103301" y="0"/>
                    </a:moveTo>
                    <a:lnTo>
                      <a:pt x="0" y="810716"/>
                    </a:lnTo>
                    <a:lnTo>
                      <a:pt x="1103301" y="0"/>
                    </a:lnTo>
                    <a:close/>
                  </a:path>
                </a:pathLst>
              </a:custGeom>
              <a:solidFill>
                <a:srgbClr val="A6CDB6"/>
              </a:solidFill>
            </p:spPr>
          </p:sp>
        </p:grpSp>
        <p:grpSp>
          <p:nvGrpSpPr>
            <p:cNvPr id="28" name="Group 28"/>
            <p:cNvGrpSpPr/>
            <p:nvPr/>
          </p:nvGrpSpPr>
          <p:grpSpPr>
            <a:xfrm>
              <a:off x="8622545" y="3438998"/>
              <a:ext cx="101599" cy="287085"/>
              <a:chOff x="7282615" y="-2380785"/>
              <a:chExt cx="1913906" cy="5407965"/>
            </a:xfrm>
          </p:grpSpPr>
          <p:sp>
            <p:nvSpPr>
              <p:cNvPr id="52" name="Freeform 29">
                <a:extLst>
                  <a:ext uri="{FF2B5EF4-FFF2-40B4-BE49-F238E27FC236}">
                    <a16:creationId xmlns:a16="http://schemas.microsoft.com/office/drawing/2014/main" id="{D72CF86B-9E4D-4FC5-B010-D66F5C03637D}"/>
                  </a:ext>
                </a:extLst>
              </p:cNvPr>
              <p:cNvSpPr/>
              <p:nvPr/>
            </p:nvSpPr>
            <p:spPr>
              <a:xfrm>
                <a:off x="7282615" y="-2380785"/>
                <a:ext cx="1913906" cy="1913892"/>
              </a:xfrm>
              <a:custGeom>
                <a:avLst/>
                <a:gdLst/>
                <a:ahLst/>
                <a:cxnLst/>
                <a:rect l="l" t="t" r="r" b="b"/>
                <a:pathLst>
                  <a:path w="1913890" h="1913890">
                    <a:moveTo>
                      <a:pt x="0" y="0"/>
                    </a:moveTo>
                    <a:lnTo>
                      <a:pt x="1913890" y="0"/>
                    </a:lnTo>
                    <a:lnTo>
                      <a:pt x="1913890" y="1913890"/>
                    </a:lnTo>
                    <a:lnTo>
                      <a:pt x="0" y="1913890"/>
                    </a:lnTo>
                    <a:close/>
                  </a:path>
                </a:pathLst>
              </a:custGeom>
              <a:solidFill>
                <a:srgbClr val="A6CDB6"/>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H"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4" name="Freeform 29">
                <a:extLst>
                  <a:ext uri="{FF2B5EF4-FFF2-40B4-BE49-F238E27FC236}">
                    <a16:creationId xmlns:a16="http://schemas.microsoft.com/office/drawing/2014/main" id="{7AFF31F8-5275-44F9-9769-008FCFC59E40}"/>
                  </a:ext>
                </a:extLst>
              </p:cNvPr>
              <p:cNvSpPr/>
              <p:nvPr/>
            </p:nvSpPr>
            <p:spPr>
              <a:xfrm>
                <a:off x="7282645" y="1113302"/>
                <a:ext cx="1913876" cy="1913878"/>
              </a:xfrm>
              <a:custGeom>
                <a:avLst/>
                <a:gdLst/>
                <a:ahLst/>
                <a:cxnLst/>
                <a:rect l="l" t="t" r="r" b="b"/>
                <a:pathLst>
                  <a:path w="1913890" h="1913890">
                    <a:moveTo>
                      <a:pt x="0" y="0"/>
                    </a:moveTo>
                    <a:lnTo>
                      <a:pt x="1913890" y="0"/>
                    </a:lnTo>
                    <a:lnTo>
                      <a:pt x="1913890" y="1913890"/>
                    </a:lnTo>
                    <a:lnTo>
                      <a:pt x="0" y="1913890"/>
                    </a:lnTo>
                    <a:close/>
                  </a:path>
                </a:pathLst>
              </a:custGeom>
              <a:solidFill>
                <a:srgbClr val="A6CDB6"/>
              </a:solidFill>
            </p:spPr>
          </p:sp>
        </p:grpSp>
        <p:sp>
          <p:nvSpPr>
            <p:cNvPr id="36" name="TextBox 36"/>
            <p:cNvSpPr txBox="1"/>
            <p:nvPr/>
          </p:nvSpPr>
          <p:spPr>
            <a:xfrm>
              <a:off x="8797642" y="2188227"/>
              <a:ext cx="2999580" cy="1807023"/>
            </a:xfrm>
            <a:prstGeom prst="rect">
              <a:avLst/>
            </a:prstGeom>
          </p:spPr>
          <p:txBody>
            <a:bodyPr wrap="square" lIns="0" tIns="0" rIns="0" bIns="0" rtlCol="0" anchor="t">
              <a:spAutoFit/>
            </a:bodyPr>
            <a:lstStyle/>
            <a:p>
              <a:pPr marL="0" marR="0" lvl="0" indent="0" algn="l" defTabSz="609630" rtl="0" eaLnBrk="1" fontAlgn="auto" latinLnBrk="0" hangingPunct="1">
                <a:lnSpc>
                  <a:spcPct val="100000"/>
                </a:lnSpc>
                <a:spcBef>
                  <a:spcPts val="0"/>
                </a:spcBef>
                <a:spcAft>
                  <a:spcPts val="0"/>
                </a:spcAft>
                <a:buClrTx/>
                <a:buSzTx/>
                <a:buFontTx/>
                <a:buNone/>
                <a:tabLst/>
                <a:defRPr/>
              </a:pPr>
              <a:r>
                <a:rPr kumimoji="0" lang="fr-FR" sz="1667" b="1" i="0" u="none" strike="noStrike" cap="none" normalizeH="0" baseline="0" noProof="0" dirty="0">
                  <a:ln>
                    <a:noFill/>
                  </a:ln>
                  <a:solidFill>
                    <a:srgbClr val="FFFFFF"/>
                  </a:solidFill>
                  <a:effectLst/>
                  <a:uLnTx/>
                  <a:uFillTx/>
                  <a:latin typeface="HK Grotesk Medium"/>
                  <a:ea typeface="+mn-ea"/>
                  <a:cs typeface="+mn-cs"/>
                </a:rPr>
                <a:t>Protection</a:t>
              </a:r>
            </a:p>
            <a:p>
              <a:pPr marL="285750" marR="0" lvl="0" indent="-285750" algn="l" defTabSz="60963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667" b="0" i="0" u="none" strike="noStrike" cap="none" normalizeH="0" baseline="0" noProof="0" dirty="0">
                  <a:ln>
                    <a:noFill/>
                  </a:ln>
                  <a:solidFill>
                    <a:srgbClr val="FFFFFF"/>
                  </a:solidFill>
                  <a:effectLst/>
                  <a:uLnTx/>
                  <a:uFillTx/>
                  <a:latin typeface="HK Grotesk Medium"/>
                  <a:ea typeface="+mn-ea"/>
                  <a:cs typeface="+mn-cs"/>
                </a:rPr>
                <a:t>Entretiens / Enregistrements des individus et suivi individuel éventuel</a:t>
              </a:r>
            </a:p>
            <a:p>
              <a:pPr marL="285750" marR="0" lvl="0" indent="-285750" algn="l" defTabSz="60963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666" b="0" i="0" u="none" strike="noStrike" cap="none" normalizeH="0" baseline="0" noProof="0" dirty="0">
                  <a:ln>
                    <a:noFill/>
                  </a:ln>
                  <a:solidFill>
                    <a:srgbClr val="FFFFFF"/>
                  </a:solidFill>
                  <a:effectLst/>
                  <a:uLnTx/>
                  <a:uFillTx/>
                  <a:latin typeface="HK Grotesk Medium"/>
                  <a:ea typeface="+mn-ea"/>
                  <a:cs typeface="+mn-cs"/>
                </a:rPr>
                <a:t>Intervention communautaire</a:t>
              </a:r>
            </a:p>
            <a:p>
              <a:pPr marL="285750" marR="0" lvl="0" indent="-285750" algn="l" defTabSz="60963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666" b="0" i="0" u="none" strike="noStrike" cap="none" normalizeH="0" baseline="0" noProof="0" dirty="0">
                  <a:ln>
                    <a:noFill/>
                  </a:ln>
                  <a:solidFill>
                    <a:srgbClr val="FFFFFF"/>
                  </a:solidFill>
                  <a:effectLst/>
                  <a:uLnTx/>
                  <a:uFillTx/>
                  <a:latin typeface="HK Grotesk Medium"/>
                  <a:ea typeface="+mn-ea"/>
                  <a:cs typeface="+mn-cs"/>
                </a:rPr>
                <a:t>Lignes d’assistance téléphonique</a:t>
              </a:r>
            </a:p>
            <a:p>
              <a:pPr marL="285750" marR="0" lvl="0" indent="-285750" algn="l" defTabSz="60963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666" b="0" i="0" u="none" strike="noStrike" cap="none" normalizeH="0" baseline="0" noProof="0" dirty="0">
                  <a:ln>
                    <a:noFill/>
                  </a:ln>
                  <a:solidFill>
                    <a:srgbClr val="FFFFFF"/>
                  </a:solidFill>
                  <a:effectLst/>
                  <a:uLnTx/>
                  <a:uFillTx/>
                  <a:latin typeface="HK Grotesk Medium"/>
                  <a:ea typeface="+mn-ea"/>
                  <a:cs typeface="+mn-cs"/>
                </a:rPr>
                <a:t>Plans de sécurité</a:t>
              </a:r>
            </a:p>
            <a:p>
              <a:pPr marL="0" marR="0" lvl="0" indent="0" algn="l" defTabSz="609630" rtl="0" eaLnBrk="1" fontAlgn="auto" latinLnBrk="0" hangingPunct="1">
                <a:lnSpc>
                  <a:spcPct val="100000"/>
                </a:lnSpc>
                <a:spcBef>
                  <a:spcPts val="0"/>
                </a:spcBef>
                <a:spcAft>
                  <a:spcPts val="0"/>
                </a:spcAft>
                <a:buClrTx/>
                <a:buSzTx/>
                <a:buFontTx/>
                <a:buNone/>
                <a:tabLst/>
                <a:defRPr/>
              </a:pPr>
              <a:r>
                <a:rPr kumimoji="0" lang="fr-FR" sz="1667" b="0" i="0" u="none" strike="noStrike" cap="none" normalizeH="0" baseline="0" noProof="0" dirty="0">
                  <a:ln>
                    <a:noFill/>
                  </a:ln>
                  <a:solidFill>
                    <a:srgbClr val="FFFFFF"/>
                  </a:solidFill>
                  <a:effectLst/>
                  <a:uLnTx/>
                  <a:uFillTx/>
                  <a:latin typeface="HK Grotesk Medium"/>
                  <a:ea typeface="+mn-ea"/>
                  <a:cs typeface="+mn-cs"/>
                </a:rPr>
                <a:t> Logement sûr</a:t>
              </a:r>
            </a:p>
            <a:p>
              <a:pPr marL="0" marR="0" lvl="0" indent="0" algn="l" defTabSz="609630" rtl="0" eaLnBrk="1" fontAlgn="auto" latinLnBrk="0" hangingPunct="1">
                <a:lnSpc>
                  <a:spcPct val="100000"/>
                </a:lnSpc>
                <a:spcBef>
                  <a:spcPts val="0"/>
                </a:spcBef>
                <a:spcAft>
                  <a:spcPts val="0"/>
                </a:spcAft>
                <a:buClrTx/>
                <a:buSzTx/>
                <a:buFontTx/>
                <a:buNone/>
                <a:tabLst/>
                <a:defRPr/>
              </a:pPr>
              <a:r>
                <a:rPr kumimoji="0" lang="fr-FR" sz="1666" b="0" i="0" u="none" strike="noStrike" cap="none" normalizeH="0" baseline="0" noProof="0" dirty="0">
                  <a:ln>
                    <a:noFill/>
                  </a:ln>
                  <a:solidFill>
                    <a:srgbClr val="FFFFFF"/>
                  </a:solidFill>
                  <a:effectLst/>
                  <a:uLnTx/>
                  <a:uFillTx/>
                  <a:latin typeface="HK Grotesk Medium"/>
                  <a:ea typeface="+mn-ea"/>
                  <a:cs typeface="+mn-cs"/>
                </a:rPr>
                <a:t>Maintien de l’ordre </a:t>
              </a:r>
            </a:p>
          </p:txBody>
        </p:sp>
      </p:grpSp>
      <p:sp>
        <p:nvSpPr>
          <p:cNvPr id="37" name="TextBox 37"/>
          <p:cNvSpPr txBox="1"/>
          <p:nvPr/>
        </p:nvSpPr>
        <p:spPr>
          <a:xfrm>
            <a:off x="4708702" y="1316730"/>
            <a:ext cx="1414934" cy="269882"/>
          </a:xfrm>
          <a:prstGeom prst="rect">
            <a:avLst/>
          </a:prstGeom>
        </p:spPr>
        <p:txBody>
          <a:bodyPr lIns="0" tIns="0" rIns="0" bIns="0" rtlCol="0" anchor="t">
            <a:spAutoFit/>
          </a:bodyPr>
          <a:lstStyle/>
          <a:p>
            <a:pPr marL="0" marR="0" lvl="0" indent="0" algn="ctr" defTabSz="609630" rtl="0" eaLnBrk="1" fontAlgn="auto" latinLnBrk="0" hangingPunct="1">
              <a:lnSpc>
                <a:spcPts val="2333"/>
              </a:lnSpc>
              <a:spcBef>
                <a:spcPts val="0"/>
              </a:spcBef>
              <a:spcAft>
                <a:spcPts val="0"/>
              </a:spcAft>
              <a:buClrTx/>
              <a:buSzTx/>
              <a:buFontTx/>
              <a:buNone/>
              <a:tabLst/>
              <a:defRPr/>
            </a:pPr>
            <a:r>
              <a:rPr kumimoji="0" lang="fr-FR" sz="1667" b="0" i="0" u="none" strike="noStrike" cap="none" normalizeH="0" baseline="0" noProof="0" dirty="0">
                <a:ln>
                  <a:noFill/>
                </a:ln>
                <a:solidFill>
                  <a:srgbClr val="394D47"/>
                </a:solidFill>
                <a:effectLst/>
                <a:uLnTx/>
                <a:uFillTx/>
                <a:latin typeface="HK Grotesk Medium"/>
                <a:ea typeface="+mn-ea"/>
                <a:cs typeface="+mn-cs"/>
              </a:rPr>
              <a:t>SMSPS</a:t>
            </a:r>
          </a:p>
        </p:txBody>
      </p:sp>
      <p:sp>
        <p:nvSpPr>
          <p:cNvPr id="38" name="TextBox 38"/>
          <p:cNvSpPr txBox="1"/>
          <p:nvPr/>
        </p:nvSpPr>
        <p:spPr>
          <a:xfrm>
            <a:off x="6080302" y="5172612"/>
            <a:ext cx="1414934" cy="269882"/>
          </a:xfrm>
          <a:prstGeom prst="rect">
            <a:avLst/>
          </a:prstGeom>
        </p:spPr>
        <p:txBody>
          <a:bodyPr lIns="0" tIns="0" rIns="0" bIns="0" rtlCol="0" anchor="t">
            <a:spAutoFit/>
          </a:bodyPr>
          <a:lstStyle/>
          <a:p>
            <a:pPr marL="0" marR="0" lvl="0" indent="0" algn="ctr" defTabSz="609630" rtl="0" eaLnBrk="1" fontAlgn="auto" latinLnBrk="0" hangingPunct="1">
              <a:lnSpc>
                <a:spcPts val="2333"/>
              </a:lnSpc>
              <a:spcBef>
                <a:spcPts val="0"/>
              </a:spcBef>
              <a:spcAft>
                <a:spcPts val="0"/>
              </a:spcAft>
              <a:buClrTx/>
              <a:buSzTx/>
              <a:buFontTx/>
              <a:buNone/>
              <a:tabLst/>
              <a:defRPr/>
            </a:pPr>
            <a:r>
              <a:rPr kumimoji="0" lang="fr-FR" sz="1667" b="0" i="0" u="none" strike="noStrike" cap="none" normalizeH="0" baseline="0" noProof="0" dirty="0">
                <a:ln>
                  <a:noFill/>
                </a:ln>
                <a:solidFill>
                  <a:srgbClr val="394D47"/>
                </a:solidFill>
                <a:effectLst/>
                <a:uLnTx/>
                <a:uFillTx/>
                <a:latin typeface="HK Grotesk Medium"/>
                <a:ea typeface="+mn-ea"/>
                <a:cs typeface="+mn-cs"/>
              </a:rPr>
              <a:t>Justice</a:t>
            </a:r>
          </a:p>
        </p:txBody>
      </p:sp>
      <p:sp>
        <p:nvSpPr>
          <p:cNvPr id="39" name="TextBox 39"/>
          <p:cNvSpPr txBox="1"/>
          <p:nvPr/>
        </p:nvSpPr>
        <p:spPr>
          <a:xfrm>
            <a:off x="6707632" y="2754822"/>
            <a:ext cx="1414934" cy="269882"/>
          </a:xfrm>
          <a:prstGeom prst="rect">
            <a:avLst/>
          </a:prstGeom>
        </p:spPr>
        <p:txBody>
          <a:bodyPr lIns="0" tIns="0" rIns="0" bIns="0" rtlCol="0" anchor="t">
            <a:spAutoFit/>
          </a:bodyPr>
          <a:lstStyle/>
          <a:p>
            <a:pPr marL="0" marR="0" lvl="0" indent="0" algn="ctr" defTabSz="609630" rtl="0" eaLnBrk="1" fontAlgn="auto" latinLnBrk="0" hangingPunct="1">
              <a:lnSpc>
                <a:spcPts val="2333"/>
              </a:lnSpc>
              <a:spcBef>
                <a:spcPts val="0"/>
              </a:spcBef>
              <a:spcAft>
                <a:spcPts val="0"/>
              </a:spcAft>
              <a:buClrTx/>
              <a:buSzTx/>
              <a:buFontTx/>
              <a:buNone/>
              <a:tabLst/>
              <a:defRPr/>
            </a:pPr>
            <a:r>
              <a:rPr kumimoji="0" lang="fr-FR" sz="1667" b="0" i="0" u="none" strike="noStrike" cap="none" normalizeH="0" baseline="0" noProof="0" dirty="0">
                <a:ln>
                  <a:noFill/>
                </a:ln>
                <a:solidFill>
                  <a:srgbClr val="394D47"/>
                </a:solidFill>
                <a:effectLst/>
                <a:uLnTx/>
                <a:uFillTx/>
                <a:latin typeface="HK Grotesk Medium"/>
                <a:ea typeface="+mn-ea"/>
                <a:cs typeface="+mn-cs"/>
              </a:rPr>
              <a:t>Protection</a:t>
            </a:r>
          </a:p>
        </p:txBody>
      </p:sp>
      <p:sp>
        <p:nvSpPr>
          <p:cNvPr id="40" name="TextBox 40"/>
          <p:cNvSpPr txBox="1"/>
          <p:nvPr/>
        </p:nvSpPr>
        <p:spPr>
          <a:xfrm>
            <a:off x="2634334" y="2614129"/>
            <a:ext cx="1414934" cy="572593"/>
          </a:xfrm>
          <a:prstGeom prst="rect">
            <a:avLst/>
          </a:prstGeom>
        </p:spPr>
        <p:txBody>
          <a:bodyPr lIns="0" tIns="0" rIns="0" bIns="0" rtlCol="0" anchor="t">
            <a:spAutoFit/>
          </a:bodyPr>
          <a:lstStyle/>
          <a:p>
            <a:pPr marL="0" marR="0" lvl="0" indent="0" algn="ctr" defTabSz="609630" rtl="0" eaLnBrk="1" fontAlgn="auto" latinLnBrk="0" hangingPunct="1">
              <a:lnSpc>
                <a:spcPts val="2333"/>
              </a:lnSpc>
              <a:spcBef>
                <a:spcPts val="0"/>
              </a:spcBef>
              <a:spcAft>
                <a:spcPts val="0"/>
              </a:spcAft>
              <a:buClrTx/>
              <a:buSzTx/>
              <a:buFontTx/>
              <a:buNone/>
              <a:tabLst/>
              <a:defRPr/>
            </a:pPr>
            <a:r>
              <a:rPr kumimoji="0" lang="fr-FR" sz="1667" b="0" i="0" u="none" strike="noStrike" cap="none" normalizeH="0" baseline="0" noProof="0" dirty="0">
                <a:ln>
                  <a:noFill/>
                </a:ln>
                <a:solidFill>
                  <a:srgbClr val="394D47"/>
                </a:solidFill>
                <a:effectLst/>
                <a:uLnTx/>
                <a:uFillTx/>
                <a:latin typeface="HK Grotesk Medium"/>
                <a:ea typeface="+mn-ea"/>
                <a:cs typeface="+mn-cs"/>
              </a:rPr>
              <a:t>Soins</a:t>
            </a:r>
          </a:p>
          <a:p>
            <a:pPr marL="0" marR="0" lvl="0" indent="0" algn="ctr" defTabSz="609630" rtl="0" eaLnBrk="1" fontAlgn="auto" latinLnBrk="0" hangingPunct="1">
              <a:lnSpc>
                <a:spcPts val="2333"/>
              </a:lnSpc>
              <a:spcBef>
                <a:spcPts val="0"/>
              </a:spcBef>
              <a:spcAft>
                <a:spcPts val="0"/>
              </a:spcAft>
              <a:buClrTx/>
              <a:buSzTx/>
              <a:buFontTx/>
              <a:buNone/>
              <a:tabLst/>
              <a:defRPr/>
            </a:pPr>
            <a:r>
              <a:rPr kumimoji="0" lang="fr-FR" sz="1667" b="0" i="0" u="none" strike="noStrike" cap="none" normalizeH="0" baseline="0" noProof="0" dirty="0">
                <a:ln>
                  <a:noFill/>
                </a:ln>
                <a:solidFill>
                  <a:srgbClr val="394D47"/>
                </a:solidFill>
                <a:effectLst/>
                <a:uLnTx/>
                <a:uFillTx/>
                <a:latin typeface="HK Grotesk Medium"/>
                <a:ea typeface="+mn-ea"/>
                <a:cs typeface="+mn-cs"/>
              </a:rPr>
              <a:t>médicaux</a:t>
            </a:r>
          </a:p>
        </p:txBody>
      </p:sp>
      <p:sp>
        <p:nvSpPr>
          <p:cNvPr id="41" name="TextBox 41"/>
          <p:cNvSpPr txBox="1"/>
          <p:nvPr/>
        </p:nvSpPr>
        <p:spPr>
          <a:xfrm>
            <a:off x="3114716" y="5144611"/>
            <a:ext cx="1414934" cy="269882"/>
          </a:xfrm>
          <a:prstGeom prst="rect">
            <a:avLst/>
          </a:prstGeom>
        </p:spPr>
        <p:txBody>
          <a:bodyPr lIns="0" tIns="0" rIns="0" bIns="0" rtlCol="0" anchor="t">
            <a:spAutoFit/>
          </a:bodyPr>
          <a:lstStyle/>
          <a:p>
            <a:pPr marL="0" marR="0" lvl="0" indent="0" algn="ctr" defTabSz="609630" rtl="0" eaLnBrk="1" fontAlgn="auto" latinLnBrk="0" hangingPunct="1">
              <a:lnSpc>
                <a:spcPts val="2333"/>
              </a:lnSpc>
              <a:spcBef>
                <a:spcPts val="0"/>
              </a:spcBef>
              <a:spcAft>
                <a:spcPts val="0"/>
              </a:spcAft>
              <a:buClrTx/>
              <a:buSzTx/>
              <a:buFontTx/>
              <a:buNone/>
              <a:tabLst/>
              <a:defRPr/>
            </a:pPr>
            <a:r>
              <a:rPr kumimoji="0" lang="fr-FR" sz="1667" b="0" i="0" u="none" strike="noStrike" cap="none" normalizeH="0" baseline="0" noProof="0" dirty="0">
                <a:ln>
                  <a:noFill/>
                </a:ln>
                <a:solidFill>
                  <a:srgbClr val="394D47"/>
                </a:solidFill>
                <a:effectLst/>
                <a:uLnTx/>
                <a:uFillTx/>
                <a:latin typeface="HK Grotesk Medium"/>
                <a:ea typeface="+mn-ea"/>
                <a:cs typeface="+mn-cs"/>
              </a:rPr>
              <a:t>Économie</a:t>
            </a:r>
          </a:p>
        </p:txBody>
      </p:sp>
      <p:sp>
        <p:nvSpPr>
          <p:cNvPr id="42" name="TextBox 42"/>
          <p:cNvSpPr txBox="1"/>
          <p:nvPr/>
        </p:nvSpPr>
        <p:spPr>
          <a:xfrm>
            <a:off x="4608404" y="2402363"/>
            <a:ext cx="1634500" cy="367355"/>
          </a:xfrm>
          <a:prstGeom prst="rect">
            <a:avLst/>
          </a:prstGeom>
        </p:spPr>
        <p:txBody>
          <a:bodyPr spcFirstLastPara="1" lIns="0" tIns="0" rIns="0" bIns="0" numCol="1" rtlCol="0" anchor="t">
            <a:prstTxWarp prst="textArchUp">
              <a:avLst/>
            </a:prstTxWarp>
            <a:spAutoFit/>
          </a:bodyPr>
          <a:lstStyle/>
          <a:p>
            <a:pPr marL="0" marR="0" lvl="0" indent="0" algn="ctr" defTabSz="609630" rtl="0" eaLnBrk="1" fontAlgn="auto" latinLnBrk="0" hangingPunct="1">
              <a:lnSpc>
                <a:spcPts val="2333"/>
              </a:lnSpc>
              <a:spcBef>
                <a:spcPts val="0"/>
              </a:spcBef>
              <a:spcAft>
                <a:spcPts val="0"/>
              </a:spcAft>
              <a:buClrTx/>
              <a:buSzTx/>
              <a:buFontTx/>
              <a:buNone/>
              <a:tabLst/>
              <a:defRPr/>
            </a:pPr>
            <a:r>
              <a:rPr kumimoji="0" lang="fr-FR" sz="1667" b="0" i="0" u="none" strike="noStrike" cap="none" normalizeH="0" baseline="0" noProof="0" dirty="0">
                <a:ln>
                  <a:noFill/>
                </a:ln>
                <a:solidFill>
                  <a:srgbClr val="FFFFFF"/>
                </a:solidFill>
                <a:effectLst/>
                <a:uLnTx/>
                <a:uFillTx/>
                <a:latin typeface="HK Grotesk Medium"/>
                <a:ea typeface="+mn-ea"/>
                <a:cs typeface="+mn-cs"/>
              </a:rPr>
              <a:t>Ne pas nuire</a:t>
            </a:r>
          </a:p>
        </p:txBody>
      </p:sp>
      <p:sp>
        <p:nvSpPr>
          <p:cNvPr id="43" name="TextBox 43"/>
          <p:cNvSpPr txBox="1"/>
          <p:nvPr/>
        </p:nvSpPr>
        <p:spPr>
          <a:xfrm>
            <a:off x="6707630" y="391883"/>
            <a:ext cx="4821739" cy="1321131"/>
          </a:xfrm>
          <a:prstGeom prst="rect">
            <a:avLst/>
          </a:prstGeom>
        </p:spPr>
        <p:txBody>
          <a:bodyPr wrap="square" lIns="0" tIns="0" rIns="0" bIns="0" rtlCol="0" anchor="t">
            <a:spAutoFit/>
          </a:bodyPr>
          <a:lstStyle/>
          <a:p>
            <a:pPr marL="179925" marR="0" lvl="1" indent="0" algn="l" defTabSz="609630" rtl="0" eaLnBrk="1" fontAlgn="auto" latinLnBrk="0" hangingPunct="1">
              <a:lnSpc>
                <a:spcPts val="2333"/>
              </a:lnSpc>
              <a:spcBef>
                <a:spcPts val="0"/>
              </a:spcBef>
              <a:spcAft>
                <a:spcPts val="0"/>
              </a:spcAft>
              <a:buClrTx/>
              <a:buSzTx/>
              <a:buFontTx/>
              <a:buNone/>
              <a:tabLst/>
              <a:defRPr/>
            </a:pPr>
            <a:r>
              <a:rPr kumimoji="0" lang="fr-FR" sz="1667" b="1" i="0" u="none" strike="noStrike" cap="none" normalizeH="0" baseline="0" noProof="0" dirty="0">
                <a:ln>
                  <a:noFill/>
                </a:ln>
                <a:solidFill>
                  <a:srgbClr val="FFFFFF"/>
                </a:solidFill>
                <a:effectLst/>
                <a:uLnTx/>
                <a:uFillTx/>
                <a:latin typeface="HK Grotesk Medium"/>
                <a:ea typeface="+mn-ea"/>
                <a:cs typeface="+mn-cs"/>
              </a:rPr>
              <a:t>Santé mentale et soutien psychosocial</a:t>
            </a:r>
          </a:p>
          <a:p>
            <a:pPr marL="465675" marR="0" lvl="1" indent="-285750" algn="l" defTabSz="60963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667" b="0" i="0" u="none" strike="noStrike" cap="none" normalizeH="0" baseline="0" noProof="0" dirty="0">
                <a:ln>
                  <a:noFill/>
                </a:ln>
                <a:solidFill>
                  <a:srgbClr val="FFFFFF"/>
                </a:solidFill>
                <a:effectLst/>
                <a:uLnTx/>
                <a:uFillTx/>
                <a:latin typeface="HK Grotesk Medium"/>
                <a:ea typeface="+mn-ea"/>
                <a:cs typeface="+mn-cs"/>
              </a:rPr>
              <a:t>Séances individuelles</a:t>
            </a:r>
          </a:p>
          <a:p>
            <a:pPr marL="359851" marR="0" lvl="1" indent="-179926" algn="l" defTabSz="609630" rtl="0" eaLnBrk="1" fontAlgn="auto" latinLnBrk="0" hangingPunct="1">
              <a:lnSpc>
                <a:spcPct val="100000"/>
              </a:lnSpc>
              <a:spcBef>
                <a:spcPts val="0"/>
              </a:spcBef>
              <a:spcAft>
                <a:spcPts val="0"/>
              </a:spcAft>
              <a:buClrTx/>
              <a:buSzTx/>
              <a:buFont typeface="Arial"/>
              <a:buChar char="•"/>
              <a:tabLst/>
              <a:defRPr/>
            </a:pPr>
            <a:r>
              <a:rPr kumimoji="0" lang="fr-FR" sz="1667" b="0" i="0" u="none" strike="noStrike" cap="none" normalizeH="0" baseline="0" noProof="0" dirty="0">
                <a:ln>
                  <a:noFill/>
                </a:ln>
                <a:solidFill>
                  <a:srgbClr val="FFFFFF"/>
                </a:solidFill>
                <a:effectLst/>
                <a:uLnTx/>
                <a:uFillTx/>
                <a:latin typeface="HK Grotesk Medium"/>
                <a:ea typeface="+mn-ea"/>
                <a:cs typeface="+mn-cs"/>
              </a:rPr>
              <a:t>Thérapie de groupe</a:t>
            </a:r>
          </a:p>
          <a:p>
            <a:pPr marL="359851" marR="0" lvl="1" indent="-179926" algn="l" defTabSz="609630" rtl="0" eaLnBrk="1" fontAlgn="auto" latinLnBrk="0" hangingPunct="1">
              <a:lnSpc>
                <a:spcPct val="100000"/>
              </a:lnSpc>
              <a:spcBef>
                <a:spcPts val="0"/>
              </a:spcBef>
              <a:spcAft>
                <a:spcPts val="0"/>
              </a:spcAft>
              <a:buClrTx/>
              <a:buSzTx/>
              <a:buFont typeface="Arial"/>
              <a:buChar char="•"/>
              <a:tabLst/>
              <a:defRPr/>
            </a:pPr>
            <a:r>
              <a:rPr kumimoji="0" lang="fr-FR" sz="1667" b="0" i="0" u="none" strike="noStrike" cap="none" normalizeH="0" baseline="0" noProof="0" dirty="0">
                <a:ln>
                  <a:noFill/>
                </a:ln>
                <a:solidFill>
                  <a:srgbClr val="FFFFFF"/>
                </a:solidFill>
                <a:effectLst/>
                <a:uLnTx/>
                <a:uFillTx/>
                <a:latin typeface="HK Grotesk Medium"/>
                <a:ea typeface="+mn-ea"/>
                <a:cs typeface="+mn-cs"/>
              </a:rPr>
              <a:t>Activités sociales</a:t>
            </a:r>
          </a:p>
          <a:p>
            <a:pPr marL="359851" marR="0" lvl="1" indent="-179926" algn="l" defTabSz="609630" rtl="0" eaLnBrk="1" fontAlgn="auto" latinLnBrk="0" hangingPunct="1">
              <a:lnSpc>
                <a:spcPct val="100000"/>
              </a:lnSpc>
              <a:spcBef>
                <a:spcPts val="0"/>
              </a:spcBef>
              <a:spcAft>
                <a:spcPts val="0"/>
              </a:spcAft>
              <a:buClrTx/>
              <a:buSzTx/>
              <a:buFont typeface="Arial"/>
              <a:buChar char="•"/>
              <a:tabLst/>
              <a:defRPr/>
            </a:pPr>
            <a:r>
              <a:rPr kumimoji="0" lang="fr-FR" sz="1667" b="0" i="0" u="none" strike="noStrike" cap="none" normalizeH="0" baseline="0" noProof="0" dirty="0">
                <a:ln>
                  <a:noFill/>
                </a:ln>
                <a:solidFill>
                  <a:srgbClr val="FFFFFF"/>
                </a:solidFill>
                <a:effectLst/>
                <a:uLnTx/>
                <a:uFillTx/>
                <a:latin typeface="HK Grotesk Medium"/>
                <a:ea typeface="+mn-ea"/>
                <a:cs typeface="+mn-cs"/>
              </a:rPr>
              <a:t>Soutien par les pairs </a:t>
            </a:r>
          </a:p>
        </p:txBody>
      </p:sp>
      <p:sp>
        <p:nvSpPr>
          <p:cNvPr id="44" name="TextBox 44"/>
          <p:cNvSpPr txBox="1"/>
          <p:nvPr/>
        </p:nvSpPr>
        <p:spPr>
          <a:xfrm>
            <a:off x="252406" y="2048752"/>
            <a:ext cx="2277805" cy="2565446"/>
          </a:xfrm>
          <a:prstGeom prst="rect">
            <a:avLst/>
          </a:prstGeom>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67" b="1" i="0" u="none" strike="noStrike" cap="none" normalizeH="0" baseline="0" noProof="0" dirty="0">
                <a:ln>
                  <a:noFill/>
                </a:ln>
                <a:solidFill>
                  <a:srgbClr val="FFFFFF"/>
                </a:solidFill>
                <a:effectLst/>
                <a:uLnTx/>
                <a:uFillTx/>
                <a:latin typeface="HK Grotesk Medium"/>
                <a:ea typeface="+mn-ea"/>
                <a:cs typeface="+mn-cs"/>
              </a:rPr>
              <a:t>Soins médicaux</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667" dirty="0">
                <a:solidFill>
                  <a:srgbClr val="FFFFFF"/>
                </a:solidFill>
                <a:latin typeface="HK Grotesk Medium"/>
              </a:rPr>
              <a:t>P</a:t>
            </a:r>
            <a:r>
              <a:rPr kumimoji="0" lang="fr-FR" sz="1667" b="0" i="0" u="none" strike="noStrike" cap="none" normalizeH="0" baseline="0" noProof="0" dirty="0">
                <a:ln>
                  <a:noFill/>
                </a:ln>
                <a:solidFill>
                  <a:srgbClr val="FFFFFF"/>
                </a:solidFill>
                <a:effectLst/>
                <a:uLnTx/>
                <a:uFillTx/>
                <a:latin typeface="HK Grotesk Medium"/>
                <a:ea typeface="+mn-ea"/>
                <a:cs typeface="+mn-cs"/>
              </a:rPr>
              <a:t>rise en charge clinique des victimes de viol se présentant dans les 72 heures suivant l’incident ou plus de 72 heures après l’inciden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667" b="0" i="0" u="none" strike="noStrike" cap="none" normalizeH="0" baseline="0" noProof="0" dirty="0">
                <a:ln>
                  <a:noFill/>
                </a:ln>
                <a:solidFill>
                  <a:srgbClr val="FFFFFF"/>
                </a:solidFill>
                <a:effectLst/>
                <a:uLnTx/>
                <a:uFillTx/>
                <a:latin typeface="HK Grotesk Medium"/>
                <a:ea typeface="+mn-ea"/>
                <a:cs typeface="+mn-cs"/>
              </a:rPr>
              <a:t>Suivi des victimes et personnes survivantes</a:t>
            </a:r>
          </a:p>
        </p:txBody>
      </p:sp>
      <p:sp>
        <p:nvSpPr>
          <p:cNvPr id="45" name="TextBox 45"/>
          <p:cNvSpPr txBox="1"/>
          <p:nvPr/>
        </p:nvSpPr>
        <p:spPr>
          <a:xfrm>
            <a:off x="252406" y="4690769"/>
            <a:ext cx="2791737" cy="1833835"/>
          </a:xfrm>
          <a:prstGeom prst="rect">
            <a:avLst/>
          </a:prstGeom>
        </p:spPr>
        <p:txBody>
          <a:bodyPr wrap="square" lIns="0" tIns="0" rIns="0" bIns="0" rtlCol="0" anchor="t">
            <a:spAutoFit/>
          </a:bodyPr>
          <a:lstStyle/>
          <a:p>
            <a:pPr marL="179925" marR="0" lvl="1" indent="0" algn="l" defTabSz="609630" rtl="0" eaLnBrk="1" fontAlgn="auto" latinLnBrk="0" hangingPunct="1">
              <a:lnSpc>
                <a:spcPts val="2333"/>
              </a:lnSpc>
              <a:spcBef>
                <a:spcPts val="0"/>
              </a:spcBef>
              <a:spcAft>
                <a:spcPts val="0"/>
              </a:spcAft>
              <a:buClrTx/>
              <a:buSzTx/>
              <a:buFontTx/>
              <a:buNone/>
              <a:tabLst/>
              <a:defRPr/>
            </a:pPr>
            <a:r>
              <a:rPr kumimoji="0" lang="fr-FR" sz="1667" b="1" i="0" u="none" strike="noStrike" cap="none" normalizeH="0" baseline="0" noProof="0" dirty="0">
                <a:ln>
                  <a:noFill/>
                </a:ln>
                <a:solidFill>
                  <a:srgbClr val="FFFFFF"/>
                </a:solidFill>
                <a:effectLst/>
                <a:uLnTx/>
                <a:uFillTx/>
                <a:latin typeface="HK Grotesk Medium"/>
                <a:ea typeface="+mn-ea"/>
                <a:cs typeface="+mn-cs"/>
              </a:rPr>
              <a:t>Aide d’urgence </a:t>
            </a:r>
            <a:r>
              <a:rPr kumimoji="0" lang="fr-FR" sz="1667" b="0" i="0" u="none" strike="noStrike" cap="none" normalizeH="0" baseline="0" noProof="0" dirty="0">
                <a:ln>
                  <a:noFill/>
                </a:ln>
                <a:solidFill>
                  <a:srgbClr val="FFFFFF"/>
                </a:solidFill>
                <a:effectLst/>
                <a:uLnTx/>
                <a:uFillTx/>
                <a:latin typeface="HK Grotesk Medium"/>
                <a:ea typeface="+mn-ea"/>
                <a:cs typeface="+mn-cs"/>
              </a:rPr>
              <a:t>:</a:t>
            </a:r>
            <a:r>
              <a:rPr kumimoji="0" lang="fr-FR" sz="1667" b="1" i="0" u="none" strike="noStrike" cap="none" normalizeH="0" baseline="0" noProof="0" dirty="0">
                <a:ln>
                  <a:noFill/>
                </a:ln>
                <a:solidFill>
                  <a:srgbClr val="FFFFFF"/>
                </a:solidFill>
                <a:effectLst/>
                <a:uLnTx/>
                <a:uFillTx/>
                <a:latin typeface="HK Grotesk Medium"/>
                <a:ea typeface="+mn-ea"/>
                <a:cs typeface="+mn-cs"/>
              </a:rPr>
              <a:t> </a:t>
            </a:r>
          </a:p>
          <a:p>
            <a:pPr marL="285750" marR="0" lvl="0" indent="-285750" algn="l" defTabSz="60963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667" b="0" i="0" u="none" strike="noStrike" cap="none" normalizeH="0" baseline="0" noProof="0" dirty="0">
                <a:ln>
                  <a:noFill/>
                </a:ln>
                <a:solidFill>
                  <a:srgbClr val="FFFFFF"/>
                </a:solidFill>
                <a:effectLst/>
                <a:uLnTx/>
                <a:uFillTx/>
                <a:latin typeface="HK Grotesk Medium"/>
                <a:ea typeface="+mn-ea"/>
                <a:cs typeface="+mn-cs"/>
              </a:rPr>
              <a:t>Distribution de vivres et d’autres articles, dépenses indispensables (en nature, transferts monétaires et/ou bons</a:t>
            </a:r>
          </a:p>
          <a:p>
            <a:pPr marL="359851" marR="0" lvl="1" indent="-179926" algn="l" defTabSz="609630" rtl="0" eaLnBrk="1" fontAlgn="auto" latinLnBrk="0" hangingPunct="1">
              <a:lnSpc>
                <a:spcPct val="100000"/>
              </a:lnSpc>
              <a:spcBef>
                <a:spcPts val="0"/>
              </a:spcBef>
              <a:spcAft>
                <a:spcPts val="0"/>
              </a:spcAft>
              <a:buClrTx/>
              <a:buSzTx/>
              <a:buFont typeface="Arial"/>
              <a:buChar char="•"/>
              <a:tabLst/>
              <a:defRPr/>
            </a:pPr>
            <a:r>
              <a:rPr kumimoji="0" lang="fr-FR" sz="1666" b="0" i="0" u="none" strike="noStrike" cap="none" normalizeH="0" baseline="0" noProof="0" dirty="0">
                <a:ln>
                  <a:noFill/>
                </a:ln>
                <a:solidFill>
                  <a:srgbClr val="FFFFFF"/>
                </a:solidFill>
                <a:effectLst/>
                <a:uLnTx/>
                <a:uFillTx/>
                <a:latin typeface="HK Grotesk Medium"/>
                <a:ea typeface="+mn-ea"/>
                <a:cs typeface="+mn-cs"/>
              </a:rPr>
              <a:t>Mise en lien avec les filets de sécurité sociale</a:t>
            </a:r>
          </a:p>
        </p:txBody>
      </p:sp>
      <p:sp>
        <p:nvSpPr>
          <p:cNvPr id="46" name="TextBox 46"/>
          <p:cNvSpPr txBox="1"/>
          <p:nvPr/>
        </p:nvSpPr>
        <p:spPr>
          <a:xfrm>
            <a:off x="7736977" y="5111970"/>
            <a:ext cx="2381930" cy="1457450"/>
          </a:xfrm>
          <a:prstGeom prst="rect">
            <a:avLst/>
          </a:prstGeom>
        </p:spPr>
        <p:txBody>
          <a:bodyPr wrap="square" lIns="0" tIns="0" rIns="0" bIns="0" rtlCol="0" anchor="t">
            <a:spAutoFit/>
          </a:bodyPr>
          <a:lstStyle/>
          <a:p>
            <a:pPr marL="0" marR="0" lvl="0" indent="0" algn="l" defTabSz="609630" rtl="0" eaLnBrk="1" fontAlgn="auto" latinLnBrk="0" hangingPunct="1">
              <a:lnSpc>
                <a:spcPts val="2333"/>
              </a:lnSpc>
              <a:spcBef>
                <a:spcPts val="0"/>
              </a:spcBef>
              <a:spcAft>
                <a:spcPts val="0"/>
              </a:spcAft>
              <a:buClrTx/>
              <a:buSzTx/>
              <a:buFontTx/>
              <a:buNone/>
              <a:tabLst/>
              <a:defRPr/>
            </a:pPr>
            <a:r>
              <a:rPr kumimoji="0" lang="fr-FR" sz="1667" b="0" i="0" u="none" strike="noStrike" cap="none" normalizeH="0" baseline="0" noProof="0" dirty="0">
                <a:ln>
                  <a:noFill/>
                </a:ln>
                <a:solidFill>
                  <a:srgbClr val="FFFFFF"/>
                </a:solidFill>
                <a:effectLst/>
                <a:uLnTx/>
                <a:uFillTx/>
                <a:latin typeface="HK Grotesk Medium"/>
                <a:ea typeface="+mn-ea"/>
                <a:cs typeface="+mn-cs"/>
              </a:rPr>
              <a:t>Soutien juridique et représentation</a:t>
            </a:r>
          </a:p>
          <a:p>
            <a:pPr marL="0" marR="0" lvl="0" indent="0" algn="l" defTabSz="609630" rtl="0" eaLnBrk="1" fontAlgn="auto" latinLnBrk="0" hangingPunct="1">
              <a:lnSpc>
                <a:spcPts val="2333"/>
              </a:lnSpc>
              <a:spcBef>
                <a:spcPts val="0"/>
              </a:spcBef>
              <a:spcAft>
                <a:spcPts val="0"/>
              </a:spcAft>
              <a:buClrTx/>
              <a:buSzTx/>
              <a:buFontTx/>
              <a:buNone/>
              <a:tabLst/>
              <a:defRPr/>
            </a:pPr>
            <a:r>
              <a:rPr kumimoji="0" lang="fr-FR" sz="1666" b="0" i="0" u="none" strike="noStrike" cap="none" normalizeH="0" baseline="0" noProof="0" dirty="0">
                <a:ln>
                  <a:noFill/>
                </a:ln>
                <a:solidFill>
                  <a:srgbClr val="FFFFFF"/>
                </a:solidFill>
                <a:effectLst/>
                <a:uLnTx/>
                <a:uFillTx/>
                <a:latin typeface="HK Grotesk Medium"/>
                <a:ea typeface="+mn-ea"/>
                <a:cs typeface="+mn-cs"/>
              </a:rPr>
              <a:t>Procédures forensiques</a:t>
            </a:r>
          </a:p>
          <a:p>
            <a:pPr marL="0" marR="0" lvl="0" indent="0" algn="l" defTabSz="609630" rtl="0" eaLnBrk="1" fontAlgn="auto" latinLnBrk="0" hangingPunct="1">
              <a:lnSpc>
                <a:spcPts val="2333"/>
              </a:lnSpc>
              <a:spcBef>
                <a:spcPts val="0"/>
              </a:spcBef>
              <a:spcAft>
                <a:spcPts val="0"/>
              </a:spcAft>
              <a:buClrTx/>
              <a:buSzTx/>
              <a:buFontTx/>
              <a:buNone/>
              <a:tabLst/>
              <a:defRPr/>
            </a:pPr>
            <a:r>
              <a:rPr kumimoji="0" lang="fr-FR" sz="1666" b="0" i="0" u="none" strike="noStrike" cap="none" normalizeH="0" baseline="0" noProof="0" dirty="0">
                <a:ln>
                  <a:noFill/>
                </a:ln>
                <a:solidFill>
                  <a:srgbClr val="FFFFFF"/>
                </a:solidFill>
                <a:effectLst/>
                <a:uLnTx/>
                <a:uFillTx/>
                <a:latin typeface="HK Grotesk Medium"/>
                <a:ea typeface="+mn-ea"/>
                <a:cs typeface="+mn-cs"/>
              </a:rPr>
              <a:t>Sanction des auteurs de violences sexuelles</a:t>
            </a:r>
          </a:p>
        </p:txBody>
      </p:sp>
      <p:grpSp>
        <p:nvGrpSpPr>
          <p:cNvPr id="47" name="Group 47"/>
          <p:cNvGrpSpPr/>
          <p:nvPr/>
        </p:nvGrpSpPr>
        <p:grpSpPr>
          <a:xfrm>
            <a:off x="10362072" y="4795589"/>
            <a:ext cx="101600" cy="101600"/>
            <a:chOff x="0" y="0"/>
            <a:chExt cx="1913890" cy="1913890"/>
          </a:xfrm>
        </p:grpSpPr>
        <p:sp>
          <p:nvSpPr>
            <p:cNvPr id="48" name="Freeform 48"/>
            <p:cNvSpPr/>
            <p:nvPr/>
          </p:nvSpPr>
          <p:spPr>
            <a:xfrm>
              <a:off x="0" y="0"/>
              <a:ext cx="1913890" cy="1913890"/>
            </a:xfrm>
            <a:custGeom>
              <a:avLst/>
              <a:gdLst/>
              <a:ahLst/>
              <a:cxnLst/>
              <a:rect l="l" t="t" r="r" b="b"/>
              <a:pathLst>
                <a:path w="1913890" h="1913890">
                  <a:moveTo>
                    <a:pt x="0" y="0"/>
                  </a:moveTo>
                  <a:lnTo>
                    <a:pt x="1913890" y="0"/>
                  </a:lnTo>
                  <a:lnTo>
                    <a:pt x="1913890" y="1913890"/>
                  </a:lnTo>
                  <a:lnTo>
                    <a:pt x="0" y="1913890"/>
                  </a:lnTo>
                  <a:close/>
                </a:path>
              </a:pathLst>
            </a:custGeom>
            <a:solidFill>
              <a:srgbClr val="A6CDB6"/>
            </a:solidFill>
          </p:spPr>
        </p:sp>
      </p:grpSp>
      <p:sp>
        <p:nvSpPr>
          <p:cNvPr id="49" name="TextBox 49"/>
          <p:cNvSpPr txBox="1"/>
          <p:nvPr/>
        </p:nvSpPr>
        <p:spPr>
          <a:xfrm>
            <a:off x="10523377" y="4732867"/>
            <a:ext cx="1425462" cy="1591333"/>
          </a:xfrm>
          <a:prstGeom prst="rect">
            <a:avLst/>
          </a:prstGeom>
        </p:spPr>
        <p:txBody>
          <a:bodyPr lIns="0" tIns="0" rIns="0" bIns="0" rtlCol="0" anchor="t">
            <a:spAutoFit/>
          </a:bodyPr>
          <a:lstStyle/>
          <a:p>
            <a:pPr marL="0" marR="0" lvl="0" indent="0" algn="l" defTabSz="609630" rtl="0" eaLnBrk="1" fontAlgn="auto" latinLnBrk="0" hangingPunct="1">
              <a:lnSpc>
                <a:spcPts val="2053"/>
              </a:lnSpc>
              <a:spcBef>
                <a:spcPts val="0"/>
              </a:spcBef>
              <a:spcAft>
                <a:spcPts val="0"/>
              </a:spcAft>
              <a:buClrTx/>
              <a:buSzTx/>
              <a:buFontTx/>
              <a:buNone/>
              <a:tabLst/>
              <a:defRPr/>
            </a:pPr>
            <a:r>
              <a:rPr kumimoji="0" lang="fr-FR" sz="1467" b="0" i="0" u="none" strike="noStrike" cap="none" normalizeH="0" baseline="0" noProof="0" dirty="0">
                <a:ln>
                  <a:noFill/>
                </a:ln>
                <a:solidFill>
                  <a:srgbClr val="FFFFFF"/>
                </a:solidFill>
                <a:effectLst/>
                <a:uLnTx/>
                <a:uFillTx/>
                <a:latin typeface="HK Grotesk Medium"/>
                <a:ea typeface="+mn-ea"/>
                <a:cs typeface="+mn-cs"/>
              </a:rPr>
              <a:t>Généralement non prises en charge par le CICR</a:t>
            </a:r>
          </a:p>
          <a:p>
            <a:pPr marL="0" marR="0" lvl="0" indent="0" algn="l" defTabSz="609630" rtl="0" eaLnBrk="1" fontAlgn="auto" latinLnBrk="0" hangingPunct="1">
              <a:lnSpc>
                <a:spcPts val="2053"/>
              </a:lnSpc>
              <a:spcBef>
                <a:spcPts val="0"/>
              </a:spcBef>
              <a:spcAft>
                <a:spcPts val="0"/>
              </a:spcAft>
              <a:buClrTx/>
              <a:buSzTx/>
              <a:buFontTx/>
              <a:buNone/>
              <a:tabLst/>
              <a:defRPr/>
            </a:pPr>
            <a:endParaRPr kumimoji="0" lang="en-US" sz="1467" b="0" i="0" u="none" strike="noStrike" kern="1200" cap="none" spc="0" normalizeH="0" baseline="0" noProof="0" dirty="0">
              <a:ln>
                <a:noFill/>
              </a:ln>
              <a:solidFill>
                <a:srgbClr val="FFFFFF"/>
              </a:solidFill>
              <a:effectLst/>
              <a:uLnTx/>
              <a:uFillTx/>
              <a:latin typeface="HK Grotesk Medium"/>
              <a:ea typeface="+mn-ea"/>
              <a:cs typeface="+mn-cs"/>
            </a:endParaRPr>
          </a:p>
          <a:p>
            <a:pPr marL="0" marR="0" lvl="0" indent="0" algn="l" defTabSz="609630" rtl="0" eaLnBrk="1" fontAlgn="auto" latinLnBrk="0" hangingPunct="1">
              <a:lnSpc>
                <a:spcPts val="2053"/>
              </a:lnSpc>
              <a:spcBef>
                <a:spcPts val="0"/>
              </a:spcBef>
              <a:spcAft>
                <a:spcPts val="0"/>
              </a:spcAft>
              <a:buClrTx/>
              <a:buSzTx/>
              <a:buFontTx/>
              <a:buNone/>
              <a:tabLst/>
              <a:defRPr/>
            </a:pPr>
            <a:r>
              <a:rPr kumimoji="0" lang="fr-FR" sz="1467" b="0" i="0" u="none" strike="noStrike" cap="none" normalizeH="0" baseline="0" noProof="0" dirty="0">
                <a:ln>
                  <a:noFill/>
                </a:ln>
                <a:solidFill>
                  <a:srgbClr val="FFFFFF"/>
                </a:solidFill>
                <a:effectLst/>
                <a:uLnTx/>
                <a:uFillTx/>
                <a:latin typeface="HK Grotesk Medium"/>
                <a:ea typeface="+mn-ea"/>
                <a:cs typeface="+mn-cs"/>
              </a:rPr>
              <a:t>En dehors du mandat du CICR</a:t>
            </a:r>
          </a:p>
        </p:txBody>
      </p:sp>
      <p:pic>
        <p:nvPicPr>
          <p:cNvPr id="50" name="Picture 50"/>
          <p:cNvPicPr>
            <a:picLocks noChangeAspect="1"/>
          </p:cNvPicPr>
          <p:nvPr/>
        </p:nvPicPr>
        <p:blipFill>
          <a:blip r:embed="rId4"/>
          <a:srcRect/>
          <a:stretch>
            <a:fillRect/>
          </a:stretch>
        </p:blipFill>
        <p:spPr>
          <a:xfrm>
            <a:off x="10349069" y="5612227"/>
            <a:ext cx="127607" cy="176341"/>
          </a:xfrm>
          <a:prstGeom prst="rect">
            <a:avLst/>
          </a:prstGeom>
        </p:spPr>
      </p:pic>
      <p:sp>
        <p:nvSpPr>
          <p:cNvPr id="24" name="TextBox 23">
            <a:extLst>
              <a:ext uri="{FF2B5EF4-FFF2-40B4-BE49-F238E27FC236}">
                <a16:creationId xmlns:a16="http://schemas.microsoft.com/office/drawing/2014/main" id="{3D689A1C-0D27-46D9-A9B9-5937666E304D}"/>
              </a:ext>
            </a:extLst>
          </p:cNvPr>
          <p:cNvSpPr txBox="1"/>
          <p:nvPr/>
        </p:nvSpPr>
        <p:spPr>
          <a:xfrm flipH="1">
            <a:off x="7504636" y="4557879"/>
            <a:ext cx="2595220" cy="60542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67" b="1" i="0" u="none" strike="noStrike" cap="none" normalizeH="0" baseline="0" noProof="0" dirty="0">
                <a:ln>
                  <a:noFill/>
                </a:ln>
                <a:solidFill>
                  <a:srgbClr val="FFFFFF"/>
                </a:solidFill>
                <a:effectLst/>
                <a:uLnTx/>
                <a:uFillTx/>
                <a:latin typeface="HK Grotesk Medium"/>
                <a:ea typeface="+mn-ea"/>
                <a:cs typeface="+mn-cs"/>
              </a:rPr>
              <a:t>Justi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67" b="0" i="0" u="none" strike="noStrike" cap="none" normalizeH="0" baseline="0" noProof="0" dirty="0">
                <a:ln>
                  <a:noFill/>
                </a:ln>
                <a:solidFill>
                  <a:srgbClr val="FFFFFF"/>
                </a:solidFill>
                <a:effectLst/>
                <a:uLnTx/>
                <a:uFillTx/>
                <a:latin typeface="HK Grotesk Medium"/>
                <a:ea typeface="+mn-ea"/>
                <a:cs typeface="+mn-cs"/>
                <a:sym typeface="Symbol" panose="05050102010706020507" pitchFamily="18" charset="2"/>
              </a:rPr>
              <a:t> « Orientation juridique »</a:t>
            </a:r>
          </a:p>
        </p:txBody>
      </p:sp>
    </p:spTree>
    <p:extLst>
      <p:ext uri="{BB962C8B-B14F-4D97-AF65-F5344CB8AC3E}">
        <p14:creationId xmlns:p14="http://schemas.microsoft.com/office/powerpoint/2010/main" val="100532900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E26A40F3-0912-4236-B3BE-B089DD552CA9}"/>
              </a:ext>
            </a:extLst>
          </p:cNvPr>
          <p:cNvSpPr txBox="1"/>
          <p:nvPr/>
        </p:nvSpPr>
        <p:spPr>
          <a:xfrm>
            <a:off x="83492" y="5079184"/>
            <a:ext cx="461665" cy="1493294"/>
          </a:xfrm>
          <a:prstGeom prst="rect">
            <a:avLst/>
          </a:prstGeom>
          <a:noFill/>
        </p:spPr>
        <p:txBody>
          <a:bodyPr vert="vert270" wrap="none" rtlCol="0">
            <a:spAutoFit/>
          </a:bodyPr>
          <a:lstStyle/>
          <a:p>
            <a:r>
              <a:rPr lang="fr-FR" dirty="0">
                <a:solidFill>
                  <a:schemeClr val="bg1"/>
                </a:solidFill>
              </a:rPr>
              <a:t>Cours H.E.L.P. </a:t>
            </a:r>
          </a:p>
        </p:txBody>
      </p:sp>
      <p:pic>
        <p:nvPicPr>
          <p:cNvPr id="8" name="Picture 7">
            <a:extLst>
              <a:ext uri="{FF2B5EF4-FFF2-40B4-BE49-F238E27FC236}">
                <a16:creationId xmlns:a16="http://schemas.microsoft.com/office/drawing/2014/main" id="{8533701E-E19F-4E49-86E5-9E41C05CC320}"/>
              </a:ext>
            </a:extLst>
          </p:cNvPr>
          <p:cNvPicPr>
            <a:picLocks noChangeAspect="1"/>
          </p:cNvPicPr>
          <p:nvPr/>
        </p:nvPicPr>
        <p:blipFill rotWithShape="1">
          <a:blip r:embed="rId2">
            <a:biLevel thresh="50000"/>
          </a:blip>
          <a:srcRect t="6971" b="17391"/>
          <a:stretch/>
        </p:blipFill>
        <p:spPr>
          <a:xfrm>
            <a:off x="1001486" y="1059997"/>
            <a:ext cx="2903063" cy="2407788"/>
          </a:xfrm>
          <a:prstGeom prst="rect">
            <a:avLst/>
          </a:prstGeom>
          <a:solidFill>
            <a:schemeClr val="accent6">
              <a:lumMod val="60000"/>
              <a:lumOff val="40000"/>
            </a:schemeClr>
          </a:solidFill>
        </p:spPr>
      </p:pic>
      <p:pic>
        <p:nvPicPr>
          <p:cNvPr id="13" name="Picture 12">
            <a:extLst>
              <a:ext uri="{FF2B5EF4-FFF2-40B4-BE49-F238E27FC236}">
                <a16:creationId xmlns:a16="http://schemas.microsoft.com/office/drawing/2014/main" id="{49BD83C7-D375-447A-B670-C59AB7C2C04D}"/>
              </a:ext>
            </a:extLst>
          </p:cNvPr>
          <p:cNvPicPr>
            <a:picLocks noChangeAspect="1"/>
          </p:cNvPicPr>
          <p:nvPr/>
        </p:nvPicPr>
        <p:blipFill>
          <a:blip r:embed="rId3" cstate="print">
            <a:biLevel thresh="75000"/>
            <a:extLst>
              <a:ext uri="{28A0092B-C50C-407E-A947-70E740481C1C}">
                <a14:useLocalDpi xmlns:a14="http://schemas.microsoft.com/office/drawing/2010/main" val="0"/>
              </a:ext>
            </a:extLst>
          </a:blip>
          <a:stretch>
            <a:fillRect/>
          </a:stretch>
        </p:blipFill>
        <p:spPr>
          <a:xfrm>
            <a:off x="9031763" y="1208445"/>
            <a:ext cx="1002337" cy="1002337"/>
          </a:xfrm>
          <a:prstGeom prst="rect">
            <a:avLst/>
          </a:prstGeom>
        </p:spPr>
      </p:pic>
      <p:pic>
        <p:nvPicPr>
          <p:cNvPr id="14" name="Picture 13">
            <a:extLst>
              <a:ext uri="{FF2B5EF4-FFF2-40B4-BE49-F238E27FC236}">
                <a16:creationId xmlns:a16="http://schemas.microsoft.com/office/drawing/2014/main" id="{4E21FECB-1B0E-4E00-BB6D-4533AFD21F85}"/>
              </a:ext>
            </a:extLst>
          </p:cNvPr>
          <p:cNvPicPr>
            <a:picLocks noChangeAspect="1"/>
          </p:cNvPicPr>
          <p:nvPr/>
        </p:nvPicPr>
        <p:blipFill>
          <a:blip r:embed="rId3" cstate="print">
            <a:biLevel thresh="75000"/>
            <a:extLst>
              <a:ext uri="{28A0092B-C50C-407E-A947-70E740481C1C}">
                <a14:useLocalDpi xmlns:a14="http://schemas.microsoft.com/office/drawing/2010/main" val="0"/>
              </a:ext>
            </a:extLst>
          </a:blip>
          <a:stretch>
            <a:fillRect/>
          </a:stretch>
        </p:blipFill>
        <p:spPr>
          <a:xfrm>
            <a:off x="7947287" y="1612316"/>
            <a:ext cx="949683" cy="949683"/>
          </a:xfrm>
          <a:prstGeom prst="rect">
            <a:avLst/>
          </a:prstGeom>
        </p:spPr>
      </p:pic>
      <p:grpSp>
        <p:nvGrpSpPr>
          <p:cNvPr id="15" name="Group 14">
            <a:extLst>
              <a:ext uri="{FF2B5EF4-FFF2-40B4-BE49-F238E27FC236}">
                <a16:creationId xmlns:a16="http://schemas.microsoft.com/office/drawing/2014/main" id="{569F4BCE-2047-4D4C-A0F2-71E88DB5D322}"/>
              </a:ext>
            </a:extLst>
          </p:cNvPr>
          <p:cNvGrpSpPr/>
          <p:nvPr/>
        </p:nvGrpSpPr>
        <p:grpSpPr>
          <a:xfrm>
            <a:off x="10774439" y="2893107"/>
            <a:ext cx="1231350" cy="2186077"/>
            <a:chOff x="2985738" y="1413935"/>
            <a:chExt cx="2983261" cy="5233392"/>
          </a:xfrm>
          <a:solidFill>
            <a:schemeClr val="accent4">
              <a:lumMod val="40000"/>
              <a:lumOff val="60000"/>
            </a:schemeClr>
          </a:solidFill>
        </p:grpSpPr>
        <p:sp>
          <p:nvSpPr>
            <p:cNvPr id="16" name="Freeform 33">
              <a:extLst>
                <a:ext uri="{FF2B5EF4-FFF2-40B4-BE49-F238E27FC236}">
                  <a16:creationId xmlns:a16="http://schemas.microsoft.com/office/drawing/2014/main" id="{5A5FD769-6CFA-4989-9EE3-E56618B2D415}"/>
                </a:ext>
              </a:extLst>
            </p:cNvPr>
            <p:cNvSpPr/>
            <p:nvPr/>
          </p:nvSpPr>
          <p:spPr>
            <a:xfrm>
              <a:off x="3496731" y="2556189"/>
              <a:ext cx="2257172" cy="2882583"/>
            </a:xfrm>
            <a:custGeom>
              <a:avLst/>
              <a:gdLst>
                <a:gd name="connsiteX0" fmla="*/ 347134 w 2257170"/>
                <a:gd name="connsiteY0" fmla="*/ 51544 h 2882584"/>
                <a:gd name="connsiteX1" fmla="*/ 347134 w 2257170"/>
                <a:gd name="connsiteY1" fmla="*/ 51544 h 2882584"/>
                <a:gd name="connsiteX2" fmla="*/ 287867 w 2257170"/>
                <a:gd name="connsiteY2" fmla="*/ 102344 h 2882584"/>
                <a:gd name="connsiteX3" fmla="*/ 254000 w 2257170"/>
                <a:gd name="connsiteY3" fmla="*/ 161611 h 2882584"/>
                <a:gd name="connsiteX4" fmla="*/ 228600 w 2257170"/>
                <a:gd name="connsiteY4" fmla="*/ 195478 h 2882584"/>
                <a:gd name="connsiteX5" fmla="*/ 194734 w 2257170"/>
                <a:gd name="connsiteY5" fmla="*/ 237811 h 2882584"/>
                <a:gd name="connsiteX6" fmla="*/ 169334 w 2257170"/>
                <a:gd name="connsiteY6" fmla="*/ 280144 h 2882584"/>
                <a:gd name="connsiteX7" fmla="*/ 152400 w 2257170"/>
                <a:gd name="connsiteY7" fmla="*/ 339411 h 2882584"/>
                <a:gd name="connsiteX8" fmla="*/ 143934 w 2257170"/>
                <a:gd name="connsiteY8" fmla="*/ 364811 h 2882584"/>
                <a:gd name="connsiteX9" fmla="*/ 127000 w 2257170"/>
                <a:gd name="connsiteY9" fmla="*/ 398678 h 2882584"/>
                <a:gd name="connsiteX10" fmla="*/ 93134 w 2257170"/>
                <a:gd name="connsiteY10" fmla="*/ 500278 h 2882584"/>
                <a:gd name="connsiteX11" fmla="*/ 84667 w 2257170"/>
                <a:gd name="connsiteY11" fmla="*/ 618811 h 2882584"/>
                <a:gd name="connsiteX12" fmla="*/ 67734 w 2257170"/>
                <a:gd name="connsiteY12" fmla="*/ 703478 h 2882584"/>
                <a:gd name="connsiteX13" fmla="*/ 50800 w 2257170"/>
                <a:gd name="connsiteY13" fmla="*/ 788144 h 2882584"/>
                <a:gd name="connsiteX14" fmla="*/ 42334 w 2257170"/>
                <a:gd name="connsiteY14" fmla="*/ 906678 h 2882584"/>
                <a:gd name="connsiteX15" fmla="*/ 33867 w 2257170"/>
                <a:gd name="connsiteY15" fmla="*/ 932078 h 2882584"/>
                <a:gd name="connsiteX16" fmla="*/ 16934 w 2257170"/>
                <a:gd name="connsiteY16" fmla="*/ 1084478 h 2882584"/>
                <a:gd name="connsiteX17" fmla="*/ 8467 w 2257170"/>
                <a:gd name="connsiteY17" fmla="*/ 1219944 h 2882584"/>
                <a:gd name="connsiteX18" fmla="*/ 0 w 2257170"/>
                <a:gd name="connsiteY18" fmla="*/ 1313078 h 2882584"/>
                <a:gd name="connsiteX19" fmla="*/ 8467 w 2257170"/>
                <a:gd name="connsiteY19" fmla="*/ 2066611 h 2882584"/>
                <a:gd name="connsiteX20" fmla="*/ 16934 w 2257170"/>
                <a:gd name="connsiteY20" fmla="*/ 2379878 h 2882584"/>
                <a:gd name="connsiteX21" fmla="*/ 33867 w 2257170"/>
                <a:gd name="connsiteY21" fmla="*/ 2583078 h 2882584"/>
                <a:gd name="connsiteX22" fmla="*/ 42334 w 2257170"/>
                <a:gd name="connsiteY22" fmla="*/ 2820144 h 2882584"/>
                <a:gd name="connsiteX23" fmla="*/ 50800 w 2257170"/>
                <a:gd name="connsiteY23" fmla="*/ 2879411 h 2882584"/>
                <a:gd name="connsiteX24" fmla="*/ 93134 w 2257170"/>
                <a:gd name="connsiteY24" fmla="*/ 2870944 h 2882584"/>
                <a:gd name="connsiteX25" fmla="*/ 254000 w 2257170"/>
                <a:gd name="connsiteY25" fmla="*/ 2862478 h 2882584"/>
                <a:gd name="connsiteX26" fmla="*/ 524934 w 2257170"/>
                <a:gd name="connsiteY26" fmla="*/ 2854011 h 2882584"/>
                <a:gd name="connsiteX27" fmla="*/ 2159000 w 2257170"/>
                <a:gd name="connsiteY27" fmla="*/ 2862478 h 2882584"/>
                <a:gd name="connsiteX28" fmla="*/ 2235200 w 2257170"/>
                <a:gd name="connsiteY28" fmla="*/ 2862478 h 2882584"/>
                <a:gd name="connsiteX29" fmla="*/ 2235200 w 2257170"/>
                <a:gd name="connsiteY29" fmla="*/ 2447611 h 2882584"/>
                <a:gd name="connsiteX30" fmla="*/ 2218267 w 2257170"/>
                <a:gd name="connsiteY30" fmla="*/ 2346011 h 2882584"/>
                <a:gd name="connsiteX31" fmla="*/ 2209800 w 2257170"/>
                <a:gd name="connsiteY31" fmla="*/ 2125878 h 2882584"/>
                <a:gd name="connsiteX32" fmla="*/ 2201334 w 2257170"/>
                <a:gd name="connsiteY32" fmla="*/ 2083544 h 2882584"/>
                <a:gd name="connsiteX33" fmla="*/ 2192867 w 2257170"/>
                <a:gd name="connsiteY33" fmla="*/ 2007344 h 2882584"/>
                <a:gd name="connsiteX34" fmla="*/ 2167467 w 2257170"/>
                <a:gd name="connsiteY34" fmla="*/ 1854944 h 2882584"/>
                <a:gd name="connsiteX35" fmla="*/ 2159000 w 2257170"/>
                <a:gd name="connsiteY35" fmla="*/ 1727944 h 2882584"/>
                <a:gd name="connsiteX36" fmla="*/ 2150534 w 2257170"/>
                <a:gd name="connsiteY36" fmla="*/ 1694078 h 2882584"/>
                <a:gd name="connsiteX37" fmla="*/ 2142067 w 2257170"/>
                <a:gd name="connsiteY37" fmla="*/ 1617878 h 2882584"/>
                <a:gd name="connsiteX38" fmla="*/ 2125134 w 2257170"/>
                <a:gd name="connsiteY38" fmla="*/ 1423144 h 2882584"/>
                <a:gd name="connsiteX39" fmla="*/ 2099734 w 2257170"/>
                <a:gd name="connsiteY39" fmla="*/ 1338478 h 2882584"/>
                <a:gd name="connsiteX40" fmla="*/ 2065867 w 2257170"/>
                <a:gd name="connsiteY40" fmla="*/ 1245344 h 2882584"/>
                <a:gd name="connsiteX41" fmla="*/ 2057400 w 2257170"/>
                <a:gd name="connsiteY41" fmla="*/ 1177611 h 2882584"/>
                <a:gd name="connsiteX42" fmla="*/ 2048934 w 2257170"/>
                <a:gd name="connsiteY42" fmla="*/ 1118344 h 2882584"/>
                <a:gd name="connsiteX43" fmla="*/ 2032000 w 2257170"/>
                <a:gd name="connsiteY43" fmla="*/ 974411 h 2882584"/>
                <a:gd name="connsiteX44" fmla="*/ 2006600 w 2257170"/>
                <a:gd name="connsiteY44" fmla="*/ 796611 h 2882584"/>
                <a:gd name="connsiteX45" fmla="*/ 1964267 w 2257170"/>
                <a:gd name="connsiteY45" fmla="*/ 686544 h 2882584"/>
                <a:gd name="connsiteX46" fmla="*/ 1947334 w 2257170"/>
                <a:gd name="connsiteY46" fmla="*/ 661144 h 2882584"/>
                <a:gd name="connsiteX47" fmla="*/ 1905000 w 2257170"/>
                <a:gd name="connsiteY47" fmla="*/ 568011 h 2882584"/>
                <a:gd name="connsiteX48" fmla="*/ 1896534 w 2257170"/>
                <a:gd name="connsiteY48" fmla="*/ 517211 h 2882584"/>
                <a:gd name="connsiteX49" fmla="*/ 1879600 w 2257170"/>
                <a:gd name="connsiteY49" fmla="*/ 474878 h 2882584"/>
                <a:gd name="connsiteX50" fmla="*/ 1854200 w 2257170"/>
                <a:gd name="connsiteY50" fmla="*/ 424078 h 2882584"/>
                <a:gd name="connsiteX51" fmla="*/ 1828800 w 2257170"/>
                <a:gd name="connsiteY51" fmla="*/ 381744 h 2882584"/>
                <a:gd name="connsiteX52" fmla="*/ 1803400 w 2257170"/>
                <a:gd name="connsiteY52" fmla="*/ 330944 h 2882584"/>
                <a:gd name="connsiteX53" fmla="*/ 1778000 w 2257170"/>
                <a:gd name="connsiteY53" fmla="*/ 297078 h 2882584"/>
                <a:gd name="connsiteX54" fmla="*/ 1761067 w 2257170"/>
                <a:gd name="connsiteY54" fmla="*/ 263211 h 2882584"/>
                <a:gd name="connsiteX55" fmla="*/ 1718734 w 2257170"/>
                <a:gd name="connsiteY55" fmla="*/ 203944 h 2882584"/>
                <a:gd name="connsiteX56" fmla="*/ 1684867 w 2257170"/>
                <a:gd name="connsiteY56" fmla="*/ 144678 h 2882584"/>
                <a:gd name="connsiteX57" fmla="*/ 1667934 w 2257170"/>
                <a:gd name="connsiteY57" fmla="*/ 93878 h 2882584"/>
                <a:gd name="connsiteX58" fmla="*/ 1651000 w 2257170"/>
                <a:gd name="connsiteY58" fmla="*/ 68478 h 2882584"/>
                <a:gd name="connsiteX59" fmla="*/ 1600200 w 2257170"/>
                <a:gd name="connsiteY59" fmla="*/ 26144 h 2882584"/>
                <a:gd name="connsiteX60" fmla="*/ 1574800 w 2257170"/>
                <a:gd name="connsiteY60" fmla="*/ 9211 h 2882584"/>
                <a:gd name="connsiteX61" fmla="*/ 1507067 w 2257170"/>
                <a:gd name="connsiteY61" fmla="*/ 744 h 2882584"/>
                <a:gd name="connsiteX62" fmla="*/ 1507067 w 2257170"/>
                <a:gd name="connsiteY62" fmla="*/ 744 h 2882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257170" h="2882584">
                  <a:moveTo>
                    <a:pt x="347134" y="51544"/>
                  </a:moveTo>
                  <a:lnTo>
                    <a:pt x="347134" y="51544"/>
                  </a:lnTo>
                  <a:cubicBezTo>
                    <a:pt x="327378" y="68477"/>
                    <a:pt x="306266" y="83945"/>
                    <a:pt x="287867" y="102344"/>
                  </a:cubicBezTo>
                  <a:cubicBezTo>
                    <a:pt x="272333" y="117878"/>
                    <a:pt x="265065" y="143907"/>
                    <a:pt x="254000" y="161611"/>
                  </a:cubicBezTo>
                  <a:cubicBezTo>
                    <a:pt x="246521" y="173577"/>
                    <a:pt x="237067" y="184189"/>
                    <a:pt x="228600" y="195478"/>
                  </a:cubicBezTo>
                  <a:cubicBezTo>
                    <a:pt x="209066" y="254086"/>
                    <a:pt x="236511" y="189072"/>
                    <a:pt x="194734" y="237811"/>
                  </a:cubicBezTo>
                  <a:cubicBezTo>
                    <a:pt x="184024" y="250305"/>
                    <a:pt x="177801" y="266033"/>
                    <a:pt x="169334" y="280144"/>
                  </a:cubicBezTo>
                  <a:cubicBezTo>
                    <a:pt x="163689" y="299900"/>
                    <a:pt x="158304" y="319731"/>
                    <a:pt x="152400" y="339411"/>
                  </a:cubicBezTo>
                  <a:cubicBezTo>
                    <a:pt x="149836" y="347959"/>
                    <a:pt x="147450" y="356608"/>
                    <a:pt x="143934" y="364811"/>
                  </a:cubicBezTo>
                  <a:cubicBezTo>
                    <a:pt x="138962" y="376412"/>
                    <a:pt x="131432" y="386860"/>
                    <a:pt x="127000" y="398678"/>
                  </a:cubicBezTo>
                  <a:cubicBezTo>
                    <a:pt x="114465" y="432104"/>
                    <a:pt x="93134" y="500278"/>
                    <a:pt x="93134" y="500278"/>
                  </a:cubicBezTo>
                  <a:cubicBezTo>
                    <a:pt x="90312" y="539789"/>
                    <a:pt x="88609" y="579396"/>
                    <a:pt x="84667" y="618811"/>
                  </a:cubicBezTo>
                  <a:cubicBezTo>
                    <a:pt x="79744" y="668035"/>
                    <a:pt x="76664" y="661805"/>
                    <a:pt x="67734" y="703478"/>
                  </a:cubicBezTo>
                  <a:cubicBezTo>
                    <a:pt x="61704" y="731620"/>
                    <a:pt x="50800" y="788144"/>
                    <a:pt x="50800" y="788144"/>
                  </a:cubicBezTo>
                  <a:cubicBezTo>
                    <a:pt x="47978" y="827655"/>
                    <a:pt x="46962" y="867337"/>
                    <a:pt x="42334" y="906678"/>
                  </a:cubicBezTo>
                  <a:cubicBezTo>
                    <a:pt x="41291" y="915542"/>
                    <a:pt x="34910" y="923214"/>
                    <a:pt x="33867" y="932078"/>
                  </a:cubicBezTo>
                  <a:cubicBezTo>
                    <a:pt x="13208" y="1107675"/>
                    <a:pt x="38345" y="998828"/>
                    <a:pt x="16934" y="1084478"/>
                  </a:cubicBezTo>
                  <a:cubicBezTo>
                    <a:pt x="14112" y="1129633"/>
                    <a:pt x="11809" y="1174824"/>
                    <a:pt x="8467" y="1219944"/>
                  </a:cubicBezTo>
                  <a:cubicBezTo>
                    <a:pt x="6164" y="1251032"/>
                    <a:pt x="0" y="1281905"/>
                    <a:pt x="0" y="1313078"/>
                  </a:cubicBezTo>
                  <a:cubicBezTo>
                    <a:pt x="0" y="1564272"/>
                    <a:pt x="4480" y="1815449"/>
                    <a:pt x="8467" y="2066611"/>
                  </a:cubicBezTo>
                  <a:cubicBezTo>
                    <a:pt x="10125" y="2171058"/>
                    <a:pt x="12759" y="2275501"/>
                    <a:pt x="16934" y="2379878"/>
                  </a:cubicBezTo>
                  <a:cubicBezTo>
                    <a:pt x="18486" y="2418675"/>
                    <a:pt x="29951" y="2540004"/>
                    <a:pt x="33867" y="2583078"/>
                  </a:cubicBezTo>
                  <a:cubicBezTo>
                    <a:pt x="36689" y="2662100"/>
                    <a:pt x="37823" y="2741200"/>
                    <a:pt x="42334" y="2820144"/>
                  </a:cubicBezTo>
                  <a:cubicBezTo>
                    <a:pt x="43472" y="2840068"/>
                    <a:pt x="36689" y="2865300"/>
                    <a:pt x="50800" y="2879411"/>
                  </a:cubicBezTo>
                  <a:cubicBezTo>
                    <a:pt x="60976" y="2889587"/>
                    <a:pt x="78793" y="2872139"/>
                    <a:pt x="93134" y="2870944"/>
                  </a:cubicBezTo>
                  <a:cubicBezTo>
                    <a:pt x="146645" y="2866485"/>
                    <a:pt x="200345" y="2864582"/>
                    <a:pt x="254000" y="2862478"/>
                  </a:cubicBezTo>
                  <a:lnTo>
                    <a:pt x="524934" y="2854011"/>
                  </a:lnTo>
                  <a:lnTo>
                    <a:pt x="2159000" y="2862478"/>
                  </a:lnTo>
                  <a:cubicBezTo>
                    <a:pt x="2276843" y="2863680"/>
                    <a:pt x="2029105" y="2896824"/>
                    <a:pt x="2235200" y="2862478"/>
                  </a:cubicBezTo>
                  <a:cubicBezTo>
                    <a:pt x="2273574" y="2708987"/>
                    <a:pt x="2253789" y="2800794"/>
                    <a:pt x="2235200" y="2447611"/>
                  </a:cubicBezTo>
                  <a:cubicBezTo>
                    <a:pt x="2233395" y="2413325"/>
                    <a:pt x="2218267" y="2346011"/>
                    <a:pt x="2218267" y="2346011"/>
                  </a:cubicBezTo>
                  <a:cubicBezTo>
                    <a:pt x="2215445" y="2272633"/>
                    <a:pt x="2214528" y="2199158"/>
                    <a:pt x="2209800" y="2125878"/>
                  </a:cubicBezTo>
                  <a:cubicBezTo>
                    <a:pt x="2208874" y="2111517"/>
                    <a:pt x="2203369" y="2097790"/>
                    <a:pt x="2201334" y="2083544"/>
                  </a:cubicBezTo>
                  <a:cubicBezTo>
                    <a:pt x="2197720" y="2058245"/>
                    <a:pt x="2196612" y="2032624"/>
                    <a:pt x="2192867" y="2007344"/>
                  </a:cubicBezTo>
                  <a:cubicBezTo>
                    <a:pt x="2185320" y="1956399"/>
                    <a:pt x="2167467" y="1854944"/>
                    <a:pt x="2167467" y="1854944"/>
                  </a:cubicBezTo>
                  <a:cubicBezTo>
                    <a:pt x="2164645" y="1812611"/>
                    <a:pt x="2163441" y="1770138"/>
                    <a:pt x="2159000" y="1727944"/>
                  </a:cubicBezTo>
                  <a:cubicBezTo>
                    <a:pt x="2157782" y="1716372"/>
                    <a:pt x="2152303" y="1705579"/>
                    <a:pt x="2150534" y="1694078"/>
                  </a:cubicBezTo>
                  <a:cubicBezTo>
                    <a:pt x="2146648" y="1668819"/>
                    <a:pt x="2144452" y="1643323"/>
                    <a:pt x="2142067" y="1617878"/>
                  </a:cubicBezTo>
                  <a:cubicBezTo>
                    <a:pt x="2135985" y="1553006"/>
                    <a:pt x="2132075" y="1487929"/>
                    <a:pt x="2125134" y="1423144"/>
                  </a:cubicBezTo>
                  <a:cubicBezTo>
                    <a:pt x="2119854" y="1373866"/>
                    <a:pt x="2115497" y="1385768"/>
                    <a:pt x="2099734" y="1338478"/>
                  </a:cubicBezTo>
                  <a:cubicBezTo>
                    <a:pt x="2069133" y="1246675"/>
                    <a:pt x="2098254" y="1310120"/>
                    <a:pt x="2065867" y="1245344"/>
                  </a:cubicBezTo>
                  <a:cubicBezTo>
                    <a:pt x="2063045" y="1222766"/>
                    <a:pt x="2060407" y="1200165"/>
                    <a:pt x="2057400" y="1177611"/>
                  </a:cubicBezTo>
                  <a:cubicBezTo>
                    <a:pt x="2054763" y="1157830"/>
                    <a:pt x="2051409" y="1138146"/>
                    <a:pt x="2048934" y="1118344"/>
                  </a:cubicBezTo>
                  <a:cubicBezTo>
                    <a:pt x="2036389" y="1017979"/>
                    <a:pt x="2045031" y="1068884"/>
                    <a:pt x="2032000" y="974411"/>
                  </a:cubicBezTo>
                  <a:cubicBezTo>
                    <a:pt x="2023820" y="915104"/>
                    <a:pt x="2033374" y="850159"/>
                    <a:pt x="2006600" y="796611"/>
                  </a:cubicBezTo>
                  <a:cubicBezTo>
                    <a:pt x="1931225" y="645861"/>
                    <a:pt x="2030665" y="852542"/>
                    <a:pt x="1964267" y="686544"/>
                  </a:cubicBezTo>
                  <a:cubicBezTo>
                    <a:pt x="1960488" y="677096"/>
                    <a:pt x="1951467" y="670443"/>
                    <a:pt x="1947334" y="661144"/>
                  </a:cubicBezTo>
                  <a:cubicBezTo>
                    <a:pt x="1896736" y="547299"/>
                    <a:pt x="1965822" y="669380"/>
                    <a:pt x="1905000" y="568011"/>
                  </a:cubicBezTo>
                  <a:cubicBezTo>
                    <a:pt x="1902178" y="551078"/>
                    <a:pt x="1901051" y="533773"/>
                    <a:pt x="1896534" y="517211"/>
                  </a:cubicBezTo>
                  <a:cubicBezTo>
                    <a:pt x="1892535" y="502548"/>
                    <a:pt x="1884936" y="489108"/>
                    <a:pt x="1879600" y="474878"/>
                  </a:cubicBezTo>
                  <a:cubicBezTo>
                    <a:pt x="1864576" y="434814"/>
                    <a:pt x="1879893" y="462617"/>
                    <a:pt x="1854200" y="424078"/>
                  </a:cubicBezTo>
                  <a:cubicBezTo>
                    <a:pt x="1832075" y="357697"/>
                    <a:pt x="1862005" y="434871"/>
                    <a:pt x="1828800" y="381744"/>
                  </a:cubicBezTo>
                  <a:cubicBezTo>
                    <a:pt x="1818766" y="365690"/>
                    <a:pt x="1813141" y="347178"/>
                    <a:pt x="1803400" y="330944"/>
                  </a:cubicBezTo>
                  <a:cubicBezTo>
                    <a:pt x="1796140" y="318844"/>
                    <a:pt x="1785479" y="309044"/>
                    <a:pt x="1778000" y="297078"/>
                  </a:cubicBezTo>
                  <a:cubicBezTo>
                    <a:pt x="1771311" y="286375"/>
                    <a:pt x="1767329" y="274170"/>
                    <a:pt x="1761067" y="263211"/>
                  </a:cubicBezTo>
                  <a:cubicBezTo>
                    <a:pt x="1749666" y="243258"/>
                    <a:pt x="1731713" y="222115"/>
                    <a:pt x="1718734" y="203944"/>
                  </a:cubicBezTo>
                  <a:cubicBezTo>
                    <a:pt x="1704847" y="184503"/>
                    <a:pt x="1693888" y="167230"/>
                    <a:pt x="1684867" y="144678"/>
                  </a:cubicBezTo>
                  <a:cubicBezTo>
                    <a:pt x="1678238" y="128105"/>
                    <a:pt x="1677835" y="108729"/>
                    <a:pt x="1667934" y="93878"/>
                  </a:cubicBezTo>
                  <a:cubicBezTo>
                    <a:pt x="1662289" y="85411"/>
                    <a:pt x="1657357" y="76424"/>
                    <a:pt x="1651000" y="68478"/>
                  </a:cubicBezTo>
                  <a:cubicBezTo>
                    <a:pt x="1638163" y="52431"/>
                    <a:pt x="1615574" y="37126"/>
                    <a:pt x="1600200" y="26144"/>
                  </a:cubicBezTo>
                  <a:cubicBezTo>
                    <a:pt x="1591920" y="20230"/>
                    <a:pt x="1583901" y="13762"/>
                    <a:pt x="1574800" y="9211"/>
                  </a:cubicBezTo>
                  <a:cubicBezTo>
                    <a:pt x="1548941" y="-3718"/>
                    <a:pt x="1537884" y="744"/>
                    <a:pt x="1507067" y="744"/>
                  </a:cubicBezTo>
                  <a:lnTo>
                    <a:pt x="1507067" y="744"/>
                  </a:lnTo>
                </a:path>
              </a:pathLst>
            </a:custGeom>
            <a:grp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GB" dirty="0">
                <a:solidFill>
                  <a:prstClr val="white"/>
                </a:solidFill>
              </a:endParaRPr>
            </a:p>
          </p:txBody>
        </p:sp>
        <p:sp>
          <p:nvSpPr>
            <p:cNvPr id="17" name="Oval 16">
              <a:extLst>
                <a:ext uri="{FF2B5EF4-FFF2-40B4-BE49-F238E27FC236}">
                  <a16:creationId xmlns:a16="http://schemas.microsoft.com/office/drawing/2014/main" id="{E2DE5928-4F3C-4ACC-A2E4-6A696E633C01}"/>
                </a:ext>
              </a:extLst>
            </p:cNvPr>
            <p:cNvSpPr/>
            <p:nvPr/>
          </p:nvSpPr>
          <p:spPr>
            <a:xfrm>
              <a:off x="3640666" y="1413935"/>
              <a:ext cx="1515534" cy="1346200"/>
            </a:xfrm>
            <a:prstGeom prst="ellipse">
              <a:avLst/>
            </a:prstGeom>
            <a:grp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GB" dirty="0">
                <a:solidFill>
                  <a:prstClr val="white"/>
                </a:solidFill>
              </a:endParaRPr>
            </a:p>
          </p:txBody>
        </p:sp>
        <p:sp>
          <p:nvSpPr>
            <p:cNvPr id="18" name="Freeform 35">
              <a:extLst>
                <a:ext uri="{FF2B5EF4-FFF2-40B4-BE49-F238E27FC236}">
                  <a16:creationId xmlns:a16="http://schemas.microsoft.com/office/drawing/2014/main" id="{12021820-E9F3-4564-B785-9CD5A670C937}"/>
                </a:ext>
              </a:extLst>
            </p:cNvPr>
            <p:cNvSpPr/>
            <p:nvPr/>
          </p:nvSpPr>
          <p:spPr>
            <a:xfrm>
              <a:off x="2985738" y="3107267"/>
              <a:ext cx="617631" cy="1161158"/>
            </a:xfrm>
            <a:custGeom>
              <a:avLst/>
              <a:gdLst>
                <a:gd name="connsiteX0" fmla="*/ 617631 w 617631"/>
                <a:gd name="connsiteY0" fmla="*/ 0 h 1161158"/>
                <a:gd name="connsiteX1" fmla="*/ 16498 w 617631"/>
                <a:gd name="connsiteY1" fmla="*/ 1092200 h 1161158"/>
                <a:gd name="connsiteX2" fmla="*/ 228165 w 617631"/>
                <a:gd name="connsiteY2" fmla="*/ 956733 h 1161158"/>
              </a:gdLst>
              <a:ahLst/>
              <a:cxnLst>
                <a:cxn ang="0">
                  <a:pos x="connsiteX0" y="connsiteY0"/>
                </a:cxn>
                <a:cxn ang="0">
                  <a:pos x="connsiteX1" y="connsiteY1"/>
                </a:cxn>
                <a:cxn ang="0">
                  <a:pos x="connsiteX2" y="connsiteY2"/>
                </a:cxn>
              </a:cxnLst>
              <a:rect l="l" t="t" r="r" b="b"/>
              <a:pathLst>
                <a:path w="617631" h="1161158">
                  <a:moveTo>
                    <a:pt x="617631" y="0"/>
                  </a:moveTo>
                  <a:cubicBezTo>
                    <a:pt x="349520" y="466372"/>
                    <a:pt x="81409" y="932745"/>
                    <a:pt x="16498" y="1092200"/>
                  </a:cubicBezTo>
                  <a:cubicBezTo>
                    <a:pt x="-48413" y="1251655"/>
                    <a:pt x="89876" y="1104194"/>
                    <a:pt x="228165" y="956733"/>
                  </a:cubicBezTo>
                </a:path>
              </a:pathLst>
            </a:custGeom>
            <a:grp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GB" dirty="0">
                <a:solidFill>
                  <a:prstClr val="white"/>
                </a:solidFill>
              </a:endParaRPr>
            </a:p>
          </p:txBody>
        </p:sp>
        <p:sp>
          <p:nvSpPr>
            <p:cNvPr id="19" name="Freeform 36">
              <a:extLst>
                <a:ext uri="{FF2B5EF4-FFF2-40B4-BE49-F238E27FC236}">
                  <a16:creationId xmlns:a16="http://schemas.microsoft.com/office/drawing/2014/main" id="{34C51D50-B8E2-4F14-AAA5-91FF3F989F35}"/>
                </a:ext>
              </a:extLst>
            </p:cNvPr>
            <p:cNvSpPr/>
            <p:nvPr/>
          </p:nvSpPr>
          <p:spPr>
            <a:xfrm flipH="1">
              <a:off x="5351368" y="3048000"/>
              <a:ext cx="617631" cy="1161158"/>
            </a:xfrm>
            <a:custGeom>
              <a:avLst/>
              <a:gdLst>
                <a:gd name="connsiteX0" fmla="*/ 617631 w 617631"/>
                <a:gd name="connsiteY0" fmla="*/ 0 h 1161158"/>
                <a:gd name="connsiteX1" fmla="*/ 16498 w 617631"/>
                <a:gd name="connsiteY1" fmla="*/ 1092200 h 1161158"/>
                <a:gd name="connsiteX2" fmla="*/ 228165 w 617631"/>
                <a:gd name="connsiteY2" fmla="*/ 956733 h 1161158"/>
              </a:gdLst>
              <a:ahLst/>
              <a:cxnLst>
                <a:cxn ang="0">
                  <a:pos x="connsiteX0" y="connsiteY0"/>
                </a:cxn>
                <a:cxn ang="0">
                  <a:pos x="connsiteX1" y="connsiteY1"/>
                </a:cxn>
                <a:cxn ang="0">
                  <a:pos x="connsiteX2" y="connsiteY2"/>
                </a:cxn>
              </a:cxnLst>
              <a:rect l="l" t="t" r="r" b="b"/>
              <a:pathLst>
                <a:path w="617631" h="1161158">
                  <a:moveTo>
                    <a:pt x="617631" y="0"/>
                  </a:moveTo>
                  <a:cubicBezTo>
                    <a:pt x="349520" y="466372"/>
                    <a:pt x="81409" y="932745"/>
                    <a:pt x="16498" y="1092200"/>
                  </a:cubicBezTo>
                  <a:cubicBezTo>
                    <a:pt x="-48413" y="1251655"/>
                    <a:pt x="89876" y="1104194"/>
                    <a:pt x="228165" y="956733"/>
                  </a:cubicBezTo>
                </a:path>
              </a:pathLst>
            </a:custGeom>
            <a:grp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GB" dirty="0">
                <a:solidFill>
                  <a:prstClr val="white"/>
                </a:solidFill>
              </a:endParaRPr>
            </a:p>
          </p:txBody>
        </p:sp>
        <p:cxnSp>
          <p:nvCxnSpPr>
            <p:cNvPr id="20" name="Straight Connector 19">
              <a:extLst>
                <a:ext uri="{FF2B5EF4-FFF2-40B4-BE49-F238E27FC236}">
                  <a16:creationId xmlns:a16="http://schemas.microsoft.com/office/drawing/2014/main" id="{38C0F804-93FA-483C-82C7-72AFFD82B7AA}"/>
                </a:ext>
              </a:extLst>
            </p:cNvPr>
            <p:cNvCxnSpPr/>
            <p:nvPr/>
          </p:nvCxnSpPr>
          <p:spPr>
            <a:xfrm>
              <a:off x="4301068" y="5419659"/>
              <a:ext cx="16933" cy="1227667"/>
            </a:xfrm>
            <a:prstGeom prst="line">
              <a:avLst/>
            </a:prstGeom>
            <a:grpFill/>
            <a:ln w="571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21" name="Straight Connector 20">
              <a:extLst>
                <a:ext uri="{FF2B5EF4-FFF2-40B4-BE49-F238E27FC236}">
                  <a16:creationId xmlns:a16="http://schemas.microsoft.com/office/drawing/2014/main" id="{1ACC2D5D-8891-494A-B1D8-53B34973E97A}"/>
                </a:ext>
              </a:extLst>
            </p:cNvPr>
            <p:cNvCxnSpPr/>
            <p:nvPr/>
          </p:nvCxnSpPr>
          <p:spPr>
            <a:xfrm>
              <a:off x="5105402" y="5419660"/>
              <a:ext cx="16933" cy="1227667"/>
            </a:xfrm>
            <a:prstGeom prst="line">
              <a:avLst/>
            </a:prstGeom>
            <a:grpFill/>
            <a:ln w="571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cxnSp>
      </p:grpSp>
      <p:sp>
        <p:nvSpPr>
          <p:cNvPr id="22" name="Rectangle 21">
            <a:extLst>
              <a:ext uri="{FF2B5EF4-FFF2-40B4-BE49-F238E27FC236}">
                <a16:creationId xmlns:a16="http://schemas.microsoft.com/office/drawing/2014/main" id="{4F15228C-408F-4FAA-82BD-B2E42539C07C}"/>
              </a:ext>
            </a:extLst>
          </p:cNvPr>
          <p:cNvSpPr/>
          <p:nvPr/>
        </p:nvSpPr>
        <p:spPr>
          <a:xfrm>
            <a:off x="4638391" y="898345"/>
            <a:ext cx="3029277" cy="1631216"/>
          </a:xfrm>
          <a:prstGeom prst="rect">
            <a:avLst/>
          </a:prstGeom>
        </p:spPr>
        <p:txBody>
          <a:bodyPr wrap="square">
            <a:spAutoFit/>
          </a:bodyPr>
          <a:lstStyle/>
          <a:p>
            <a:pPr algn="ctr" fontAlgn="auto">
              <a:spcBef>
                <a:spcPts val="0"/>
              </a:spcBef>
              <a:spcAft>
                <a:spcPts val="0"/>
              </a:spcAft>
            </a:pPr>
            <a:r>
              <a:rPr lang="fr-FR" sz="2000" dirty="0">
                <a:solidFill>
                  <a:prstClr val="black"/>
                </a:solidFill>
              </a:rPr>
              <a:t>Peur d’être identifié, peur des représailles, de la stigmatisation, du rejet, de l’isolement, de la revictimisation, etc.</a:t>
            </a:r>
          </a:p>
        </p:txBody>
      </p:sp>
      <p:sp>
        <p:nvSpPr>
          <p:cNvPr id="24" name="Rectangle 23">
            <a:extLst>
              <a:ext uri="{FF2B5EF4-FFF2-40B4-BE49-F238E27FC236}">
                <a16:creationId xmlns:a16="http://schemas.microsoft.com/office/drawing/2014/main" id="{66666758-0A0C-450E-BD1D-AB5FD7BD5BC1}"/>
              </a:ext>
            </a:extLst>
          </p:cNvPr>
          <p:cNvSpPr/>
          <p:nvPr/>
        </p:nvSpPr>
        <p:spPr>
          <a:xfrm>
            <a:off x="801886" y="4265628"/>
            <a:ext cx="2766870" cy="1015663"/>
          </a:xfrm>
          <a:prstGeom prst="rect">
            <a:avLst/>
          </a:prstGeom>
        </p:spPr>
        <p:txBody>
          <a:bodyPr wrap="square">
            <a:spAutoFit/>
          </a:bodyPr>
          <a:lstStyle/>
          <a:p>
            <a:pPr algn="ctr" fontAlgn="auto">
              <a:spcBef>
                <a:spcPts val="0"/>
              </a:spcBef>
              <a:spcAft>
                <a:spcPts val="0"/>
              </a:spcAft>
            </a:pPr>
            <a:r>
              <a:rPr lang="fr-FR" sz="2000" dirty="0">
                <a:solidFill>
                  <a:prstClr val="black"/>
                </a:solidFill>
              </a:rPr>
              <a:t>Risques pour la sécurité à cause des longs trajets jusqu’aux services de santé</a:t>
            </a:r>
          </a:p>
        </p:txBody>
      </p:sp>
      <p:sp>
        <p:nvSpPr>
          <p:cNvPr id="25" name="Rectangle 24">
            <a:extLst>
              <a:ext uri="{FF2B5EF4-FFF2-40B4-BE49-F238E27FC236}">
                <a16:creationId xmlns:a16="http://schemas.microsoft.com/office/drawing/2014/main" id="{CC3F768B-914D-4130-A087-E42EFD485661}"/>
              </a:ext>
            </a:extLst>
          </p:cNvPr>
          <p:cNvSpPr/>
          <p:nvPr/>
        </p:nvSpPr>
        <p:spPr>
          <a:xfrm>
            <a:off x="7000448" y="5531142"/>
            <a:ext cx="2586594" cy="1323439"/>
          </a:xfrm>
          <a:prstGeom prst="rect">
            <a:avLst/>
          </a:prstGeom>
        </p:spPr>
        <p:txBody>
          <a:bodyPr wrap="square">
            <a:spAutoFit/>
          </a:bodyPr>
          <a:lstStyle/>
          <a:p>
            <a:pPr algn="ctr" fontAlgn="auto">
              <a:spcBef>
                <a:spcPts val="0"/>
              </a:spcBef>
              <a:spcAft>
                <a:spcPts val="0"/>
              </a:spcAft>
            </a:pPr>
            <a:r>
              <a:rPr lang="fr-FR" sz="2000" dirty="0">
                <a:solidFill>
                  <a:prstClr val="black">
                    <a:lumMod val="75000"/>
                    <a:lumOff val="25000"/>
                  </a:prstClr>
                </a:solidFill>
              </a:rPr>
              <a:t>Accès physique insuffisant pour les personnes handicapées </a:t>
            </a:r>
          </a:p>
        </p:txBody>
      </p:sp>
      <p:sp>
        <p:nvSpPr>
          <p:cNvPr id="27" name="Rectangle 26">
            <a:extLst>
              <a:ext uri="{FF2B5EF4-FFF2-40B4-BE49-F238E27FC236}">
                <a16:creationId xmlns:a16="http://schemas.microsoft.com/office/drawing/2014/main" id="{3E9CBDCD-683A-4BCE-8A13-C8FC6BD28A08}"/>
              </a:ext>
            </a:extLst>
          </p:cNvPr>
          <p:cNvSpPr/>
          <p:nvPr/>
        </p:nvSpPr>
        <p:spPr>
          <a:xfrm>
            <a:off x="4383893" y="2472813"/>
            <a:ext cx="2393263" cy="707886"/>
          </a:xfrm>
          <a:prstGeom prst="rect">
            <a:avLst/>
          </a:prstGeom>
        </p:spPr>
        <p:txBody>
          <a:bodyPr wrap="square">
            <a:spAutoFit/>
          </a:bodyPr>
          <a:lstStyle/>
          <a:p>
            <a:pPr algn="ctr" fontAlgn="auto">
              <a:spcBef>
                <a:spcPts val="0"/>
              </a:spcBef>
              <a:spcAft>
                <a:spcPts val="0"/>
              </a:spcAft>
            </a:pPr>
            <a:r>
              <a:rPr lang="fr-FR" sz="2000" dirty="0">
                <a:solidFill>
                  <a:prstClr val="black"/>
                </a:solidFill>
              </a:rPr>
              <a:t>Stigmatisation intériorisée / Honte </a:t>
            </a:r>
          </a:p>
        </p:txBody>
      </p:sp>
      <p:sp>
        <p:nvSpPr>
          <p:cNvPr id="28" name="Rectangle 27">
            <a:extLst>
              <a:ext uri="{FF2B5EF4-FFF2-40B4-BE49-F238E27FC236}">
                <a16:creationId xmlns:a16="http://schemas.microsoft.com/office/drawing/2014/main" id="{F92092BE-D88A-424D-900C-3F4D0588D5EA}"/>
              </a:ext>
            </a:extLst>
          </p:cNvPr>
          <p:cNvSpPr/>
          <p:nvPr/>
        </p:nvSpPr>
        <p:spPr>
          <a:xfrm>
            <a:off x="7522885" y="2672867"/>
            <a:ext cx="2272494" cy="1015663"/>
          </a:xfrm>
          <a:prstGeom prst="rect">
            <a:avLst/>
          </a:prstGeom>
        </p:spPr>
        <p:txBody>
          <a:bodyPr wrap="square">
            <a:spAutoFit/>
          </a:bodyPr>
          <a:lstStyle/>
          <a:p>
            <a:pPr algn="ctr" fontAlgn="auto">
              <a:spcBef>
                <a:spcPts val="0"/>
              </a:spcBef>
              <a:spcAft>
                <a:spcPts val="0"/>
              </a:spcAft>
            </a:pPr>
            <a:r>
              <a:rPr lang="fr-FR" sz="2000" dirty="0">
                <a:solidFill>
                  <a:prstClr val="black"/>
                </a:solidFill>
              </a:rPr>
              <a:t>Transport et/ou soins financièrement inabordables </a:t>
            </a:r>
          </a:p>
        </p:txBody>
      </p:sp>
      <p:sp>
        <p:nvSpPr>
          <p:cNvPr id="30" name="Rectangle 29">
            <a:extLst>
              <a:ext uri="{FF2B5EF4-FFF2-40B4-BE49-F238E27FC236}">
                <a16:creationId xmlns:a16="http://schemas.microsoft.com/office/drawing/2014/main" id="{17BC40B2-30CC-4813-99E0-3E7CA01C32C7}"/>
              </a:ext>
            </a:extLst>
          </p:cNvPr>
          <p:cNvSpPr/>
          <p:nvPr/>
        </p:nvSpPr>
        <p:spPr>
          <a:xfrm>
            <a:off x="8449884" y="4063521"/>
            <a:ext cx="2166096" cy="1015663"/>
          </a:xfrm>
          <a:prstGeom prst="rect">
            <a:avLst/>
          </a:prstGeom>
        </p:spPr>
        <p:txBody>
          <a:bodyPr wrap="square">
            <a:spAutoFit/>
          </a:bodyPr>
          <a:lstStyle/>
          <a:p>
            <a:pPr algn="ctr" fontAlgn="auto">
              <a:spcBef>
                <a:spcPts val="0"/>
              </a:spcBef>
              <a:spcAft>
                <a:spcPts val="0"/>
              </a:spcAft>
            </a:pPr>
            <a:r>
              <a:rPr lang="fr-FR" sz="2000" dirty="0">
                <a:solidFill>
                  <a:prstClr val="black"/>
                </a:solidFill>
              </a:rPr>
              <a:t>Connaissance insuffisante des conséquences potentielles pour la santé</a:t>
            </a:r>
          </a:p>
        </p:txBody>
      </p:sp>
      <p:sp>
        <p:nvSpPr>
          <p:cNvPr id="31" name="Freeform 8">
            <a:extLst>
              <a:ext uri="{FF2B5EF4-FFF2-40B4-BE49-F238E27FC236}">
                <a16:creationId xmlns:a16="http://schemas.microsoft.com/office/drawing/2014/main" id="{3F01C068-CE68-4474-97C0-761F0CF84375}"/>
              </a:ext>
            </a:extLst>
          </p:cNvPr>
          <p:cNvSpPr/>
          <p:nvPr/>
        </p:nvSpPr>
        <p:spPr>
          <a:xfrm>
            <a:off x="3568756" y="3352077"/>
            <a:ext cx="4853373" cy="1442066"/>
          </a:xfrm>
          <a:custGeom>
            <a:avLst/>
            <a:gdLst>
              <a:gd name="connsiteX0" fmla="*/ 762000 w 8086725"/>
              <a:gd name="connsiteY0" fmla="*/ 76200 h 3228975"/>
              <a:gd name="connsiteX1" fmla="*/ 695325 w 8086725"/>
              <a:gd name="connsiteY1" fmla="*/ 95250 h 3228975"/>
              <a:gd name="connsiteX2" fmla="*/ 619125 w 8086725"/>
              <a:gd name="connsiteY2" fmla="*/ 123825 h 3228975"/>
              <a:gd name="connsiteX3" fmla="*/ 581025 w 8086725"/>
              <a:gd name="connsiteY3" fmla="*/ 152400 h 3228975"/>
              <a:gd name="connsiteX4" fmla="*/ 523875 w 8086725"/>
              <a:gd name="connsiteY4" fmla="*/ 200025 h 3228975"/>
              <a:gd name="connsiteX5" fmla="*/ 438150 w 8086725"/>
              <a:gd name="connsiteY5" fmla="*/ 314325 h 3228975"/>
              <a:gd name="connsiteX6" fmla="*/ 409575 w 8086725"/>
              <a:gd name="connsiteY6" fmla="*/ 342900 h 3228975"/>
              <a:gd name="connsiteX7" fmla="*/ 400050 w 8086725"/>
              <a:gd name="connsiteY7" fmla="*/ 390525 h 3228975"/>
              <a:gd name="connsiteX8" fmla="*/ 381000 w 8086725"/>
              <a:gd name="connsiteY8" fmla="*/ 438150 h 3228975"/>
              <a:gd name="connsiteX9" fmla="*/ 390525 w 8086725"/>
              <a:gd name="connsiteY9" fmla="*/ 561975 h 3228975"/>
              <a:gd name="connsiteX10" fmla="*/ 409575 w 8086725"/>
              <a:gd name="connsiteY10" fmla="*/ 590550 h 3228975"/>
              <a:gd name="connsiteX11" fmla="*/ 428625 w 8086725"/>
              <a:gd name="connsiteY11" fmla="*/ 628650 h 3228975"/>
              <a:gd name="connsiteX12" fmla="*/ 638175 w 8086725"/>
              <a:gd name="connsiteY12" fmla="*/ 685800 h 3228975"/>
              <a:gd name="connsiteX13" fmla="*/ 714375 w 8086725"/>
              <a:gd name="connsiteY13" fmla="*/ 695325 h 3228975"/>
              <a:gd name="connsiteX14" fmla="*/ 1285875 w 8086725"/>
              <a:gd name="connsiteY14" fmla="*/ 704850 h 3228975"/>
              <a:gd name="connsiteX15" fmla="*/ 1314450 w 8086725"/>
              <a:gd name="connsiteY15" fmla="*/ 742950 h 3228975"/>
              <a:gd name="connsiteX16" fmla="*/ 1333500 w 8086725"/>
              <a:gd name="connsiteY16" fmla="*/ 819150 h 3228975"/>
              <a:gd name="connsiteX17" fmla="*/ 1314450 w 8086725"/>
              <a:gd name="connsiteY17" fmla="*/ 990600 h 3228975"/>
              <a:gd name="connsiteX18" fmla="*/ 1304925 w 8086725"/>
              <a:gd name="connsiteY18" fmla="*/ 1028700 h 3228975"/>
              <a:gd name="connsiteX19" fmla="*/ 1257300 w 8086725"/>
              <a:gd name="connsiteY19" fmla="*/ 1076325 h 3228975"/>
              <a:gd name="connsiteX20" fmla="*/ 1219200 w 8086725"/>
              <a:gd name="connsiteY20" fmla="*/ 1123950 h 3228975"/>
              <a:gd name="connsiteX21" fmla="*/ 1047750 w 8086725"/>
              <a:gd name="connsiteY21" fmla="*/ 1247775 h 3228975"/>
              <a:gd name="connsiteX22" fmla="*/ 981075 w 8086725"/>
              <a:gd name="connsiteY22" fmla="*/ 1285875 h 3228975"/>
              <a:gd name="connsiteX23" fmla="*/ 828675 w 8086725"/>
              <a:gd name="connsiteY23" fmla="*/ 1333500 h 3228975"/>
              <a:gd name="connsiteX24" fmla="*/ 695325 w 8086725"/>
              <a:gd name="connsiteY24" fmla="*/ 1352550 h 3228975"/>
              <a:gd name="connsiteX25" fmla="*/ 514350 w 8086725"/>
              <a:gd name="connsiteY25" fmla="*/ 1333500 h 3228975"/>
              <a:gd name="connsiteX26" fmla="*/ 400050 w 8086725"/>
              <a:gd name="connsiteY26" fmla="*/ 1276350 h 3228975"/>
              <a:gd name="connsiteX27" fmla="*/ 352425 w 8086725"/>
              <a:gd name="connsiteY27" fmla="*/ 1238250 h 3228975"/>
              <a:gd name="connsiteX28" fmla="*/ 266700 w 8086725"/>
              <a:gd name="connsiteY28" fmla="*/ 1152525 h 3228975"/>
              <a:gd name="connsiteX29" fmla="*/ 228600 w 8086725"/>
              <a:gd name="connsiteY29" fmla="*/ 1028700 h 3228975"/>
              <a:gd name="connsiteX30" fmla="*/ 238125 w 8086725"/>
              <a:gd name="connsiteY30" fmla="*/ 885825 h 3228975"/>
              <a:gd name="connsiteX31" fmla="*/ 276225 w 8086725"/>
              <a:gd name="connsiteY31" fmla="*/ 857250 h 3228975"/>
              <a:gd name="connsiteX32" fmla="*/ 323850 w 8086725"/>
              <a:gd name="connsiteY32" fmla="*/ 809625 h 3228975"/>
              <a:gd name="connsiteX33" fmla="*/ 419100 w 8086725"/>
              <a:gd name="connsiteY33" fmla="*/ 771525 h 3228975"/>
              <a:gd name="connsiteX34" fmla="*/ 485775 w 8086725"/>
              <a:gd name="connsiteY34" fmla="*/ 723900 h 3228975"/>
              <a:gd name="connsiteX35" fmla="*/ 561975 w 8086725"/>
              <a:gd name="connsiteY35" fmla="*/ 714375 h 3228975"/>
              <a:gd name="connsiteX36" fmla="*/ 638175 w 8086725"/>
              <a:gd name="connsiteY36" fmla="*/ 695325 h 3228975"/>
              <a:gd name="connsiteX37" fmla="*/ 1628775 w 8086725"/>
              <a:gd name="connsiteY37" fmla="*/ 685800 h 3228975"/>
              <a:gd name="connsiteX38" fmla="*/ 1790700 w 8086725"/>
              <a:gd name="connsiteY38" fmla="*/ 676275 h 3228975"/>
              <a:gd name="connsiteX39" fmla="*/ 1771650 w 8086725"/>
              <a:gd name="connsiteY39" fmla="*/ 638175 h 3228975"/>
              <a:gd name="connsiteX40" fmla="*/ 1743075 w 8086725"/>
              <a:gd name="connsiteY40" fmla="*/ 628650 h 3228975"/>
              <a:gd name="connsiteX41" fmla="*/ 1581150 w 8086725"/>
              <a:gd name="connsiteY41" fmla="*/ 609600 h 3228975"/>
              <a:gd name="connsiteX42" fmla="*/ 1104900 w 8086725"/>
              <a:gd name="connsiteY42" fmla="*/ 638175 h 3228975"/>
              <a:gd name="connsiteX43" fmla="*/ 990600 w 8086725"/>
              <a:gd name="connsiteY43" fmla="*/ 657225 h 3228975"/>
              <a:gd name="connsiteX44" fmla="*/ 914400 w 8086725"/>
              <a:gd name="connsiteY44" fmla="*/ 714375 h 3228975"/>
              <a:gd name="connsiteX45" fmla="*/ 800100 w 8086725"/>
              <a:gd name="connsiteY45" fmla="*/ 762000 h 3228975"/>
              <a:gd name="connsiteX46" fmla="*/ 685800 w 8086725"/>
              <a:gd name="connsiteY46" fmla="*/ 857250 h 3228975"/>
              <a:gd name="connsiteX47" fmla="*/ 638175 w 8086725"/>
              <a:gd name="connsiteY47" fmla="*/ 962025 h 3228975"/>
              <a:gd name="connsiteX48" fmla="*/ 666750 w 8086725"/>
              <a:gd name="connsiteY48" fmla="*/ 1085850 h 3228975"/>
              <a:gd name="connsiteX49" fmla="*/ 752475 w 8086725"/>
              <a:gd name="connsiteY49" fmla="*/ 1162050 h 3228975"/>
              <a:gd name="connsiteX50" fmla="*/ 819150 w 8086725"/>
              <a:gd name="connsiteY50" fmla="*/ 1190625 h 3228975"/>
              <a:gd name="connsiteX51" fmla="*/ 876300 w 8086725"/>
              <a:gd name="connsiteY51" fmla="*/ 1238250 h 3228975"/>
              <a:gd name="connsiteX52" fmla="*/ 1066800 w 8086725"/>
              <a:gd name="connsiteY52" fmla="*/ 1333500 h 3228975"/>
              <a:gd name="connsiteX53" fmla="*/ 1295400 w 8086725"/>
              <a:gd name="connsiteY53" fmla="*/ 1466850 h 3228975"/>
              <a:gd name="connsiteX54" fmla="*/ 1419225 w 8086725"/>
              <a:gd name="connsiteY54" fmla="*/ 1533525 h 3228975"/>
              <a:gd name="connsiteX55" fmla="*/ 1628775 w 8086725"/>
              <a:gd name="connsiteY55" fmla="*/ 1704975 h 3228975"/>
              <a:gd name="connsiteX56" fmla="*/ 1714500 w 8086725"/>
              <a:gd name="connsiteY56" fmla="*/ 1771650 h 3228975"/>
              <a:gd name="connsiteX57" fmla="*/ 1828800 w 8086725"/>
              <a:gd name="connsiteY57" fmla="*/ 1876425 h 3228975"/>
              <a:gd name="connsiteX58" fmla="*/ 1838325 w 8086725"/>
              <a:gd name="connsiteY58" fmla="*/ 1905000 h 3228975"/>
              <a:gd name="connsiteX59" fmla="*/ 1819275 w 8086725"/>
              <a:gd name="connsiteY59" fmla="*/ 1981200 h 3228975"/>
              <a:gd name="connsiteX60" fmla="*/ 1781175 w 8086725"/>
              <a:gd name="connsiteY60" fmla="*/ 2009775 h 3228975"/>
              <a:gd name="connsiteX61" fmla="*/ 1657350 w 8086725"/>
              <a:gd name="connsiteY61" fmla="*/ 2047875 h 3228975"/>
              <a:gd name="connsiteX62" fmla="*/ 1581150 w 8086725"/>
              <a:gd name="connsiteY62" fmla="*/ 2066925 h 3228975"/>
              <a:gd name="connsiteX63" fmla="*/ 1466850 w 8086725"/>
              <a:gd name="connsiteY63" fmla="*/ 2076450 h 3228975"/>
              <a:gd name="connsiteX64" fmla="*/ 942975 w 8086725"/>
              <a:gd name="connsiteY64" fmla="*/ 2047875 h 3228975"/>
              <a:gd name="connsiteX65" fmla="*/ 857250 w 8086725"/>
              <a:gd name="connsiteY65" fmla="*/ 2000250 h 3228975"/>
              <a:gd name="connsiteX66" fmla="*/ 895350 w 8086725"/>
              <a:gd name="connsiteY66" fmla="*/ 1895475 h 3228975"/>
              <a:gd name="connsiteX67" fmla="*/ 971550 w 8086725"/>
              <a:gd name="connsiteY67" fmla="*/ 1838325 h 3228975"/>
              <a:gd name="connsiteX68" fmla="*/ 1409700 w 8086725"/>
              <a:gd name="connsiteY68" fmla="*/ 1609725 h 3228975"/>
              <a:gd name="connsiteX69" fmla="*/ 1657350 w 8086725"/>
              <a:gd name="connsiteY69" fmla="*/ 1495425 h 3228975"/>
              <a:gd name="connsiteX70" fmla="*/ 2324100 w 8086725"/>
              <a:gd name="connsiteY70" fmla="*/ 1247775 h 3228975"/>
              <a:gd name="connsiteX71" fmla="*/ 2514600 w 8086725"/>
              <a:gd name="connsiteY71" fmla="*/ 1190625 h 3228975"/>
              <a:gd name="connsiteX72" fmla="*/ 2581275 w 8086725"/>
              <a:gd name="connsiteY72" fmla="*/ 1152525 h 3228975"/>
              <a:gd name="connsiteX73" fmla="*/ 2628900 w 8086725"/>
              <a:gd name="connsiteY73" fmla="*/ 1133475 h 3228975"/>
              <a:gd name="connsiteX74" fmla="*/ 2647950 w 8086725"/>
              <a:gd name="connsiteY74" fmla="*/ 1104900 h 3228975"/>
              <a:gd name="connsiteX75" fmla="*/ 2590800 w 8086725"/>
              <a:gd name="connsiteY75" fmla="*/ 990600 h 3228975"/>
              <a:gd name="connsiteX76" fmla="*/ 2533650 w 8086725"/>
              <a:gd name="connsiteY76" fmla="*/ 942975 h 3228975"/>
              <a:gd name="connsiteX77" fmla="*/ 2352675 w 8086725"/>
              <a:gd name="connsiteY77" fmla="*/ 857250 h 3228975"/>
              <a:gd name="connsiteX78" fmla="*/ 2228850 w 8086725"/>
              <a:gd name="connsiteY78" fmla="*/ 800100 h 3228975"/>
              <a:gd name="connsiteX79" fmla="*/ 1857375 w 8086725"/>
              <a:gd name="connsiteY79" fmla="*/ 685800 h 3228975"/>
              <a:gd name="connsiteX80" fmla="*/ 1619250 w 8086725"/>
              <a:gd name="connsiteY80" fmla="*/ 666750 h 3228975"/>
              <a:gd name="connsiteX81" fmla="*/ 981075 w 8086725"/>
              <a:gd name="connsiteY81" fmla="*/ 695325 h 3228975"/>
              <a:gd name="connsiteX82" fmla="*/ 885825 w 8086725"/>
              <a:gd name="connsiteY82" fmla="*/ 723900 h 3228975"/>
              <a:gd name="connsiteX83" fmla="*/ 781050 w 8086725"/>
              <a:gd name="connsiteY83" fmla="*/ 809625 h 3228975"/>
              <a:gd name="connsiteX84" fmla="*/ 771525 w 8086725"/>
              <a:gd name="connsiteY84" fmla="*/ 847725 h 3228975"/>
              <a:gd name="connsiteX85" fmla="*/ 781050 w 8086725"/>
              <a:gd name="connsiteY85" fmla="*/ 981075 h 3228975"/>
              <a:gd name="connsiteX86" fmla="*/ 971550 w 8086725"/>
              <a:gd name="connsiteY86" fmla="*/ 1190625 h 3228975"/>
              <a:gd name="connsiteX87" fmla="*/ 1381125 w 8086725"/>
              <a:gd name="connsiteY87" fmla="*/ 1457325 h 3228975"/>
              <a:gd name="connsiteX88" fmla="*/ 1590675 w 8086725"/>
              <a:gd name="connsiteY88" fmla="*/ 1524000 h 3228975"/>
              <a:gd name="connsiteX89" fmla="*/ 1924050 w 8086725"/>
              <a:gd name="connsiteY89" fmla="*/ 1666875 h 3228975"/>
              <a:gd name="connsiteX90" fmla="*/ 2143125 w 8086725"/>
              <a:gd name="connsiteY90" fmla="*/ 1781175 h 3228975"/>
              <a:gd name="connsiteX91" fmla="*/ 2200275 w 8086725"/>
              <a:gd name="connsiteY91" fmla="*/ 1828800 h 3228975"/>
              <a:gd name="connsiteX92" fmla="*/ 2228850 w 8086725"/>
              <a:gd name="connsiteY92" fmla="*/ 1866900 h 3228975"/>
              <a:gd name="connsiteX93" fmla="*/ 2200275 w 8086725"/>
              <a:gd name="connsiteY93" fmla="*/ 1971675 h 3228975"/>
              <a:gd name="connsiteX94" fmla="*/ 2133600 w 8086725"/>
              <a:gd name="connsiteY94" fmla="*/ 2009775 h 3228975"/>
              <a:gd name="connsiteX95" fmla="*/ 2076450 w 8086725"/>
              <a:gd name="connsiteY95" fmla="*/ 2047875 h 3228975"/>
              <a:gd name="connsiteX96" fmla="*/ 1933575 w 8086725"/>
              <a:gd name="connsiteY96" fmla="*/ 2105025 h 3228975"/>
              <a:gd name="connsiteX97" fmla="*/ 1695450 w 8086725"/>
              <a:gd name="connsiteY97" fmla="*/ 2133600 h 3228975"/>
              <a:gd name="connsiteX98" fmla="*/ 1609725 w 8086725"/>
              <a:gd name="connsiteY98" fmla="*/ 2085975 h 3228975"/>
              <a:gd name="connsiteX99" fmla="*/ 1657350 w 8086725"/>
              <a:gd name="connsiteY99" fmla="*/ 2047875 h 3228975"/>
              <a:gd name="connsiteX100" fmla="*/ 1743075 w 8086725"/>
              <a:gd name="connsiteY100" fmla="*/ 2000250 h 3228975"/>
              <a:gd name="connsiteX101" fmla="*/ 1838325 w 8086725"/>
              <a:gd name="connsiteY101" fmla="*/ 1924050 h 3228975"/>
              <a:gd name="connsiteX102" fmla="*/ 2085975 w 8086725"/>
              <a:gd name="connsiteY102" fmla="*/ 1838325 h 3228975"/>
              <a:gd name="connsiteX103" fmla="*/ 2486025 w 8086725"/>
              <a:gd name="connsiteY103" fmla="*/ 1800225 h 3228975"/>
              <a:gd name="connsiteX104" fmla="*/ 2524125 w 8086725"/>
              <a:gd name="connsiteY104" fmla="*/ 1790700 h 3228975"/>
              <a:gd name="connsiteX105" fmla="*/ 2533650 w 8086725"/>
              <a:gd name="connsiteY105" fmla="*/ 1676400 h 3228975"/>
              <a:gd name="connsiteX106" fmla="*/ 2438400 w 8086725"/>
              <a:gd name="connsiteY106" fmla="*/ 1533525 h 3228975"/>
              <a:gd name="connsiteX107" fmla="*/ 1828800 w 8086725"/>
              <a:gd name="connsiteY107" fmla="*/ 1171575 h 3228975"/>
              <a:gd name="connsiteX108" fmla="*/ 1552575 w 8086725"/>
              <a:gd name="connsiteY108" fmla="*/ 1019175 h 3228975"/>
              <a:gd name="connsiteX109" fmla="*/ 685800 w 8086725"/>
              <a:gd name="connsiteY109" fmla="*/ 628650 h 3228975"/>
              <a:gd name="connsiteX110" fmla="*/ 409575 w 8086725"/>
              <a:gd name="connsiteY110" fmla="*/ 485775 h 3228975"/>
              <a:gd name="connsiteX111" fmla="*/ 219075 w 8086725"/>
              <a:gd name="connsiteY111" fmla="*/ 400050 h 3228975"/>
              <a:gd name="connsiteX112" fmla="*/ 114300 w 8086725"/>
              <a:gd name="connsiteY112" fmla="*/ 342900 h 3228975"/>
              <a:gd name="connsiteX113" fmla="*/ 0 w 8086725"/>
              <a:gd name="connsiteY113" fmla="*/ 276225 h 3228975"/>
              <a:gd name="connsiteX114" fmla="*/ 66675 w 8086725"/>
              <a:gd name="connsiteY114" fmla="*/ 285750 h 3228975"/>
              <a:gd name="connsiteX115" fmla="*/ 219075 w 8086725"/>
              <a:gd name="connsiteY115" fmla="*/ 342900 h 3228975"/>
              <a:gd name="connsiteX116" fmla="*/ 333375 w 8086725"/>
              <a:gd name="connsiteY116" fmla="*/ 400050 h 3228975"/>
              <a:gd name="connsiteX117" fmla="*/ 495300 w 8086725"/>
              <a:gd name="connsiteY117" fmla="*/ 466725 h 3228975"/>
              <a:gd name="connsiteX118" fmla="*/ 666750 w 8086725"/>
              <a:gd name="connsiteY118" fmla="*/ 561975 h 3228975"/>
              <a:gd name="connsiteX119" fmla="*/ 876300 w 8086725"/>
              <a:gd name="connsiteY119" fmla="*/ 666750 h 3228975"/>
              <a:gd name="connsiteX120" fmla="*/ 1038225 w 8086725"/>
              <a:gd name="connsiteY120" fmla="*/ 781050 h 3228975"/>
              <a:gd name="connsiteX121" fmla="*/ 1209675 w 8086725"/>
              <a:gd name="connsiteY121" fmla="*/ 933450 h 3228975"/>
              <a:gd name="connsiteX122" fmla="*/ 1200150 w 8086725"/>
              <a:gd name="connsiteY122" fmla="*/ 1181100 h 3228975"/>
              <a:gd name="connsiteX123" fmla="*/ 1171575 w 8086725"/>
              <a:gd name="connsiteY123" fmla="*/ 1238250 h 3228975"/>
              <a:gd name="connsiteX124" fmla="*/ 1104900 w 8086725"/>
              <a:gd name="connsiteY124" fmla="*/ 1381125 h 3228975"/>
              <a:gd name="connsiteX125" fmla="*/ 1047750 w 8086725"/>
              <a:gd name="connsiteY125" fmla="*/ 1466850 h 3228975"/>
              <a:gd name="connsiteX126" fmla="*/ 990600 w 8086725"/>
              <a:gd name="connsiteY126" fmla="*/ 1647825 h 3228975"/>
              <a:gd name="connsiteX127" fmla="*/ 1000125 w 8086725"/>
              <a:gd name="connsiteY127" fmla="*/ 1828800 h 3228975"/>
              <a:gd name="connsiteX128" fmla="*/ 1085850 w 8086725"/>
              <a:gd name="connsiteY128" fmla="*/ 1905000 h 3228975"/>
              <a:gd name="connsiteX129" fmla="*/ 1238250 w 8086725"/>
              <a:gd name="connsiteY129" fmla="*/ 1971675 h 3228975"/>
              <a:gd name="connsiteX130" fmla="*/ 1352550 w 8086725"/>
              <a:gd name="connsiteY130" fmla="*/ 1981200 h 3228975"/>
              <a:gd name="connsiteX131" fmla="*/ 2114550 w 8086725"/>
              <a:gd name="connsiteY131" fmla="*/ 2009775 h 3228975"/>
              <a:gd name="connsiteX132" fmla="*/ 2152650 w 8086725"/>
              <a:gd name="connsiteY132" fmla="*/ 2019300 h 3228975"/>
              <a:gd name="connsiteX133" fmla="*/ 2181225 w 8086725"/>
              <a:gd name="connsiteY133" fmla="*/ 2085975 h 3228975"/>
              <a:gd name="connsiteX134" fmla="*/ 2162175 w 8086725"/>
              <a:gd name="connsiteY134" fmla="*/ 2171700 h 3228975"/>
              <a:gd name="connsiteX135" fmla="*/ 2124075 w 8086725"/>
              <a:gd name="connsiteY135" fmla="*/ 2209800 h 3228975"/>
              <a:gd name="connsiteX136" fmla="*/ 2105025 w 8086725"/>
              <a:gd name="connsiteY136" fmla="*/ 2266950 h 3228975"/>
              <a:gd name="connsiteX137" fmla="*/ 2171700 w 8086725"/>
              <a:gd name="connsiteY137" fmla="*/ 2314575 h 3228975"/>
              <a:gd name="connsiteX138" fmla="*/ 2238375 w 8086725"/>
              <a:gd name="connsiteY138" fmla="*/ 2352675 h 3228975"/>
              <a:gd name="connsiteX139" fmla="*/ 2419350 w 8086725"/>
              <a:gd name="connsiteY139" fmla="*/ 2381250 h 3228975"/>
              <a:gd name="connsiteX140" fmla="*/ 3076575 w 8086725"/>
              <a:gd name="connsiteY140" fmla="*/ 2362200 h 3228975"/>
              <a:gd name="connsiteX141" fmla="*/ 3086100 w 8086725"/>
              <a:gd name="connsiteY141" fmla="*/ 2333625 h 3228975"/>
              <a:gd name="connsiteX142" fmla="*/ 3057525 w 8086725"/>
              <a:gd name="connsiteY142" fmla="*/ 2276475 h 3228975"/>
              <a:gd name="connsiteX143" fmla="*/ 2924175 w 8086725"/>
              <a:gd name="connsiteY143" fmla="*/ 2143125 h 3228975"/>
              <a:gd name="connsiteX144" fmla="*/ 2676525 w 8086725"/>
              <a:gd name="connsiteY144" fmla="*/ 1943100 h 3228975"/>
              <a:gd name="connsiteX145" fmla="*/ 2085975 w 8086725"/>
              <a:gd name="connsiteY145" fmla="*/ 1647825 h 3228975"/>
              <a:gd name="connsiteX146" fmla="*/ 1762125 w 8086725"/>
              <a:gd name="connsiteY146" fmla="*/ 1590675 h 3228975"/>
              <a:gd name="connsiteX147" fmla="*/ 1504950 w 8086725"/>
              <a:gd name="connsiteY147" fmla="*/ 1600200 h 3228975"/>
              <a:gd name="connsiteX148" fmla="*/ 1495425 w 8086725"/>
              <a:gd name="connsiteY148" fmla="*/ 1647825 h 3228975"/>
              <a:gd name="connsiteX149" fmla="*/ 1504950 w 8086725"/>
              <a:gd name="connsiteY149" fmla="*/ 1809750 h 3228975"/>
              <a:gd name="connsiteX150" fmla="*/ 1647825 w 8086725"/>
              <a:gd name="connsiteY150" fmla="*/ 2028825 h 3228975"/>
              <a:gd name="connsiteX151" fmla="*/ 1714500 w 8086725"/>
              <a:gd name="connsiteY151" fmla="*/ 2105025 h 3228975"/>
              <a:gd name="connsiteX152" fmla="*/ 1895475 w 8086725"/>
              <a:gd name="connsiteY152" fmla="*/ 2276475 h 3228975"/>
              <a:gd name="connsiteX153" fmla="*/ 2266950 w 8086725"/>
              <a:gd name="connsiteY153" fmla="*/ 2486025 h 3228975"/>
              <a:gd name="connsiteX154" fmla="*/ 2466975 w 8086725"/>
              <a:gd name="connsiteY154" fmla="*/ 2571750 h 3228975"/>
              <a:gd name="connsiteX155" fmla="*/ 2695575 w 8086725"/>
              <a:gd name="connsiteY155" fmla="*/ 2628900 h 3228975"/>
              <a:gd name="connsiteX156" fmla="*/ 3038475 w 8086725"/>
              <a:gd name="connsiteY156" fmla="*/ 2695575 h 3228975"/>
              <a:gd name="connsiteX157" fmla="*/ 3190875 w 8086725"/>
              <a:gd name="connsiteY157" fmla="*/ 2714625 h 3228975"/>
              <a:gd name="connsiteX158" fmla="*/ 3314700 w 8086725"/>
              <a:gd name="connsiteY158" fmla="*/ 2724150 h 3228975"/>
              <a:gd name="connsiteX159" fmla="*/ 3419475 w 8086725"/>
              <a:gd name="connsiteY159" fmla="*/ 2733675 h 3228975"/>
              <a:gd name="connsiteX160" fmla="*/ 3762375 w 8086725"/>
              <a:gd name="connsiteY160" fmla="*/ 2686050 h 3228975"/>
              <a:gd name="connsiteX161" fmla="*/ 3771900 w 8086725"/>
              <a:gd name="connsiteY161" fmla="*/ 2638425 h 3228975"/>
              <a:gd name="connsiteX162" fmla="*/ 3733800 w 8086725"/>
              <a:gd name="connsiteY162" fmla="*/ 2552700 h 3228975"/>
              <a:gd name="connsiteX163" fmla="*/ 3676650 w 8086725"/>
              <a:gd name="connsiteY163" fmla="*/ 2495550 h 3228975"/>
              <a:gd name="connsiteX164" fmla="*/ 3495675 w 8086725"/>
              <a:gd name="connsiteY164" fmla="*/ 2343150 h 3228975"/>
              <a:gd name="connsiteX165" fmla="*/ 3257550 w 8086725"/>
              <a:gd name="connsiteY165" fmla="*/ 2209800 h 3228975"/>
              <a:gd name="connsiteX166" fmla="*/ 2990850 w 8086725"/>
              <a:gd name="connsiteY166" fmla="*/ 2152650 h 3228975"/>
              <a:gd name="connsiteX167" fmla="*/ 2686050 w 8086725"/>
              <a:gd name="connsiteY167" fmla="*/ 2181225 h 3228975"/>
              <a:gd name="connsiteX168" fmla="*/ 2600325 w 8086725"/>
              <a:gd name="connsiteY168" fmla="*/ 2238375 h 3228975"/>
              <a:gd name="connsiteX169" fmla="*/ 2495550 w 8086725"/>
              <a:gd name="connsiteY169" fmla="*/ 2343150 h 3228975"/>
              <a:gd name="connsiteX170" fmla="*/ 2514600 w 8086725"/>
              <a:gd name="connsiteY170" fmla="*/ 2562225 h 3228975"/>
              <a:gd name="connsiteX171" fmla="*/ 2581275 w 8086725"/>
              <a:gd name="connsiteY171" fmla="*/ 2628900 h 3228975"/>
              <a:gd name="connsiteX172" fmla="*/ 2638425 w 8086725"/>
              <a:gd name="connsiteY172" fmla="*/ 2724150 h 3228975"/>
              <a:gd name="connsiteX173" fmla="*/ 2724150 w 8086725"/>
              <a:gd name="connsiteY173" fmla="*/ 2800350 h 3228975"/>
              <a:gd name="connsiteX174" fmla="*/ 2905125 w 8086725"/>
              <a:gd name="connsiteY174" fmla="*/ 2924175 h 3228975"/>
              <a:gd name="connsiteX175" fmla="*/ 3009900 w 8086725"/>
              <a:gd name="connsiteY175" fmla="*/ 2971800 h 3228975"/>
              <a:gd name="connsiteX176" fmla="*/ 3105150 w 8086725"/>
              <a:gd name="connsiteY176" fmla="*/ 3028950 h 3228975"/>
              <a:gd name="connsiteX177" fmla="*/ 3267075 w 8086725"/>
              <a:gd name="connsiteY177" fmla="*/ 3114675 h 3228975"/>
              <a:gd name="connsiteX178" fmla="*/ 3257550 w 8086725"/>
              <a:gd name="connsiteY178" fmla="*/ 3162300 h 3228975"/>
              <a:gd name="connsiteX179" fmla="*/ 3200400 w 8086725"/>
              <a:gd name="connsiteY179" fmla="*/ 3181350 h 3228975"/>
              <a:gd name="connsiteX180" fmla="*/ 3000375 w 8086725"/>
              <a:gd name="connsiteY180" fmla="*/ 3209925 h 3228975"/>
              <a:gd name="connsiteX181" fmla="*/ 2047875 w 8086725"/>
              <a:gd name="connsiteY181" fmla="*/ 3228975 h 3228975"/>
              <a:gd name="connsiteX182" fmla="*/ 1781175 w 8086725"/>
              <a:gd name="connsiteY182" fmla="*/ 3219450 h 3228975"/>
              <a:gd name="connsiteX183" fmla="*/ 1771650 w 8086725"/>
              <a:gd name="connsiteY183" fmla="*/ 3190875 h 3228975"/>
              <a:gd name="connsiteX184" fmla="*/ 1924050 w 8086725"/>
              <a:gd name="connsiteY184" fmla="*/ 3086100 h 3228975"/>
              <a:gd name="connsiteX185" fmla="*/ 2143125 w 8086725"/>
              <a:gd name="connsiteY185" fmla="*/ 2981325 h 3228975"/>
              <a:gd name="connsiteX186" fmla="*/ 2276475 w 8086725"/>
              <a:gd name="connsiteY186" fmla="*/ 2924175 h 3228975"/>
              <a:gd name="connsiteX187" fmla="*/ 2533650 w 8086725"/>
              <a:gd name="connsiteY187" fmla="*/ 2800350 h 3228975"/>
              <a:gd name="connsiteX188" fmla="*/ 2686050 w 8086725"/>
              <a:gd name="connsiteY188" fmla="*/ 2762250 h 3228975"/>
              <a:gd name="connsiteX189" fmla="*/ 2828925 w 8086725"/>
              <a:gd name="connsiteY189" fmla="*/ 2695575 h 3228975"/>
              <a:gd name="connsiteX190" fmla="*/ 3228975 w 8086725"/>
              <a:gd name="connsiteY190" fmla="*/ 2628900 h 3228975"/>
              <a:gd name="connsiteX191" fmla="*/ 3371850 w 8086725"/>
              <a:gd name="connsiteY191" fmla="*/ 2600325 h 3228975"/>
              <a:gd name="connsiteX192" fmla="*/ 3781425 w 8086725"/>
              <a:gd name="connsiteY192" fmla="*/ 2581275 h 3228975"/>
              <a:gd name="connsiteX193" fmla="*/ 3895725 w 8086725"/>
              <a:gd name="connsiteY193" fmla="*/ 2562225 h 3228975"/>
              <a:gd name="connsiteX194" fmla="*/ 3952875 w 8086725"/>
              <a:gd name="connsiteY194" fmla="*/ 2543175 h 3228975"/>
              <a:gd name="connsiteX195" fmla="*/ 3971925 w 8086725"/>
              <a:gd name="connsiteY195" fmla="*/ 2514600 h 3228975"/>
              <a:gd name="connsiteX196" fmla="*/ 3895725 w 8086725"/>
              <a:gd name="connsiteY196" fmla="*/ 2419350 h 3228975"/>
              <a:gd name="connsiteX197" fmla="*/ 3829050 w 8086725"/>
              <a:gd name="connsiteY197" fmla="*/ 2362200 h 3228975"/>
              <a:gd name="connsiteX198" fmla="*/ 3543300 w 8086725"/>
              <a:gd name="connsiteY198" fmla="*/ 2219325 h 3228975"/>
              <a:gd name="connsiteX199" fmla="*/ 3190875 w 8086725"/>
              <a:gd name="connsiteY199" fmla="*/ 2105025 h 3228975"/>
              <a:gd name="connsiteX200" fmla="*/ 2819400 w 8086725"/>
              <a:gd name="connsiteY200" fmla="*/ 1971675 h 3228975"/>
              <a:gd name="connsiteX201" fmla="*/ 2628900 w 8086725"/>
              <a:gd name="connsiteY201" fmla="*/ 1895475 h 3228975"/>
              <a:gd name="connsiteX202" fmla="*/ 2514600 w 8086725"/>
              <a:gd name="connsiteY202" fmla="*/ 1828800 h 3228975"/>
              <a:gd name="connsiteX203" fmla="*/ 2352675 w 8086725"/>
              <a:gd name="connsiteY203" fmla="*/ 1762125 h 3228975"/>
              <a:gd name="connsiteX204" fmla="*/ 2286000 w 8086725"/>
              <a:gd name="connsiteY204" fmla="*/ 1724025 h 3228975"/>
              <a:gd name="connsiteX205" fmla="*/ 2247900 w 8086725"/>
              <a:gd name="connsiteY205" fmla="*/ 1743075 h 3228975"/>
              <a:gd name="connsiteX206" fmla="*/ 2266950 w 8086725"/>
              <a:gd name="connsiteY206" fmla="*/ 1971675 h 3228975"/>
              <a:gd name="connsiteX207" fmla="*/ 2314575 w 8086725"/>
              <a:gd name="connsiteY207" fmla="*/ 2038350 h 3228975"/>
              <a:gd name="connsiteX208" fmla="*/ 2371725 w 8086725"/>
              <a:gd name="connsiteY208" fmla="*/ 2133600 h 3228975"/>
              <a:gd name="connsiteX209" fmla="*/ 2628900 w 8086725"/>
              <a:gd name="connsiteY209" fmla="*/ 2400300 h 3228975"/>
              <a:gd name="connsiteX210" fmla="*/ 2914650 w 8086725"/>
              <a:gd name="connsiteY210" fmla="*/ 2552700 h 3228975"/>
              <a:gd name="connsiteX211" fmla="*/ 3257550 w 8086725"/>
              <a:gd name="connsiteY211" fmla="*/ 2705100 h 3228975"/>
              <a:gd name="connsiteX212" fmla="*/ 3648075 w 8086725"/>
              <a:gd name="connsiteY212" fmla="*/ 2847975 h 3228975"/>
              <a:gd name="connsiteX213" fmla="*/ 3829050 w 8086725"/>
              <a:gd name="connsiteY213" fmla="*/ 2886075 h 3228975"/>
              <a:gd name="connsiteX214" fmla="*/ 4048125 w 8086725"/>
              <a:gd name="connsiteY214" fmla="*/ 2924175 h 3228975"/>
              <a:gd name="connsiteX215" fmla="*/ 4152900 w 8086725"/>
              <a:gd name="connsiteY215" fmla="*/ 2952750 h 3228975"/>
              <a:gd name="connsiteX216" fmla="*/ 4019550 w 8086725"/>
              <a:gd name="connsiteY216" fmla="*/ 2981325 h 3228975"/>
              <a:gd name="connsiteX217" fmla="*/ 3990975 w 8086725"/>
              <a:gd name="connsiteY217" fmla="*/ 3000375 h 3228975"/>
              <a:gd name="connsiteX218" fmla="*/ 3952875 w 8086725"/>
              <a:gd name="connsiteY218" fmla="*/ 3019425 h 3228975"/>
              <a:gd name="connsiteX219" fmla="*/ 3886200 w 8086725"/>
              <a:gd name="connsiteY219" fmla="*/ 3067050 h 3228975"/>
              <a:gd name="connsiteX220" fmla="*/ 3867150 w 8086725"/>
              <a:gd name="connsiteY220" fmla="*/ 3095625 h 3228975"/>
              <a:gd name="connsiteX221" fmla="*/ 3914775 w 8086725"/>
              <a:gd name="connsiteY221" fmla="*/ 3105150 h 3228975"/>
              <a:gd name="connsiteX222" fmla="*/ 4181475 w 8086725"/>
              <a:gd name="connsiteY222" fmla="*/ 3067050 h 3228975"/>
              <a:gd name="connsiteX223" fmla="*/ 4257675 w 8086725"/>
              <a:gd name="connsiteY223" fmla="*/ 3009900 h 3228975"/>
              <a:gd name="connsiteX224" fmla="*/ 4333875 w 8086725"/>
              <a:gd name="connsiteY224" fmla="*/ 2971800 h 3228975"/>
              <a:gd name="connsiteX225" fmla="*/ 4381500 w 8086725"/>
              <a:gd name="connsiteY225" fmla="*/ 2924175 h 3228975"/>
              <a:gd name="connsiteX226" fmla="*/ 4429125 w 8086725"/>
              <a:gd name="connsiteY226" fmla="*/ 2867025 h 3228975"/>
              <a:gd name="connsiteX227" fmla="*/ 4476750 w 8086725"/>
              <a:gd name="connsiteY227" fmla="*/ 2743200 h 3228975"/>
              <a:gd name="connsiteX228" fmla="*/ 4467225 w 8086725"/>
              <a:gd name="connsiteY228" fmla="*/ 2590800 h 3228975"/>
              <a:gd name="connsiteX229" fmla="*/ 4410075 w 8086725"/>
              <a:gd name="connsiteY229" fmla="*/ 2486025 h 3228975"/>
              <a:gd name="connsiteX230" fmla="*/ 4181475 w 8086725"/>
              <a:gd name="connsiteY230" fmla="*/ 2171700 h 3228975"/>
              <a:gd name="connsiteX231" fmla="*/ 3571875 w 8086725"/>
              <a:gd name="connsiteY231" fmla="*/ 1743075 h 3228975"/>
              <a:gd name="connsiteX232" fmla="*/ 3409950 w 8086725"/>
              <a:gd name="connsiteY232" fmla="*/ 1676400 h 3228975"/>
              <a:gd name="connsiteX233" fmla="*/ 3181350 w 8086725"/>
              <a:gd name="connsiteY233" fmla="*/ 1628775 h 3228975"/>
              <a:gd name="connsiteX234" fmla="*/ 3048000 w 8086725"/>
              <a:gd name="connsiteY234" fmla="*/ 1619250 h 3228975"/>
              <a:gd name="connsiteX235" fmla="*/ 3019425 w 8086725"/>
              <a:gd name="connsiteY235" fmla="*/ 1628775 h 3228975"/>
              <a:gd name="connsiteX236" fmla="*/ 3086100 w 8086725"/>
              <a:gd name="connsiteY236" fmla="*/ 1714500 h 3228975"/>
              <a:gd name="connsiteX237" fmla="*/ 3219450 w 8086725"/>
              <a:gd name="connsiteY237" fmla="*/ 1857375 h 3228975"/>
              <a:gd name="connsiteX238" fmla="*/ 3438525 w 8086725"/>
              <a:gd name="connsiteY238" fmla="*/ 2009775 h 3228975"/>
              <a:gd name="connsiteX239" fmla="*/ 3676650 w 8086725"/>
              <a:gd name="connsiteY239" fmla="*/ 2152650 h 3228975"/>
              <a:gd name="connsiteX240" fmla="*/ 4010025 w 8086725"/>
              <a:gd name="connsiteY240" fmla="*/ 2247900 h 3228975"/>
              <a:gd name="connsiteX241" fmla="*/ 4286250 w 8086725"/>
              <a:gd name="connsiteY241" fmla="*/ 2305050 h 3228975"/>
              <a:gd name="connsiteX242" fmla="*/ 4324350 w 8086725"/>
              <a:gd name="connsiteY242" fmla="*/ 2333625 h 3228975"/>
              <a:gd name="connsiteX243" fmla="*/ 4343400 w 8086725"/>
              <a:gd name="connsiteY243" fmla="*/ 2362200 h 3228975"/>
              <a:gd name="connsiteX244" fmla="*/ 4400550 w 8086725"/>
              <a:gd name="connsiteY244" fmla="*/ 2447925 h 3228975"/>
              <a:gd name="connsiteX245" fmla="*/ 4419600 w 8086725"/>
              <a:gd name="connsiteY245" fmla="*/ 2476500 h 3228975"/>
              <a:gd name="connsiteX246" fmla="*/ 4448175 w 8086725"/>
              <a:gd name="connsiteY246" fmla="*/ 2543175 h 3228975"/>
              <a:gd name="connsiteX247" fmla="*/ 4467225 w 8086725"/>
              <a:gd name="connsiteY247" fmla="*/ 2600325 h 3228975"/>
              <a:gd name="connsiteX248" fmla="*/ 4562475 w 8086725"/>
              <a:gd name="connsiteY248" fmla="*/ 2714625 h 3228975"/>
              <a:gd name="connsiteX249" fmla="*/ 4667250 w 8086725"/>
              <a:gd name="connsiteY249" fmla="*/ 2790825 h 3228975"/>
              <a:gd name="connsiteX250" fmla="*/ 4714875 w 8086725"/>
              <a:gd name="connsiteY250" fmla="*/ 2828925 h 3228975"/>
              <a:gd name="connsiteX251" fmla="*/ 4762500 w 8086725"/>
              <a:gd name="connsiteY251" fmla="*/ 2857500 h 3228975"/>
              <a:gd name="connsiteX252" fmla="*/ 4838700 w 8086725"/>
              <a:gd name="connsiteY252" fmla="*/ 2876550 h 3228975"/>
              <a:gd name="connsiteX253" fmla="*/ 4705350 w 8086725"/>
              <a:gd name="connsiteY253" fmla="*/ 2743200 h 3228975"/>
              <a:gd name="connsiteX254" fmla="*/ 4600575 w 8086725"/>
              <a:gd name="connsiteY254" fmla="*/ 2695575 h 3228975"/>
              <a:gd name="connsiteX255" fmla="*/ 4324350 w 8086725"/>
              <a:gd name="connsiteY255" fmla="*/ 2543175 h 3228975"/>
              <a:gd name="connsiteX256" fmla="*/ 4200525 w 8086725"/>
              <a:gd name="connsiteY256" fmla="*/ 2476500 h 3228975"/>
              <a:gd name="connsiteX257" fmla="*/ 4105275 w 8086725"/>
              <a:gd name="connsiteY257" fmla="*/ 2428875 h 3228975"/>
              <a:gd name="connsiteX258" fmla="*/ 4019550 w 8086725"/>
              <a:gd name="connsiteY258" fmla="*/ 2381250 h 3228975"/>
              <a:gd name="connsiteX259" fmla="*/ 4010025 w 8086725"/>
              <a:gd name="connsiteY259" fmla="*/ 2352675 h 3228975"/>
              <a:gd name="connsiteX260" fmla="*/ 4505325 w 8086725"/>
              <a:gd name="connsiteY260" fmla="*/ 2362200 h 3228975"/>
              <a:gd name="connsiteX261" fmla="*/ 4629150 w 8086725"/>
              <a:gd name="connsiteY261" fmla="*/ 2371725 h 3228975"/>
              <a:gd name="connsiteX262" fmla="*/ 4791075 w 8086725"/>
              <a:gd name="connsiteY262" fmla="*/ 2381250 h 3228975"/>
              <a:gd name="connsiteX263" fmla="*/ 4914900 w 8086725"/>
              <a:gd name="connsiteY263" fmla="*/ 2400300 h 3228975"/>
              <a:gd name="connsiteX264" fmla="*/ 5019675 w 8086725"/>
              <a:gd name="connsiteY264" fmla="*/ 2409825 h 3228975"/>
              <a:gd name="connsiteX265" fmla="*/ 5114925 w 8086725"/>
              <a:gd name="connsiteY265" fmla="*/ 2438400 h 3228975"/>
              <a:gd name="connsiteX266" fmla="*/ 5257800 w 8086725"/>
              <a:gd name="connsiteY266" fmla="*/ 2466975 h 3228975"/>
              <a:gd name="connsiteX267" fmla="*/ 5314950 w 8086725"/>
              <a:gd name="connsiteY267" fmla="*/ 2447925 h 3228975"/>
              <a:gd name="connsiteX268" fmla="*/ 5295900 w 8086725"/>
              <a:gd name="connsiteY268" fmla="*/ 2409825 h 3228975"/>
              <a:gd name="connsiteX269" fmla="*/ 5248275 w 8086725"/>
              <a:gd name="connsiteY269" fmla="*/ 2381250 h 3228975"/>
              <a:gd name="connsiteX270" fmla="*/ 5124450 w 8086725"/>
              <a:gd name="connsiteY270" fmla="*/ 2257425 h 3228975"/>
              <a:gd name="connsiteX271" fmla="*/ 4933950 w 8086725"/>
              <a:gd name="connsiteY271" fmla="*/ 2143125 h 3228975"/>
              <a:gd name="connsiteX272" fmla="*/ 4657725 w 8086725"/>
              <a:gd name="connsiteY272" fmla="*/ 1933575 h 3228975"/>
              <a:gd name="connsiteX273" fmla="*/ 4524375 w 8086725"/>
              <a:gd name="connsiteY273" fmla="*/ 1809750 h 3228975"/>
              <a:gd name="connsiteX274" fmla="*/ 4457700 w 8086725"/>
              <a:gd name="connsiteY274" fmla="*/ 1743075 h 3228975"/>
              <a:gd name="connsiteX275" fmla="*/ 4495800 w 8086725"/>
              <a:gd name="connsiteY275" fmla="*/ 1704975 h 3228975"/>
              <a:gd name="connsiteX276" fmla="*/ 4552950 w 8086725"/>
              <a:gd name="connsiteY276" fmla="*/ 1657350 h 3228975"/>
              <a:gd name="connsiteX277" fmla="*/ 4610100 w 8086725"/>
              <a:gd name="connsiteY277" fmla="*/ 1590675 h 3228975"/>
              <a:gd name="connsiteX278" fmla="*/ 4619625 w 8086725"/>
              <a:gd name="connsiteY278" fmla="*/ 1543050 h 3228975"/>
              <a:gd name="connsiteX279" fmla="*/ 4648200 w 8086725"/>
              <a:gd name="connsiteY279" fmla="*/ 1514475 h 3228975"/>
              <a:gd name="connsiteX280" fmla="*/ 4619625 w 8086725"/>
              <a:gd name="connsiteY280" fmla="*/ 1276350 h 3228975"/>
              <a:gd name="connsiteX281" fmla="*/ 4562475 w 8086725"/>
              <a:gd name="connsiteY281" fmla="*/ 1200150 h 3228975"/>
              <a:gd name="connsiteX282" fmla="*/ 4495800 w 8086725"/>
              <a:gd name="connsiteY282" fmla="*/ 1133475 h 3228975"/>
              <a:gd name="connsiteX283" fmla="*/ 4429125 w 8086725"/>
              <a:gd name="connsiteY283" fmla="*/ 1057275 h 3228975"/>
              <a:gd name="connsiteX284" fmla="*/ 4257675 w 8086725"/>
              <a:gd name="connsiteY284" fmla="*/ 952500 h 3228975"/>
              <a:gd name="connsiteX285" fmla="*/ 4476750 w 8086725"/>
              <a:gd name="connsiteY285" fmla="*/ 1114425 h 3228975"/>
              <a:gd name="connsiteX286" fmla="*/ 4772025 w 8086725"/>
              <a:gd name="connsiteY286" fmla="*/ 1285875 h 3228975"/>
              <a:gd name="connsiteX287" fmla="*/ 4924425 w 8086725"/>
              <a:gd name="connsiteY287" fmla="*/ 1381125 h 3228975"/>
              <a:gd name="connsiteX288" fmla="*/ 5219700 w 8086725"/>
              <a:gd name="connsiteY288" fmla="*/ 1524000 h 3228975"/>
              <a:gd name="connsiteX289" fmla="*/ 5419725 w 8086725"/>
              <a:gd name="connsiteY289" fmla="*/ 1647825 h 3228975"/>
              <a:gd name="connsiteX290" fmla="*/ 5486400 w 8086725"/>
              <a:gd name="connsiteY290" fmla="*/ 1714500 h 3228975"/>
              <a:gd name="connsiteX291" fmla="*/ 5534025 w 8086725"/>
              <a:gd name="connsiteY291" fmla="*/ 1771650 h 3228975"/>
              <a:gd name="connsiteX292" fmla="*/ 5581650 w 8086725"/>
              <a:gd name="connsiteY292" fmla="*/ 1905000 h 3228975"/>
              <a:gd name="connsiteX293" fmla="*/ 5581650 w 8086725"/>
              <a:gd name="connsiteY293" fmla="*/ 2257425 h 3228975"/>
              <a:gd name="connsiteX294" fmla="*/ 5562600 w 8086725"/>
              <a:gd name="connsiteY294" fmla="*/ 2305050 h 3228975"/>
              <a:gd name="connsiteX295" fmla="*/ 5467350 w 8086725"/>
              <a:gd name="connsiteY295" fmla="*/ 2486025 h 3228975"/>
              <a:gd name="connsiteX296" fmla="*/ 5372100 w 8086725"/>
              <a:gd name="connsiteY296" fmla="*/ 2600325 h 3228975"/>
              <a:gd name="connsiteX297" fmla="*/ 5295900 w 8086725"/>
              <a:gd name="connsiteY297" fmla="*/ 2562225 h 3228975"/>
              <a:gd name="connsiteX298" fmla="*/ 5153025 w 8086725"/>
              <a:gd name="connsiteY298" fmla="*/ 2428875 h 3228975"/>
              <a:gd name="connsiteX299" fmla="*/ 5038725 w 8086725"/>
              <a:gd name="connsiteY299" fmla="*/ 2343150 h 3228975"/>
              <a:gd name="connsiteX300" fmla="*/ 4838700 w 8086725"/>
              <a:gd name="connsiteY300" fmla="*/ 2219325 h 3228975"/>
              <a:gd name="connsiteX301" fmla="*/ 4448175 w 8086725"/>
              <a:gd name="connsiteY301" fmla="*/ 1943100 h 3228975"/>
              <a:gd name="connsiteX302" fmla="*/ 4267200 w 8086725"/>
              <a:gd name="connsiteY302" fmla="*/ 1819275 h 3228975"/>
              <a:gd name="connsiteX303" fmla="*/ 4124325 w 8086725"/>
              <a:gd name="connsiteY303" fmla="*/ 1704975 h 3228975"/>
              <a:gd name="connsiteX304" fmla="*/ 3905250 w 8086725"/>
              <a:gd name="connsiteY304" fmla="*/ 1485900 h 3228975"/>
              <a:gd name="connsiteX305" fmla="*/ 3810000 w 8086725"/>
              <a:gd name="connsiteY305" fmla="*/ 1371600 h 3228975"/>
              <a:gd name="connsiteX306" fmla="*/ 3705225 w 8086725"/>
              <a:gd name="connsiteY306" fmla="*/ 1143000 h 3228975"/>
              <a:gd name="connsiteX307" fmla="*/ 3714750 w 8086725"/>
              <a:gd name="connsiteY307" fmla="*/ 809625 h 3228975"/>
              <a:gd name="connsiteX308" fmla="*/ 3724275 w 8086725"/>
              <a:gd name="connsiteY308" fmla="*/ 781050 h 3228975"/>
              <a:gd name="connsiteX309" fmla="*/ 3886200 w 8086725"/>
              <a:gd name="connsiteY309" fmla="*/ 704850 h 3228975"/>
              <a:gd name="connsiteX310" fmla="*/ 3971925 w 8086725"/>
              <a:gd name="connsiteY310" fmla="*/ 695325 h 3228975"/>
              <a:gd name="connsiteX311" fmla="*/ 4305300 w 8086725"/>
              <a:gd name="connsiteY311" fmla="*/ 704850 h 3228975"/>
              <a:gd name="connsiteX312" fmla="*/ 4533900 w 8086725"/>
              <a:gd name="connsiteY312" fmla="*/ 771525 h 3228975"/>
              <a:gd name="connsiteX313" fmla="*/ 4781550 w 8086725"/>
              <a:gd name="connsiteY313" fmla="*/ 914400 h 3228975"/>
              <a:gd name="connsiteX314" fmla="*/ 4933950 w 8086725"/>
              <a:gd name="connsiteY314" fmla="*/ 1057275 h 3228975"/>
              <a:gd name="connsiteX315" fmla="*/ 5010150 w 8086725"/>
              <a:gd name="connsiteY315" fmla="*/ 1209675 h 3228975"/>
              <a:gd name="connsiteX316" fmla="*/ 4962525 w 8086725"/>
              <a:gd name="connsiteY316" fmla="*/ 1485900 h 3228975"/>
              <a:gd name="connsiteX317" fmla="*/ 4819650 w 8086725"/>
              <a:gd name="connsiteY317" fmla="*/ 1733550 h 3228975"/>
              <a:gd name="connsiteX318" fmla="*/ 4791075 w 8086725"/>
              <a:gd name="connsiteY318" fmla="*/ 1809750 h 3228975"/>
              <a:gd name="connsiteX319" fmla="*/ 4752975 w 8086725"/>
              <a:gd name="connsiteY319" fmla="*/ 1866900 h 3228975"/>
              <a:gd name="connsiteX320" fmla="*/ 4714875 w 8086725"/>
              <a:gd name="connsiteY320" fmla="*/ 1962150 h 3228975"/>
              <a:gd name="connsiteX321" fmla="*/ 4724400 w 8086725"/>
              <a:gd name="connsiteY321" fmla="*/ 2028825 h 3228975"/>
              <a:gd name="connsiteX322" fmla="*/ 4762500 w 8086725"/>
              <a:gd name="connsiteY322" fmla="*/ 2038350 h 3228975"/>
              <a:gd name="connsiteX323" fmla="*/ 4876800 w 8086725"/>
              <a:gd name="connsiteY323" fmla="*/ 2085975 h 3228975"/>
              <a:gd name="connsiteX324" fmla="*/ 4962525 w 8086725"/>
              <a:gd name="connsiteY324" fmla="*/ 2124075 h 3228975"/>
              <a:gd name="connsiteX325" fmla="*/ 5048250 w 8086725"/>
              <a:gd name="connsiteY325" fmla="*/ 2143125 h 3228975"/>
              <a:gd name="connsiteX326" fmla="*/ 5286375 w 8086725"/>
              <a:gd name="connsiteY326" fmla="*/ 2181225 h 3228975"/>
              <a:gd name="connsiteX327" fmla="*/ 5514975 w 8086725"/>
              <a:gd name="connsiteY327" fmla="*/ 2247900 h 3228975"/>
              <a:gd name="connsiteX328" fmla="*/ 5619750 w 8086725"/>
              <a:gd name="connsiteY328" fmla="*/ 2276475 h 3228975"/>
              <a:gd name="connsiteX329" fmla="*/ 5724525 w 8086725"/>
              <a:gd name="connsiteY329" fmla="*/ 2314575 h 3228975"/>
              <a:gd name="connsiteX330" fmla="*/ 5886450 w 8086725"/>
              <a:gd name="connsiteY330" fmla="*/ 2381250 h 3228975"/>
              <a:gd name="connsiteX331" fmla="*/ 6096000 w 8086725"/>
              <a:gd name="connsiteY331" fmla="*/ 2457450 h 3228975"/>
              <a:gd name="connsiteX332" fmla="*/ 5353050 w 8086725"/>
              <a:gd name="connsiteY332" fmla="*/ 1533525 h 3228975"/>
              <a:gd name="connsiteX333" fmla="*/ 4743450 w 8086725"/>
              <a:gd name="connsiteY333" fmla="*/ 819150 h 3228975"/>
              <a:gd name="connsiteX334" fmla="*/ 4629150 w 8086725"/>
              <a:gd name="connsiteY334" fmla="*/ 647700 h 3228975"/>
              <a:gd name="connsiteX335" fmla="*/ 4600575 w 8086725"/>
              <a:gd name="connsiteY335" fmla="*/ 514350 h 3228975"/>
              <a:gd name="connsiteX336" fmla="*/ 4648200 w 8086725"/>
              <a:gd name="connsiteY336" fmla="*/ 390525 h 3228975"/>
              <a:gd name="connsiteX337" fmla="*/ 4695825 w 8086725"/>
              <a:gd name="connsiteY337" fmla="*/ 371475 h 3228975"/>
              <a:gd name="connsiteX338" fmla="*/ 4772025 w 8086725"/>
              <a:gd name="connsiteY338" fmla="*/ 361950 h 3228975"/>
              <a:gd name="connsiteX339" fmla="*/ 5019675 w 8086725"/>
              <a:gd name="connsiteY339" fmla="*/ 381000 h 3228975"/>
              <a:gd name="connsiteX340" fmla="*/ 5457825 w 8086725"/>
              <a:gd name="connsiteY340" fmla="*/ 561975 h 3228975"/>
              <a:gd name="connsiteX341" fmla="*/ 5534025 w 8086725"/>
              <a:gd name="connsiteY341" fmla="*/ 647700 h 3228975"/>
              <a:gd name="connsiteX342" fmla="*/ 5572125 w 8086725"/>
              <a:gd name="connsiteY342" fmla="*/ 742950 h 3228975"/>
              <a:gd name="connsiteX343" fmla="*/ 5543550 w 8086725"/>
              <a:gd name="connsiteY343" fmla="*/ 1066800 h 3228975"/>
              <a:gd name="connsiteX344" fmla="*/ 5295900 w 8086725"/>
              <a:gd name="connsiteY344" fmla="*/ 1533525 h 3228975"/>
              <a:gd name="connsiteX345" fmla="*/ 5257800 w 8086725"/>
              <a:gd name="connsiteY345" fmla="*/ 1581150 h 3228975"/>
              <a:gd name="connsiteX346" fmla="*/ 5238750 w 8086725"/>
              <a:gd name="connsiteY346" fmla="*/ 1657350 h 3228975"/>
              <a:gd name="connsiteX347" fmla="*/ 5514975 w 8086725"/>
              <a:gd name="connsiteY347" fmla="*/ 1838325 h 3228975"/>
              <a:gd name="connsiteX348" fmla="*/ 5981700 w 8086725"/>
              <a:gd name="connsiteY348" fmla="*/ 2019300 h 3228975"/>
              <a:gd name="connsiteX349" fmla="*/ 6238875 w 8086725"/>
              <a:gd name="connsiteY349" fmla="*/ 2190750 h 3228975"/>
              <a:gd name="connsiteX350" fmla="*/ 6296025 w 8086725"/>
              <a:gd name="connsiteY350" fmla="*/ 2257425 h 3228975"/>
              <a:gd name="connsiteX351" fmla="*/ 6305550 w 8086725"/>
              <a:gd name="connsiteY351" fmla="*/ 2305050 h 3228975"/>
              <a:gd name="connsiteX352" fmla="*/ 6334125 w 8086725"/>
              <a:gd name="connsiteY352" fmla="*/ 2505075 h 3228975"/>
              <a:gd name="connsiteX353" fmla="*/ 6438900 w 8086725"/>
              <a:gd name="connsiteY353" fmla="*/ 2600325 h 3228975"/>
              <a:gd name="connsiteX354" fmla="*/ 6724650 w 8086725"/>
              <a:gd name="connsiteY354" fmla="*/ 2667000 h 3228975"/>
              <a:gd name="connsiteX355" fmla="*/ 7029450 w 8086725"/>
              <a:gd name="connsiteY355" fmla="*/ 2628900 h 3228975"/>
              <a:gd name="connsiteX356" fmla="*/ 7115175 w 8086725"/>
              <a:gd name="connsiteY356" fmla="*/ 2524125 h 3228975"/>
              <a:gd name="connsiteX357" fmla="*/ 6829425 w 8086725"/>
              <a:gd name="connsiteY357" fmla="*/ 1914525 h 3228975"/>
              <a:gd name="connsiteX358" fmla="*/ 6648450 w 8086725"/>
              <a:gd name="connsiteY358" fmla="*/ 1771650 h 3228975"/>
              <a:gd name="connsiteX359" fmla="*/ 6238875 w 8086725"/>
              <a:gd name="connsiteY359" fmla="*/ 1485900 h 3228975"/>
              <a:gd name="connsiteX360" fmla="*/ 6219825 w 8086725"/>
              <a:gd name="connsiteY360" fmla="*/ 1514475 h 3228975"/>
              <a:gd name="connsiteX361" fmla="*/ 6305550 w 8086725"/>
              <a:gd name="connsiteY361" fmla="*/ 1885950 h 3228975"/>
              <a:gd name="connsiteX362" fmla="*/ 6457950 w 8086725"/>
              <a:gd name="connsiteY362" fmla="*/ 2057400 h 3228975"/>
              <a:gd name="connsiteX363" fmla="*/ 6886575 w 8086725"/>
              <a:gd name="connsiteY363" fmla="*/ 2343150 h 3228975"/>
              <a:gd name="connsiteX364" fmla="*/ 7277100 w 8086725"/>
              <a:gd name="connsiteY364" fmla="*/ 2486025 h 3228975"/>
              <a:gd name="connsiteX365" fmla="*/ 7343775 w 8086725"/>
              <a:gd name="connsiteY365" fmla="*/ 2495550 h 3228975"/>
              <a:gd name="connsiteX366" fmla="*/ 7353300 w 8086725"/>
              <a:gd name="connsiteY366" fmla="*/ 2447925 h 3228975"/>
              <a:gd name="connsiteX367" fmla="*/ 7153275 w 8086725"/>
              <a:gd name="connsiteY367" fmla="*/ 2371725 h 3228975"/>
              <a:gd name="connsiteX368" fmla="*/ 6934200 w 8086725"/>
              <a:gd name="connsiteY368" fmla="*/ 2419350 h 3228975"/>
              <a:gd name="connsiteX369" fmla="*/ 6915150 w 8086725"/>
              <a:gd name="connsiteY369" fmla="*/ 2476500 h 3228975"/>
              <a:gd name="connsiteX370" fmla="*/ 7038975 w 8086725"/>
              <a:gd name="connsiteY370" fmla="*/ 2657475 h 3228975"/>
              <a:gd name="connsiteX371" fmla="*/ 7419975 w 8086725"/>
              <a:gd name="connsiteY371" fmla="*/ 2847975 h 3228975"/>
              <a:gd name="connsiteX372" fmla="*/ 7715250 w 8086725"/>
              <a:gd name="connsiteY372" fmla="*/ 2886075 h 3228975"/>
              <a:gd name="connsiteX373" fmla="*/ 7896225 w 8086725"/>
              <a:gd name="connsiteY373" fmla="*/ 2876550 h 3228975"/>
              <a:gd name="connsiteX374" fmla="*/ 7915275 w 8086725"/>
              <a:gd name="connsiteY374" fmla="*/ 2800350 h 3228975"/>
              <a:gd name="connsiteX375" fmla="*/ 7877175 w 8086725"/>
              <a:gd name="connsiteY375" fmla="*/ 2657475 h 3228975"/>
              <a:gd name="connsiteX376" fmla="*/ 7581900 w 8086725"/>
              <a:gd name="connsiteY376" fmla="*/ 2438400 h 3228975"/>
              <a:gd name="connsiteX377" fmla="*/ 7467600 w 8086725"/>
              <a:gd name="connsiteY377" fmla="*/ 2447925 h 3228975"/>
              <a:gd name="connsiteX378" fmla="*/ 7600950 w 8086725"/>
              <a:gd name="connsiteY378" fmla="*/ 2466975 h 3228975"/>
              <a:gd name="connsiteX379" fmla="*/ 7800975 w 8086725"/>
              <a:gd name="connsiteY379" fmla="*/ 2476500 h 3228975"/>
              <a:gd name="connsiteX380" fmla="*/ 8029575 w 8086725"/>
              <a:gd name="connsiteY380" fmla="*/ 2447925 h 3228975"/>
              <a:gd name="connsiteX381" fmla="*/ 8077200 w 8086725"/>
              <a:gd name="connsiteY381" fmla="*/ 2409825 h 3228975"/>
              <a:gd name="connsiteX382" fmla="*/ 8086725 w 8086725"/>
              <a:gd name="connsiteY382" fmla="*/ 2324100 h 3228975"/>
              <a:gd name="connsiteX383" fmla="*/ 8001000 w 8086725"/>
              <a:gd name="connsiteY383" fmla="*/ 2143125 h 3228975"/>
              <a:gd name="connsiteX384" fmla="*/ 7734300 w 8086725"/>
              <a:gd name="connsiteY384" fmla="*/ 1933575 h 3228975"/>
              <a:gd name="connsiteX385" fmla="*/ 7381875 w 8086725"/>
              <a:gd name="connsiteY385" fmla="*/ 1781175 h 3228975"/>
              <a:gd name="connsiteX386" fmla="*/ 7305675 w 8086725"/>
              <a:gd name="connsiteY386" fmla="*/ 1790700 h 3228975"/>
              <a:gd name="connsiteX387" fmla="*/ 7429500 w 8086725"/>
              <a:gd name="connsiteY387" fmla="*/ 1990725 h 3228975"/>
              <a:gd name="connsiteX388" fmla="*/ 7753350 w 8086725"/>
              <a:gd name="connsiteY388" fmla="*/ 2190750 h 3228975"/>
              <a:gd name="connsiteX389" fmla="*/ 8048625 w 8086725"/>
              <a:gd name="connsiteY389" fmla="*/ 2257425 h 3228975"/>
              <a:gd name="connsiteX390" fmla="*/ 8029575 w 8086725"/>
              <a:gd name="connsiteY390" fmla="*/ 2200275 h 3228975"/>
              <a:gd name="connsiteX391" fmla="*/ 7953375 w 8086725"/>
              <a:gd name="connsiteY391" fmla="*/ 2133600 h 3228975"/>
              <a:gd name="connsiteX392" fmla="*/ 7705725 w 8086725"/>
              <a:gd name="connsiteY392" fmla="*/ 2009775 h 3228975"/>
              <a:gd name="connsiteX393" fmla="*/ 7791450 w 8086725"/>
              <a:gd name="connsiteY393" fmla="*/ 1971675 h 3228975"/>
              <a:gd name="connsiteX394" fmla="*/ 7791450 w 8086725"/>
              <a:gd name="connsiteY394" fmla="*/ 1971675 h 3228975"/>
              <a:gd name="connsiteX395" fmla="*/ 7839075 w 8086725"/>
              <a:gd name="connsiteY395" fmla="*/ 1943100 h 3228975"/>
              <a:gd name="connsiteX396" fmla="*/ 7810500 w 8086725"/>
              <a:gd name="connsiteY396" fmla="*/ 2000250 h 3228975"/>
              <a:gd name="connsiteX397" fmla="*/ 7820025 w 8086725"/>
              <a:gd name="connsiteY397" fmla="*/ 2038350 h 3228975"/>
              <a:gd name="connsiteX398" fmla="*/ 7934325 w 8086725"/>
              <a:gd name="connsiteY398" fmla="*/ 2019300 h 3228975"/>
              <a:gd name="connsiteX399" fmla="*/ 7915275 w 8086725"/>
              <a:gd name="connsiteY399" fmla="*/ 1905000 h 3228975"/>
              <a:gd name="connsiteX400" fmla="*/ 7886700 w 8086725"/>
              <a:gd name="connsiteY400" fmla="*/ 1885950 h 3228975"/>
              <a:gd name="connsiteX401" fmla="*/ 7848600 w 8086725"/>
              <a:gd name="connsiteY401" fmla="*/ 1924050 h 3228975"/>
              <a:gd name="connsiteX402" fmla="*/ 7810500 w 8086725"/>
              <a:gd name="connsiteY402" fmla="*/ 2200275 h 3228975"/>
              <a:gd name="connsiteX403" fmla="*/ 7772400 w 8086725"/>
              <a:gd name="connsiteY403" fmla="*/ 2371725 h 3228975"/>
              <a:gd name="connsiteX404" fmla="*/ 7677150 w 8086725"/>
              <a:gd name="connsiteY404" fmla="*/ 2476500 h 3228975"/>
              <a:gd name="connsiteX405" fmla="*/ 7439025 w 8086725"/>
              <a:gd name="connsiteY405" fmla="*/ 2609850 h 3228975"/>
              <a:gd name="connsiteX406" fmla="*/ 7267575 w 8086725"/>
              <a:gd name="connsiteY406" fmla="*/ 2647950 h 3228975"/>
              <a:gd name="connsiteX407" fmla="*/ 7096125 w 8086725"/>
              <a:gd name="connsiteY407" fmla="*/ 2676525 h 3228975"/>
              <a:gd name="connsiteX408" fmla="*/ 7115175 w 8086725"/>
              <a:gd name="connsiteY408" fmla="*/ 2705100 h 3228975"/>
              <a:gd name="connsiteX409" fmla="*/ 7153275 w 8086725"/>
              <a:gd name="connsiteY409" fmla="*/ 2724150 h 3228975"/>
              <a:gd name="connsiteX410" fmla="*/ 7200900 w 8086725"/>
              <a:gd name="connsiteY410" fmla="*/ 2762250 h 3228975"/>
              <a:gd name="connsiteX411" fmla="*/ 7219950 w 8086725"/>
              <a:gd name="connsiteY411" fmla="*/ 2790825 h 3228975"/>
              <a:gd name="connsiteX412" fmla="*/ 7277100 w 8086725"/>
              <a:gd name="connsiteY412" fmla="*/ 2867025 h 3228975"/>
              <a:gd name="connsiteX413" fmla="*/ 7277100 w 8086725"/>
              <a:gd name="connsiteY413" fmla="*/ 2924175 h 3228975"/>
              <a:gd name="connsiteX414" fmla="*/ 7229475 w 8086725"/>
              <a:gd name="connsiteY414" fmla="*/ 2933700 h 3228975"/>
              <a:gd name="connsiteX415" fmla="*/ 6734175 w 8086725"/>
              <a:gd name="connsiteY415" fmla="*/ 2914650 h 3228975"/>
              <a:gd name="connsiteX416" fmla="*/ 6667500 w 8086725"/>
              <a:gd name="connsiteY416" fmla="*/ 2895600 h 3228975"/>
              <a:gd name="connsiteX417" fmla="*/ 6610350 w 8086725"/>
              <a:gd name="connsiteY417" fmla="*/ 2838450 h 3228975"/>
              <a:gd name="connsiteX418" fmla="*/ 6429375 w 8086725"/>
              <a:gd name="connsiteY418" fmla="*/ 2676525 h 3228975"/>
              <a:gd name="connsiteX419" fmla="*/ 6343650 w 8086725"/>
              <a:gd name="connsiteY419" fmla="*/ 2581275 h 3228975"/>
              <a:gd name="connsiteX420" fmla="*/ 6315075 w 8086725"/>
              <a:gd name="connsiteY420" fmla="*/ 2495550 h 3228975"/>
              <a:gd name="connsiteX421" fmla="*/ 6410325 w 8086725"/>
              <a:gd name="connsiteY421" fmla="*/ 2352675 h 3228975"/>
              <a:gd name="connsiteX422" fmla="*/ 6562725 w 8086725"/>
              <a:gd name="connsiteY422" fmla="*/ 2266950 h 3228975"/>
              <a:gd name="connsiteX423" fmla="*/ 6543675 w 8086725"/>
              <a:gd name="connsiteY423" fmla="*/ 2238375 h 3228975"/>
              <a:gd name="connsiteX424" fmla="*/ 6372225 w 8086725"/>
              <a:gd name="connsiteY424" fmla="*/ 2209800 h 3228975"/>
              <a:gd name="connsiteX425" fmla="*/ 5962650 w 8086725"/>
              <a:gd name="connsiteY425" fmla="*/ 2200275 h 3228975"/>
              <a:gd name="connsiteX426" fmla="*/ 5705475 w 8086725"/>
              <a:gd name="connsiteY426" fmla="*/ 2219325 h 3228975"/>
              <a:gd name="connsiteX427" fmla="*/ 5743575 w 8086725"/>
              <a:gd name="connsiteY427" fmla="*/ 2381250 h 3228975"/>
              <a:gd name="connsiteX428" fmla="*/ 5905500 w 8086725"/>
              <a:gd name="connsiteY428" fmla="*/ 2609850 h 3228975"/>
              <a:gd name="connsiteX429" fmla="*/ 6048375 w 8086725"/>
              <a:gd name="connsiteY429" fmla="*/ 2867025 h 3228975"/>
              <a:gd name="connsiteX430" fmla="*/ 6000750 w 8086725"/>
              <a:gd name="connsiteY430" fmla="*/ 2971800 h 3228975"/>
              <a:gd name="connsiteX431" fmla="*/ 5753100 w 8086725"/>
              <a:gd name="connsiteY431" fmla="*/ 3067050 h 3228975"/>
              <a:gd name="connsiteX432" fmla="*/ 4829175 w 8086725"/>
              <a:gd name="connsiteY432" fmla="*/ 3048000 h 3228975"/>
              <a:gd name="connsiteX433" fmla="*/ 4667250 w 8086725"/>
              <a:gd name="connsiteY433" fmla="*/ 3000375 h 3228975"/>
              <a:gd name="connsiteX434" fmla="*/ 4581525 w 8086725"/>
              <a:gd name="connsiteY434" fmla="*/ 2924175 h 3228975"/>
              <a:gd name="connsiteX435" fmla="*/ 4457700 w 8086725"/>
              <a:gd name="connsiteY435" fmla="*/ 2733675 h 3228975"/>
              <a:gd name="connsiteX436" fmla="*/ 4514850 w 8086725"/>
              <a:gd name="connsiteY436" fmla="*/ 2466975 h 3228975"/>
              <a:gd name="connsiteX437" fmla="*/ 4600575 w 8086725"/>
              <a:gd name="connsiteY437" fmla="*/ 2362200 h 3228975"/>
              <a:gd name="connsiteX438" fmla="*/ 4762500 w 8086725"/>
              <a:gd name="connsiteY438" fmla="*/ 2219325 h 3228975"/>
              <a:gd name="connsiteX439" fmla="*/ 4838700 w 8086725"/>
              <a:gd name="connsiteY439" fmla="*/ 2181225 h 3228975"/>
              <a:gd name="connsiteX440" fmla="*/ 4905375 w 8086725"/>
              <a:gd name="connsiteY440" fmla="*/ 2143125 h 3228975"/>
              <a:gd name="connsiteX441" fmla="*/ 5029200 w 8086725"/>
              <a:gd name="connsiteY441" fmla="*/ 2076450 h 3228975"/>
              <a:gd name="connsiteX442" fmla="*/ 4962525 w 8086725"/>
              <a:gd name="connsiteY442" fmla="*/ 1924050 h 3228975"/>
              <a:gd name="connsiteX443" fmla="*/ 4552950 w 8086725"/>
              <a:gd name="connsiteY443" fmla="*/ 1704975 h 3228975"/>
              <a:gd name="connsiteX444" fmla="*/ 4438650 w 8086725"/>
              <a:gd name="connsiteY444" fmla="*/ 1695450 h 3228975"/>
              <a:gd name="connsiteX445" fmla="*/ 4410075 w 8086725"/>
              <a:gd name="connsiteY445" fmla="*/ 1905000 h 3228975"/>
              <a:gd name="connsiteX446" fmla="*/ 4724400 w 8086725"/>
              <a:gd name="connsiteY446" fmla="*/ 2114550 h 3228975"/>
              <a:gd name="connsiteX447" fmla="*/ 5000625 w 8086725"/>
              <a:gd name="connsiteY447" fmla="*/ 2219325 h 3228975"/>
              <a:gd name="connsiteX448" fmla="*/ 5981700 w 8086725"/>
              <a:gd name="connsiteY448" fmla="*/ 2324100 h 3228975"/>
              <a:gd name="connsiteX449" fmla="*/ 7115175 w 8086725"/>
              <a:gd name="connsiteY449" fmla="*/ 2305050 h 3228975"/>
              <a:gd name="connsiteX450" fmla="*/ 7391400 w 8086725"/>
              <a:gd name="connsiteY450" fmla="*/ 2190750 h 3228975"/>
              <a:gd name="connsiteX451" fmla="*/ 7496175 w 8086725"/>
              <a:gd name="connsiteY451" fmla="*/ 2133600 h 3228975"/>
              <a:gd name="connsiteX452" fmla="*/ 7581900 w 8086725"/>
              <a:gd name="connsiteY452" fmla="*/ 2085975 h 3228975"/>
              <a:gd name="connsiteX453" fmla="*/ 7639050 w 8086725"/>
              <a:gd name="connsiteY453" fmla="*/ 2000250 h 3228975"/>
              <a:gd name="connsiteX454" fmla="*/ 7496175 w 8086725"/>
              <a:gd name="connsiteY454" fmla="*/ 1828800 h 3228975"/>
              <a:gd name="connsiteX455" fmla="*/ 7124700 w 8086725"/>
              <a:gd name="connsiteY455" fmla="*/ 1695450 h 3228975"/>
              <a:gd name="connsiteX456" fmla="*/ 6934200 w 8086725"/>
              <a:gd name="connsiteY456" fmla="*/ 1704975 h 3228975"/>
              <a:gd name="connsiteX457" fmla="*/ 6981825 w 8086725"/>
              <a:gd name="connsiteY457" fmla="*/ 1733550 h 3228975"/>
              <a:gd name="connsiteX458" fmla="*/ 7019925 w 8086725"/>
              <a:gd name="connsiteY458" fmla="*/ 1771650 h 3228975"/>
              <a:gd name="connsiteX459" fmla="*/ 7258050 w 8086725"/>
              <a:gd name="connsiteY459" fmla="*/ 1876425 h 3228975"/>
              <a:gd name="connsiteX460" fmla="*/ 7400925 w 8086725"/>
              <a:gd name="connsiteY460" fmla="*/ 1971675 h 3228975"/>
              <a:gd name="connsiteX461" fmla="*/ 7639050 w 8086725"/>
              <a:gd name="connsiteY461" fmla="*/ 2114550 h 3228975"/>
              <a:gd name="connsiteX462" fmla="*/ 7696200 w 8086725"/>
              <a:gd name="connsiteY462" fmla="*/ 2162175 h 3228975"/>
              <a:gd name="connsiteX463" fmla="*/ 7715250 w 8086725"/>
              <a:gd name="connsiteY463" fmla="*/ 2190750 h 3228975"/>
              <a:gd name="connsiteX464" fmla="*/ 7686675 w 8086725"/>
              <a:gd name="connsiteY464" fmla="*/ 2171700 h 3228975"/>
              <a:gd name="connsiteX465" fmla="*/ 7162800 w 8086725"/>
              <a:gd name="connsiteY465" fmla="*/ 2247900 h 3228975"/>
              <a:gd name="connsiteX466" fmla="*/ 6705600 w 8086725"/>
              <a:gd name="connsiteY466" fmla="*/ 2543175 h 3228975"/>
              <a:gd name="connsiteX467" fmla="*/ 6534150 w 8086725"/>
              <a:gd name="connsiteY467" fmla="*/ 2647950 h 3228975"/>
              <a:gd name="connsiteX468" fmla="*/ 6429375 w 8086725"/>
              <a:gd name="connsiteY468" fmla="*/ 2705100 h 3228975"/>
              <a:gd name="connsiteX469" fmla="*/ 5867400 w 8086725"/>
              <a:gd name="connsiteY469" fmla="*/ 2809875 h 3228975"/>
              <a:gd name="connsiteX470" fmla="*/ 5486400 w 8086725"/>
              <a:gd name="connsiteY470" fmla="*/ 2790825 h 3228975"/>
              <a:gd name="connsiteX471" fmla="*/ 5133975 w 8086725"/>
              <a:gd name="connsiteY471" fmla="*/ 2619375 h 3228975"/>
              <a:gd name="connsiteX472" fmla="*/ 5057775 w 8086725"/>
              <a:gd name="connsiteY472" fmla="*/ 2533650 h 3228975"/>
              <a:gd name="connsiteX473" fmla="*/ 4953000 w 8086725"/>
              <a:gd name="connsiteY473" fmla="*/ 2362200 h 3228975"/>
              <a:gd name="connsiteX474" fmla="*/ 4800600 w 8086725"/>
              <a:gd name="connsiteY474" fmla="*/ 2238375 h 3228975"/>
              <a:gd name="connsiteX475" fmla="*/ 4714875 w 8086725"/>
              <a:gd name="connsiteY475" fmla="*/ 2314575 h 3228975"/>
              <a:gd name="connsiteX476" fmla="*/ 4391025 w 8086725"/>
              <a:gd name="connsiteY476" fmla="*/ 2514600 h 3228975"/>
              <a:gd name="connsiteX477" fmla="*/ 4210050 w 8086725"/>
              <a:gd name="connsiteY477" fmla="*/ 2609850 h 3228975"/>
              <a:gd name="connsiteX478" fmla="*/ 4048125 w 8086725"/>
              <a:gd name="connsiteY478" fmla="*/ 2743200 h 3228975"/>
              <a:gd name="connsiteX479" fmla="*/ 3895725 w 8086725"/>
              <a:gd name="connsiteY479" fmla="*/ 2809875 h 3228975"/>
              <a:gd name="connsiteX480" fmla="*/ 3714750 w 8086725"/>
              <a:gd name="connsiteY480" fmla="*/ 2924175 h 3228975"/>
              <a:gd name="connsiteX481" fmla="*/ 3505200 w 8086725"/>
              <a:gd name="connsiteY481" fmla="*/ 3019425 h 3228975"/>
              <a:gd name="connsiteX482" fmla="*/ 3105150 w 8086725"/>
              <a:gd name="connsiteY482" fmla="*/ 3143250 h 3228975"/>
              <a:gd name="connsiteX483" fmla="*/ 2962275 w 8086725"/>
              <a:gd name="connsiteY483" fmla="*/ 3152775 h 3228975"/>
              <a:gd name="connsiteX484" fmla="*/ 2714625 w 8086725"/>
              <a:gd name="connsiteY484" fmla="*/ 3095625 h 3228975"/>
              <a:gd name="connsiteX485" fmla="*/ 2628900 w 8086725"/>
              <a:gd name="connsiteY485" fmla="*/ 3019425 h 3228975"/>
              <a:gd name="connsiteX486" fmla="*/ 2343150 w 8086725"/>
              <a:gd name="connsiteY486" fmla="*/ 2686050 h 3228975"/>
              <a:gd name="connsiteX487" fmla="*/ 2305050 w 8086725"/>
              <a:gd name="connsiteY487" fmla="*/ 2581275 h 3228975"/>
              <a:gd name="connsiteX488" fmla="*/ 2314575 w 8086725"/>
              <a:gd name="connsiteY488" fmla="*/ 2466975 h 3228975"/>
              <a:gd name="connsiteX489" fmla="*/ 2381250 w 8086725"/>
              <a:gd name="connsiteY489" fmla="*/ 2390775 h 3228975"/>
              <a:gd name="connsiteX490" fmla="*/ 2562225 w 8086725"/>
              <a:gd name="connsiteY490" fmla="*/ 2219325 h 3228975"/>
              <a:gd name="connsiteX491" fmla="*/ 2514600 w 8086725"/>
              <a:gd name="connsiteY491" fmla="*/ 2162175 h 3228975"/>
              <a:gd name="connsiteX492" fmla="*/ 2000250 w 8086725"/>
              <a:gd name="connsiteY492" fmla="*/ 1924050 h 3228975"/>
              <a:gd name="connsiteX493" fmla="*/ 1581150 w 8086725"/>
              <a:gd name="connsiteY493" fmla="*/ 1685925 h 3228975"/>
              <a:gd name="connsiteX494" fmla="*/ 1371600 w 8086725"/>
              <a:gd name="connsiteY494" fmla="*/ 1485900 h 3228975"/>
              <a:gd name="connsiteX495" fmla="*/ 1333500 w 8086725"/>
              <a:gd name="connsiteY495" fmla="*/ 1419225 h 3228975"/>
              <a:gd name="connsiteX496" fmla="*/ 1371600 w 8086725"/>
              <a:gd name="connsiteY496" fmla="*/ 1209675 h 3228975"/>
              <a:gd name="connsiteX497" fmla="*/ 1419225 w 8086725"/>
              <a:gd name="connsiteY497" fmla="*/ 1162050 h 3228975"/>
              <a:gd name="connsiteX498" fmla="*/ 1524000 w 8086725"/>
              <a:gd name="connsiteY498" fmla="*/ 1123950 h 3228975"/>
              <a:gd name="connsiteX499" fmla="*/ 1343025 w 8086725"/>
              <a:gd name="connsiteY499" fmla="*/ 1009650 h 3228975"/>
              <a:gd name="connsiteX500" fmla="*/ 1143000 w 8086725"/>
              <a:gd name="connsiteY500" fmla="*/ 895350 h 3228975"/>
              <a:gd name="connsiteX501" fmla="*/ 904875 w 8086725"/>
              <a:gd name="connsiteY501" fmla="*/ 771525 h 3228975"/>
              <a:gd name="connsiteX502" fmla="*/ 666750 w 8086725"/>
              <a:gd name="connsiteY502" fmla="*/ 647700 h 3228975"/>
              <a:gd name="connsiteX503" fmla="*/ 476250 w 8086725"/>
              <a:gd name="connsiteY503" fmla="*/ 561975 h 3228975"/>
              <a:gd name="connsiteX504" fmla="*/ 371475 w 8086725"/>
              <a:gd name="connsiteY504" fmla="*/ 476250 h 3228975"/>
              <a:gd name="connsiteX505" fmla="*/ 400050 w 8086725"/>
              <a:gd name="connsiteY505" fmla="*/ 409575 h 3228975"/>
              <a:gd name="connsiteX506" fmla="*/ 457200 w 8086725"/>
              <a:gd name="connsiteY506" fmla="*/ 361950 h 3228975"/>
              <a:gd name="connsiteX507" fmla="*/ 847725 w 8086725"/>
              <a:gd name="connsiteY507" fmla="*/ 190500 h 3228975"/>
              <a:gd name="connsiteX508" fmla="*/ 990600 w 8086725"/>
              <a:gd name="connsiteY508" fmla="*/ 142875 h 3228975"/>
              <a:gd name="connsiteX509" fmla="*/ 914400 w 8086725"/>
              <a:gd name="connsiteY509" fmla="*/ 152400 h 3228975"/>
              <a:gd name="connsiteX510" fmla="*/ 819150 w 8086725"/>
              <a:gd name="connsiteY510" fmla="*/ 171450 h 3228975"/>
              <a:gd name="connsiteX511" fmla="*/ 609600 w 8086725"/>
              <a:gd name="connsiteY511" fmla="*/ 180975 h 3228975"/>
              <a:gd name="connsiteX512" fmla="*/ 495300 w 8086725"/>
              <a:gd name="connsiteY512" fmla="*/ 171450 h 3228975"/>
              <a:gd name="connsiteX513" fmla="*/ 466725 w 8086725"/>
              <a:gd name="connsiteY513" fmla="*/ 142875 h 3228975"/>
              <a:gd name="connsiteX514" fmla="*/ 409575 w 8086725"/>
              <a:gd name="connsiteY514" fmla="*/ 85725 h 3228975"/>
              <a:gd name="connsiteX515" fmla="*/ 381000 w 8086725"/>
              <a:gd name="connsiteY515" fmla="*/ 95250 h 3228975"/>
              <a:gd name="connsiteX516" fmla="*/ 342900 w 8086725"/>
              <a:gd name="connsiteY516" fmla="*/ 123825 h 3228975"/>
              <a:gd name="connsiteX517" fmla="*/ 228600 w 8086725"/>
              <a:gd name="connsiteY517" fmla="*/ 247650 h 3228975"/>
              <a:gd name="connsiteX518" fmla="*/ 219075 w 8086725"/>
              <a:gd name="connsiteY518" fmla="*/ 333375 h 3228975"/>
              <a:gd name="connsiteX519" fmla="*/ 447675 w 8086725"/>
              <a:gd name="connsiteY519" fmla="*/ 533400 h 3228975"/>
              <a:gd name="connsiteX520" fmla="*/ 628650 w 8086725"/>
              <a:gd name="connsiteY520" fmla="*/ 609600 h 3228975"/>
              <a:gd name="connsiteX521" fmla="*/ 1162050 w 8086725"/>
              <a:gd name="connsiteY521" fmla="*/ 676275 h 3228975"/>
              <a:gd name="connsiteX522" fmla="*/ 1571625 w 8086725"/>
              <a:gd name="connsiteY522" fmla="*/ 723900 h 3228975"/>
              <a:gd name="connsiteX523" fmla="*/ 1590675 w 8086725"/>
              <a:gd name="connsiteY523" fmla="*/ 771525 h 3228975"/>
              <a:gd name="connsiteX524" fmla="*/ 1571625 w 8086725"/>
              <a:gd name="connsiteY524" fmla="*/ 809625 h 3228975"/>
              <a:gd name="connsiteX525" fmla="*/ 1504950 w 8086725"/>
              <a:gd name="connsiteY525" fmla="*/ 885825 h 3228975"/>
              <a:gd name="connsiteX526" fmla="*/ 1409700 w 8086725"/>
              <a:gd name="connsiteY526" fmla="*/ 1047750 h 3228975"/>
              <a:gd name="connsiteX527" fmla="*/ 1314450 w 8086725"/>
              <a:gd name="connsiteY527" fmla="*/ 1228725 h 3228975"/>
              <a:gd name="connsiteX528" fmla="*/ 1323975 w 8086725"/>
              <a:gd name="connsiteY528" fmla="*/ 1371600 h 3228975"/>
              <a:gd name="connsiteX529" fmla="*/ 1371600 w 8086725"/>
              <a:gd name="connsiteY529" fmla="*/ 1419225 h 3228975"/>
              <a:gd name="connsiteX530" fmla="*/ 1543050 w 8086725"/>
              <a:gd name="connsiteY530" fmla="*/ 1504950 h 3228975"/>
              <a:gd name="connsiteX531" fmla="*/ 1790700 w 8086725"/>
              <a:gd name="connsiteY531" fmla="*/ 1609725 h 3228975"/>
              <a:gd name="connsiteX532" fmla="*/ 2390775 w 8086725"/>
              <a:gd name="connsiteY532" fmla="*/ 1733550 h 3228975"/>
              <a:gd name="connsiteX533" fmla="*/ 2552700 w 8086725"/>
              <a:gd name="connsiteY533" fmla="*/ 1781175 h 3228975"/>
              <a:gd name="connsiteX534" fmla="*/ 2609850 w 8086725"/>
              <a:gd name="connsiteY534" fmla="*/ 1828800 h 3228975"/>
              <a:gd name="connsiteX535" fmla="*/ 2543175 w 8086725"/>
              <a:gd name="connsiteY535" fmla="*/ 1952625 h 3228975"/>
              <a:gd name="connsiteX536" fmla="*/ 2447925 w 8086725"/>
              <a:gd name="connsiteY536" fmla="*/ 2057400 h 3228975"/>
              <a:gd name="connsiteX537" fmla="*/ 2381250 w 8086725"/>
              <a:gd name="connsiteY537" fmla="*/ 2162175 h 3228975"/>
              <a:gd name="connsiteX538" fmla="*/ 2466975 w 8086725"/>
              <a:gd name="connsiteY538" fmla="*/ 2609850 h 3228975"/>
              <a:gd name="connsiteX539" fmla="*/ 2514600 w 8086725"/>
              <a:gd name="connsiteY539" fmla="*/ 2628900 h 3228975"/>
              <a:gd name="connsiteX540" fmla="*/ 2628900 w 8086725"/>
              <a:gd name="connsiteY540" fmla="*/ 2638425 h 3228975"/>
              <a:gd name="connsiteX541" fmla="*/ 3019425 w 8086725"/>
              <a:gd name="connsiteY541" fmla="*/ 2619375 h 3228975"/>
              <a:gd name="connsiteX542" fmla="*/ 3276600 w 8086725"/>
              <a:gd name="connsiteY542" fmla="*/ 2524125 h 3228975"/>
              <a:gd name="connsiteX543" fmla="*/ 3543300 w 8086725"/>
              <a:gd name="connsiteY543" fmla="*/ 2400300 h 3228975"/>
              <a:gd name="connsiteX544" fmla="*/ 3924300 w 8086725"/>
              <a:gd name="connsiteY544" fmla="*/ 2095500 h 3228975"/>
              <a:gd name="connsiteX545" fmla="*/ 3924300 w 8086725"/>
              <a:gd name="connsiteY545" fmla="*/ 1924050 h 3228975"/>
              <a:gd name="connsiteX546" fmla="*/ 3876675 w 8086725"/>
              <a:gd name="connsiteY546" fmla="*/ 1914525 h 3228975"/>
              <a:gd name="connsiteX547" fmla="*/ 3819525 w 8086725"/>
              <a:gd name="connsiteY547" fmla="*/ 1990725 h 3228975"/>
              <a:gd name="connsiteX548" fmla="*/ 3790950 w 8086725"/>
              <a:gd name="connsiteY548" fmla="*/ 2105025 h 3228975"/>
              <a:gd name="connsiteX549" fmla="*/ 3952875 w 8086725"/>
              <a:gd name="connsiteY549" fmla="*/ 2524125 h 3228975"/>
              <a:gd name="connsiteX550" fmla="*/ 4200525 w 8086725"/>
              <a:gd name="connsiteY550" fmla="*/ 2571750 h 3228975"/>
              <a:gd name="connsiteX551" fmla="*/ 4781550 w 8086725"/>
              <a:gd name="connsiteY551" fmla="*/ 2524125 h 3228975"/>
              <a:gd name="connsiteX552" fmla="*/ 4924425 w 8086725"/>
              <a:gd name="connsiteY552" fmla="*/ 2486025 h 3228975"/>
              <a:gd name="connsiteX553" fmla="*/ 5314950 w 8086725"/>
              <a:gd name="connsiteY553" fmla="*/ 2266950 h 3228975"/>
              <a:gd name="connsiteX554" fmla="*/ 5419725 w 8086725"/>
              <a:gd name="connsiteY554" fmla="*/ 1762125 h 3228975"/>
              <a:gd name="connsiteX555" fmla="*/ 5019675 w 8086725"/>
              <a:gd name="connsiteY555" fmla="*/ 1543050 h 3228975"/>
              <a:gd name="connsiteX556" fmla="*/ 4848225 w 8086725"/>
              <a:gd name="connsiteY556" fmla="*/ 1524000 h 3228975"/>
              <a:gd name="connsiteX557" fmla="*/ 5172075 w 8086725"/>
              <a:gd name="connsiteY557" fmla="*/ 1533525 h 3228975"/>
              <a:gd name="connsiteX558" fmla="*/ 5838825 w 8086725"/>
              <a:gd name="connsiteY558" fmla="*/ 1543050 h 3228975"/>
              <a:gd name="connsiteX559" fmla="*/ 6000750 w 8086725"/>
              <a:gd name="connsiteY559" fmla="*/ 1819275 h 3228975"/>
              <a:gd name="connsiteX560" fmla="*/ 6115050 w 8086725"/>
              <a:gd name="connsiteY560" fmla="*/ 1952625 h 3228975"/>
              <a:gd name="connsiteX561" fmla="*/ 6248400 w 8086725"/>
              <a:gd name="connsiteY561" fmla="*/ 2066925 h 3228975"/>
              <a:gd name="connsiteX562" fmla="*/ 6391275 w 8086725"/>
              <a:gd name="connsiteY562" fmla="*/ 2171700 h 3228975"/>
              <a:gd name="connsiteX563" fmla="*/ 6724650 w 8086725"/>
              <a:gd name="connsiteY563" fmla="*/ 2314575 h 3228975"/>
              <a:gd name="connsiteX564" fmla="*/ 6924675 w 8086725"/>
              <a:gd name="connsiteY564" fmla="*/ 2466975 h 3228975"/>
              <a:gd name="connsiteX565" fmla="*/ 7010400 w 8086725"/>
              <a:gd name="connsiteY565" fmla="*/ 2524125 h 3228975"/>
              <a:gd name="connsiteX566" fmla="*/ 7115175 w 8086725"/>
              <a:gd name="connsiteY566" fmla="*/ 2571750 h 3228975"/>
              <a:gd name="connsiteX567" fmla="*/ 7200900 w 8086725"/>
              <a:gd name="connsiteY567" fmla="*/ 2514600 h 3228975"/>
              <a:gd name="connsiteX568" fmla="*/ 7467600 w 8086725"/>
              <a:gd name="connsiteY568" fmla="*/ 2257425 h 3228975"/>
              <a:gd name="connsiteX569" fmla="*/ 7486650 w 8086725"/>
              <a:gd name="connsiteY569" fmla="*/ 2190750 h 3228975"/>
              <a:gd name="connsiteX570" fmla="*/ 7105650 w 8086725"/>
              <a:gd name="connsiteY570" fmla="*/ 1933575 h 3228975"/>
              <a:gd name="connsiteX571" fmla="*/ 6915150 w 8086725"/>
              <a:gd name="connsiteY571" fmla="*/ 1847850 h 3228975"/>
              <a:gd name="connsiteX572" fmla="*/ 6772275 w 8086725"/>
              <a:gd name="connsiteY572" fmla="*/ 1771650 h 3228975"/>
              <a:gd name="connsiteX573" fmla="*/ 6924675 w 8086725"/>
              <a:gd name="connsiteY573" fmla="*/ 1828800 h 3228975"/>
              <a:gd name="connsiteX574" fmla="*/ 7105650 w 8086725"/>
              <a:gd name="connsiteY574" fmla="*/ 1952625 h 3228975"/>
              <a:gd name="connsiteX575" fmla="*/ 7286625 w 8086725"/>
              <a:gd name="connsiteY575" fmla="*/ 2028825 h 3228975"/>
              <a:gd name="connsiteX576" fmla="*/ 7572375 w 8086725"/>
              <a:gd name="connsiteY576" fmla="*/ 2171700 h 3228975"/>
              <a:gd name="connsiteX577" fmla="*/ 7639050 w 8086725"/>
              <a:gd name="connsiteY577" fmla="*/ 2190750 h 3228975"/>
              <a:gd name="connsiteX578" fmla="*/ 7667625 w 8086725"/>
              <a:gd name="connsiteY578" fmla="*/ 2200275 h 3228975"/>
              <a:gd name="connsiteX579" fmla="*/ 7610475 w 8086725"/>
              <a:gd name="connsiteY579" fmla="*/ 2228850 h 3228975"/>
              <a:gd name="connsiteX580" fmla="*/ 7486650 w 8086725"/>
              <a:gd name="connsiteY580" fmla="*/ 2314575 h 3228975"/>
              <a:gd name="connsiteX581" fmla="*/ 7410450 w 8086725"/>
              <a:gd name="connsiteY581" fmla="*/ 2352675 h 3228975"/>
              <a:gd name="connsiteX582" fmla="*/ 7334250 w 8086725"/>
              <a:gd name="connsiteY582" fmla="*/ 2457450 h 3228975"/>
              <a:gd name="connsiteX583" fmla="*/ 7343775 w 8086725"/>
              <a:gd name="connsiteY583" fmla="*/ 2428875 h 3228975"/>
              <a:gd name="connsiteX584" fmla="*/ 7372350 w 8086725"/>
              <a:gd name="connsiteY584" fmla="*/ 2362200 h 3228975"/>
              <a:gd name="connsiteX585" fmla="*/ 7191375 w 8086725"/>
              <a:gd name="connsiteY585" fmla="*/ 2076450 h 3228975"/>
              <a:gd name="connsiteX586" fmla="*/ 6772275 w 8086725"/>
              <a:gd name="connsiteY586" fmla="*/ 1838325 h 3228975"/>
              <a:gd name="connsiteX587" fmla="*/ 6629400 w 8086725"/>
              <a:gd name="connsiteY587" fmla="*/ 1819275 h 3228975"/>
              <a:gd name="connsiteX588" fmla="*/ 6372225 w 8086725"/>
              <a:gd name="connsiteY588" fmla="*/ 1885950 h 3228975"/>
              <a:gd name="connsiteX589" fmla="*/ 6257925 w 8086725"/>
              <a:gd name="connsiteY589" fmla="*/ 2095500 h 3228975"/>
              <a:gd name="connsiteX590" fmla="*/ 6191250 w 8086725"/>
              <a:gd name="connsiteY590" fmla="*/ 2276475 h 3228975"/>
              <a:gd name="connsiteX591" fmla="*/ 6048375 w 8086725"/>
              <a:gd name="connsiteY591" fmla="*/ 2447925 h 3228975"/>
              <a:gd name="connsiteX592" fmla="*/ 5972175 w 8086725"/>
              <a:gd name="connsiteY592" fmla="*/ 2486025 h 3228975"/>
              <a:gd name="connsiteX593" fmla="*/ 5695950 w 8086725"/>
              <a:gd name="connsiteY593" fmla="*/ 2552700 h 3228975"/>
              <a:gd name="connsiteX594" fmla="*/ 5162550 w 8086725"/>
              <a:gd name="connsiteY594" fmla="*/ 2562225 h 3228975"/>
              <a:gd name="connsiteX595" fmla="*/ 5124450 w 8086725"/>
              <a:gd name="connsiteY595" fmla="*/ 2581275 h 3228975"/>
              <a:gd name="connsiteX596" fmla="*/ 5057775 w 8086725"/>
              <a:gd name="connsiteY596" fmla="*/ 2714625 h 3228975"/>
              <a:gd name="connsiteX597" fmla="*/ 5038725 w 8086725"/>
              <a:gd name="connsiteY597" fmla="*/ 2762250 h 3228975"/>
              <a:gd name="connsiteX598" fmla="*/ 4905375 w 8086725"/>
              <a:gd name="connsiteY598" fmla="*/ 2867025 h 3228975"/>
              <a:gd name="connsiteX599" fmla="*/ 4791075 w 8086725"/>
              <a:gd name="connsiteY599" fmla="*/ 2895600 h 3228975"/>
              <a:gd name="connsiteX600" fmla="*/ 4686300 w 8086725"/>
              <a:gd name="connsiteY600" fmla="*/ 2933700 h 3228975"/>
              <a:gd name="connsiteX601" fmla="*/ 4219575 w 8086725"/>
              <a:gd name="connsiteY601" fmla="*/ 2914650 h 3228975"/>
              <a:gd name="connsiteX602" fmla="*/ 4000500 w 8086725"/>
              <a:gd name="connsiteY602" fmla="*/ 2762250 h 3228975"/>
              <a:gd name="connsiteX603" fmla="*/ 3905250 w 8086725"/>
              <a:gd name="connsiteY603" fmla="*/ 2657475 h 3228975"/>
              <a:gd name="connsiteX604" fmla="*/ 3533775 w 8086725"/>
              <a:gd name="connsiteY604" fmla="*/ 2600325 h 3228975"/>
              <a:gd name="connsiteX605" fmla="*/ 3543300 w 8086725"/>
              <a:gd name="connsiteY605" fmla="*/ 2524125 h 3228975"/>
              <a:gd name="connsiteX606" fmla="*/ 3648075 w 8086725"/>
              <a:gd name="connsiteY606" fmla="*/ 2400300 h 3228975"/>
              <a:gd name="connsiteX607" fmla="*/ 3705225 w 8086725"/>
              <a:gd name="connsiteY607" fmla="*/ 2276475 h 3228975"/>
              <a:gd name="connsiteX608" fmla="*/ 3714750 w 8086725"/>
              <a:gd name="connsiteY608" fmla="*/ 2171700 h 3228975"/>
              <a:gd name="connsiteX609" fmla="*/ 3676650 w 8086725"/>
              <a:gd name="connsiteY609" fmla="*/ 2038350 h 3228975"/>
              <a:gd name="connsiteX610" fmla="*/ 3609975 w 8086725"/>
              <a:gd name="connsiteY610" fmla="*/ 1981200 h 3228975"/>
              <a:gd name="connsiteX611" fmla="*/ 3257550 w 8086725"/>
              <a:gd name="connsiteY611" fmla="*/ 1924050 h 3228975"/>
              <a:gd name="connsiteX612" fmla="*/ 2867025 w 8086725"/>
              <a:gd name="connsiteY612" fmla="*/ 1905000 h 3228975"/>
              <a:gd name="connsiteX613" fmla="*/ 2295525 w 8086725"/>
              <a:gd name="connsiteY613" fmla="*/ 1885950 h 3228975"/>
              <a:gd name="connsiteX614" fmla="*/ 2247900 w 8086725"/>
              <a:gd name="connsiteY614" fmla="*/ 1876425 h 3228975"/>
              <a:gd name="connsiteX615" fmla="*/ 2228850 w 8086725"/>
              <a:gd name="connsiteY615" fmla="*/ 1905000 h 3228975"/>
              <a:gd name="connsiteX616" fmla="*/ 2200275 w 8086725"/>
              <a:gd name="connsiteY616" fmla="*/ 2019300 h 3228975"/>
              <a:gd name="connsiteX617" fmla="*/ 2162175 w 8086725"/>
              <a:gd name="connsiteY617" fmla="*/ 2038350 h 3228975"/>
              <a:gd name="connsiteX618" fmla="*/ 2019300 w 8086725"/>
              <a:gd name="connsiteY618" fmla="*/ 2028825 h 3228975"/>
              <a:gd name="connsiteX619" fmla="*/ 1885950 w 8086725"/>
              <a:gd name="connsiteY619" fmla="*/ 1971675 h 3228975"/>
              <a:gd name="connsiteX620" fmla="*/ 1733550 w 8086725"/>
              <a:gd name="connsiteY620" fmla="*/ 1876425 h 3228975"/>
              <a:gd name="connsiteX621" fmla="*/ 1457325 w 8086725"/>
              <a:gd name="connsiteY621" fmla="*/ 1581150 h 3228975"/>
              <a:gd name="connsiteX622" fmla="*/ 1343025 w 8086725"/>
              <a:gd name="connsiteY622" fmla="*/ 1428750 h 3228975"/>
              <a:gd name="connsiteX623" fmla="*/ 1276350 w 8086725"/>
              <a:gd name="connsiteY623" fmla="*/ 1257300 h 3228975"/>
              <a:gd name="connsiteX624" fmla="*/ 1285875 w 8086725"/>
              <a:gd name="connsiteY624" fmla="*/ 981075 h 3228975"/>
              <a:gd name="connsiteX625" fmla="*/ 1504950 w 8086725"/>
              <a:gd name="connsiteY625" fmla="*/ 838200 h 3228975"/>
              <a:gd name="connsiteX626" fmla="*/ 1581150 w 8086725"/>
              <a:gd name="connsiteY626" fmla="*/ 828675 h 3228975"/>
              <a:gd name="connsiteX627" fmla="*/ 1609725 w 8086725"/>
              <a:gd name="connsiteY627" fmla="*/ 819150 h 3228975"/>
              <a:gd name="connsiteX628" fmla="*/ 1562100 w 8086725"/>
              <a:gd name="connsiteY628" fmla="*/ 771525 h 3228975"/>
              <a:gd name="connsiteX629" fmla="*/ 1457325 w 8086725"/>
              <a:gd name="connsiteY629" fmla="*/ 685800 h 3228975"/>
              <a:gd name="connsiteX630" fmla="*/ 1304925 w 8086725"/>
              <a:gd name="connsiteY630" fmla="*/ 561975 h 3228975"/>
              <a:gd name="connsiteX631" fmla="*/ 1047750 w 8086725"/>
              <a:gd name="connsiteY631" fmla="*/ 400050 h 3228975"/>
              <a:gd name="connsiteX632" fmla="*/ 914400 w 8086725"/>
              <a:gd name="connsiteY632" fmla="*/ 304800 h 3228975"/>
              <a:gd name="connsiteX633" fmla="*/ 819150 w 8086725"/>
              <a:gd name="connsiteY633" fmla="*/ 247650 h 3228975"/>
              <a:gd name="connsiteX634" fmla="*/ 771525 w 8086725"/>
              <a:gd name="connsiteY634" fmla="*/ 209550 h 3228975"/>
              <a:gd name="connsiteX635" fmla="*/ 742950 w 8086725"/>
              <a:gd name="connsiteY635" fmla="*/ 200025 h 3228975"/>
              <a:gd name="connsiteX636" fmla="*/ 695325 w 8086725"/>
              <a:gd name="connsiteY636" fmla="*/ 180975 h 3228975"/>
              <a:gd name="connsiteX637" fmla="*/ 581025 w 8086725"/>
              <a:gd name="connsiteY637" fmla="*/ 142875 h 3228975"/>
              <a:gd name="connsiteX638" fmla="*/ 514350 w 8086725"/>
              <a:gd name="connsiteY638" fmla="*/ 114300 h 3228975"/>
              <a:gd name="connsiteX639" fmla="*/ 600075 w 8086725"/>
              <a:gd name="connsiteY639" fmla="*/ 85725 h 3228975"/>
              <a:gd name="connsiteX640" fmla="*/ 628650 w 8086725"/>
              <a:gd name="connsiteY640" fmla="*/ 76200 h 3228975"/>
              <a:gd name="connsiteX641" fmla="*/ 638175 w 8086725"/>
              <a:gd name="connsiteY641" fmla="*/ 9525 h 3228975"/>
              <a:gd name="connsiteX642" fmla="*/ 600075 w 8086725"/>
              <a:gd name="connsiteY642" fmla="*/ 0 h 3228975"/>
              <a:gd name="connsiteX643" fmla="*/ 552450 w 8086725"/>
              <a:gd name="connsiteY643" fmla="*/ 9525 h 3228975"/>
              <a:gd name="connsiteX644" fmla="*/ 552450 w 8086725"/>
              <a:gd name="connsiteY644" fmla="*/ 95250 h 3228975"/>
              <a:gd name="connsiteX645" fmla="*/ 600075 w 8086725"/>
              <a:gd name="connsiteY645" fmla="*/ 133350 h 3228975"/>
              <a:gd name="connsiteX646" fmla="*/ 742950 w 8086725"/>
              <a:gd name="connsiteY646" fmla="*/ 200025 h 3228975"/>
              <a:gd name="connsiteX647" fmla="*/ 847725 w 8086725"/>
              <a:gd name="connsiteY647" fmla="*/ 209550 h 3228975"/>
              <a:gd name="connsiteX648" fmla="*/ 990600 w 8086725"/>
              <a:gd name="connsiteY648" fmla="*/ 219075 h 3228975"/>
              <a:gd name="connsiteX649" fmla="*/ 561975 w 8086725"/>
              <a:gd name="connsiteY649" fmla="*/ 247650 h 3228975"/>
              <a:gd name="connsiteX650" fmla="*/ 447675 w 8086725"/>
              <a:gd name="connsiteY650" fmla="*/ 266700 h 3228975"/>
              <a:gd name="connsiteX651" fmla="*/ 438150 w 8086725"/>
              <a:gd name="connsiteY651" fmla="*/ 295275 h 3228975"/>
              <a:gd name="connsiteX652" fmla="*/ 466725 w 8086725"/>
              <a:gd name="connsiteY652" fmla="*/ 323850 h 3228975"/>
              <a:gd name="connsiteX653" fmla="*/ 552450 w 8086725"/>
              <a:gd name="connsiteY653" fmla="*/ 428625 h 3228975"/>
              <a:gd name="connsiteX654" fmla="*/ 638175 w 8086725"/>
              <a:gd name="connsiteY654" fmla="*/ 609600 h 3228975"/>
              <a:gd name="connsiteX655" fmla="*/ 676275 w 8086725"/>
              <a:gd name="connsiteY655" fmla="*/ 752475 h 3228975"/>
              <a:gd name="connsiteX656" fmla="*/ 695325 w 8086725"/>
              <a:gd name="connsiteY656" fmla="*/ 962025 h 3228975"/>
              <a:gd name="connsiteX657" fmla="*/ 733425 w 8086725"/>
              <a:gd name="connsiteY657" fmla="*/ 1257300 h 3228975"/>
              <a:gd name="connsiteX658" fmla="*/ 762000 w 8086725"/>
              <a:gd name="connsiteY658" fmla="*/ 1247775 h 3228975"/>
              <a:gd name="connsiteX659" fmla="*/ 790575 w 8086725"/>
              <a:gd name="connsiteY659" fmla="*/ 1190625 h 3228975"/>
              <a:gd name="connsiteX660" fmla="*/ 781050 w 8086725"/>
              <a:gd name="connsiteY660" fmla="*/ 1085850 h 3228975"/>
              <a:gd name="connsiteX661" fmla="*/ 676275 w 8086725"/>
              <a:gd name="connsiteY661" fmla="*/ 1047750 h 3228975"/>
              <a:gd name="connsiteX662" fmla="*/ 609600 w 8086725"/>
              <a:gd name="connsiteY662" fmla="*/ 1085850 h 3228975"/>
              <a:gd name="connsiteX663" fmla="*/ 600075 w 8086725"/>
              <a:gd name="connsiteY663" fmla="*/ 1133475 h 3228975"/>
              <a:gd name="connsiteX664" fmla="*/ 809625 w 8086725"/>
              <a:gd name="connsiteY664" fmla="*/ 1457325 h 3228975"/>
              <a:gd name="connsiteX665" fmla="*/ 1009650 w 8086725"/>
              <a:gd name="connsiteY665" fmla="*/ 1571625 h 3228975"/>
              <a:gd name="connsiteX666" fmla="*/ 1552575 w 8086725"/>
              <a:gd name="connsiteY666" fmla="*/ 1762125 h 3228975"/>
              <a:gd name="connsiteX667" fmla="*/ 2038350 w 8086725"/>
              <a:gd name="connsiteY667" fmla="*/ 1790700 h 3228975"/>
              <a:gd name="connsiteX668" fmla="*/ 1952625 w 8086725"/>
              <a:gd name="connsiteY668" fmla="*/ 1990725 h 3228975"/>
              <a:gd name="connsiteX669" fmla="*/ 1905000 w 8086725"/>
              <a:gd name="connsiteY669" fmla="*/ 2085975 h 3228975"/>
              <a:gd name="connsiteX670" fmla="*/ 1838325 w 8086725"/>
              <a:gd name="connsiteY670" fmla="*/ 2247900 h 3228975"/>
              <a:gd name="connsiteX671" fmla="*/ 1866900 w 8086725"/>
              <a:gd name="connsiteY671" fmla="*/ 2295525 h 3228975"/>
              <a:gd name="connsiteX672" fmla="*/ 1962150 w 8086725"/>
              <a:gd name="connsiteY672" fmla="*/ 2247900 h 3228975"/>
              <a:gd name="connsiteX673" fmla="*/ 2162175 w 8086725"/>
              <a:gd name="connsiteY673" fmla="*/ 2143125 h 3228975"/>
              <a:gd name="connsiteX674" fmla="*/ 2743200 w 8086725"/>
              <a:gd name="connsiteY674" fmla="*/ 1800225 h 3228975"/>
              <a:gd name="connsiteX675" fmla="*/ 2990850 w 8086725"/>
              <a:gd name="connsiteY675" fmla="*/ 1543050 h 3228975"/>
              <a:gd name="connsiteX676" fmla="*/ 2933700 w 8086725"/>
              <a:gd name="connsiteY676" fmla="*/ 1428750 h 3228975"/>
              <a:gd name="connsiteX677" fmla="*/ 2438400 w 8086725"/>
              <a:gd name="connsiteY677" fmla="*/ 1238250 h 3228975"/>
              <a:gd name="connsiteX678" fmla="*/ 2095500 w 8086725"/>
              <a:gd name="connsiteY678" fmla="*/ 1152525 h 3228975"/>
              <a:gd name="connsiteX679" fmla="*/ 1866900 w 8086725"/>
              <a:gd name="connsiteY679" fmla="*/ 1133475 h 3228975"/>
              <a:gd name="connsiteX680" fmla="*/ 1647825 w 8086725"/>
              <a:gd name="connsiteY680" fmla="*/ 1104900 h 3228975"/>
              <a:gd name="connsiteX681" fmla="*/ 1381125 w 8086725"/>
              <a:gd name="connsiteY681" fmla="*/ 1200150 h 3228975"/>
              <a:gd name="connsiteX682" fmla="*/ 1371600 w 8086725"/>
              <a:gd name="connsiteY682" fmla="*/ 1257300 h 3228975"/>
              <a:gd name="connsiteX683" fmla="*/ 1390650 w 8086725"/>
              <a:gd name="connsiteY683" fmla="*/ 1362075 h 3228975"/>
              <a:gd name="connsiteX684" fmla="*/ 1581150 w 8086725"/>
              <a:gd name="connsiteY684" fmla="*/ 1514475 h 3228975"/>
              <a:gd name="connsiteX685" fmla="*/ 1724025 w 8086725"/>
              <a:gd name="connsiteY685" fmla="*/ 1581150 h 3228975"/>
              <a:gd name="connsiteX686" fmla="*/ 2305050 w 8086725"/>
              <a:gd name="connsiteY686" fmla="*/ 1666875 h 3228975"/>
              <a:gd name="connsiteX687" fmla="*/ 2886075 w 8086725"/>
              <a:gd name="connsiteY687" fmla="*/ 1866900 h 3228975"/>
              <a:gd name="connsiteX688" fmla="*/ 3019425 w 8086725"/>
              <a:gd name="connsiteY688" fmla="*/ 1924050 h 3228975"/>
              <a:gd name="connsiteX689" fmla="*/ 3038475 w 8086725"/>
              <a:gd name="connsiteY689" fmla="*/ 1952625 h 3228975"/>
              <a:gd name="connsiteX690" fmla="*/ 2857500 w 8086725"/>
              <a:gd name="connsiteY690" fmla="*/ 2085975 h 3228975"/>
              <a:gd name="connsiteX691" fmla="*/ 2619375 w 8086725"/>
              <a:gd name="connsiteY691" fmla="*/ 2200275 h 3228975"/>
              <a:gd name="connsiteX692" fmla="*/ 2524125 w 8086725"/>
              <a:gd name="connsiteY692" fmla="*/ 2228850 h 3228975"/>
              <a:gd name="connsiteX693" fmla="*/ 2438400 w 8086725"/>
              <a:gd name="connsiteY693" fmla="*/ 2238375 h 3228975"/>
              <a:gd name="connsiteX694" fmla="*/ 2390775 w 8086725"/>
              <a:gd name="connsiteY694" fmla="*/ 2228850 h 3228975"/>
              <a:gd name="connsiteX695" fmla="*/ 2286000 w 8086725"/>
              <a:gd name="connsiteY695" fmla="*/ 2028825 h 3228975"/>
              <a:gd name="connsiteX696" fmla="*/ 2181225 w 8086725"/>
              <a:gd name="connsiteY696" fmla="*/ 1828800 h 3228975"/>
              <a:gd name="connsiteX697" fmla="*/ 2047875 w 8086725"/>
              <a:gd name="connsiteY697" fmla="*/ 1619250 h 3228975"/>
              <a:gd name="connsiteX698" fmla="*/ 1885950 w 8086725"/>
              <a:gd name="connsiteY698" fmla="*/ 1428750 h 3228975"/>
              <a:gd name="connsiteX699" fmla="*/ 1457325 w 8086725"/>
              <a:gd name="connsiteY699" fmla="*/ 1038225 h 3228975"/>
              <a:gd name="connsiteX700" fmla="*/ 1400175 w 8086725"/>
              <a:gd name="connsiteY700" fmla="*/ 1000125 h 3228975"/>
              <a:gd name="connsiteX701" fmla="*/ 1323975 w 8086725"/>
              <a:gd name="connsiteY701" fmla="*/ 962025 h 3228975"/>
              <a:gd name="connsiteX702" fmla="*/ 1381125 w 8086725"/>
              <a:gd name="connsiteY702" fmla="*/ 942975 h 3228975"/>
              <a:gd name="connsiteX703" fmla="*/ 1504950 w 8086725"/>
              <a:gd name="connsiteY703" fmla="*/ 914400 h 3228975"/>
              <a:gd name="connsiteX704" fmla="*/ 1466850 w 8086725"/>
              <a:gd name="connsiteY704" fmla="*/ 828675 h 3228975"/>
              <a:gd name="connsiteX705" fmla="*/ 1381125 w 8086725"/>
              <a:gd name="connsiteY705" fmla="*/ 771525 h 3228975"/>
              <a:gd name="connsiteX706" fmla="*/ 1009650 w 8086725"/>
              <a:gd name="connsiteY706" fmla="*/ 657225 h 3228975"/>
              <a:gd name="connsiteX707" fmla="*/ 933450 w 8086725"/>
              <a:gd name="connsiteY707" fmla="*/ 647700 h 3228975"/>
              <a:gd name="connsiteX708" fmla="*/ 676275 w 8086725"/>
              <a:gd name="connsiteY708" fmla="*/ 723900 h 3228975"/>
              <a:gd name="connsiteX709" fmla="*/ 638175 w 8086725"/>
              <a:gd name="connsiteY709" fmla="*/ 790575 h 3228975"/>
              <a:gd name="connsiteX710" fmla="*/ 638175 w 8086725"/>
              <a:gd name="connsiteY710" fmla="*/ 952500 h 3228975"/>
              <a:gd name="connsiteX711" fmla="*/ 990600 w 8086725"/>
              <a:gd name="connsiteY711" fmla="*/ 1238250 h 3228975"/>
              <a:gd name="connsiteX712" fmla="*/ 1323975 w 8086725"/>
              <a:gd name="connsiteY712" fmla="*/ 1343025 h 3228975"/>
              <a:gd name="connsiteX713" fmla="*/ 1809750 w 8086725"/>
              <a:gd name="connsiteY713" fmla="*/ 1466850 h 3228975"/>
              <a:gd name="connsiteX714" fmla="*/ 2333625 w 8086725"/>
              <a:gd name="connsiteY714" fmla="*/ 1552575 h 3228975"/>
              <a:gd name="connsiteX715" fmla="*/ 3009900 w 8086725"/>
              <a:gd name="connsiteY715" fmla="*/ 1762125 h 3228975"/>
              <a:gd name="connsiteX716" fmla="*/ 3124200 w 8086725"/>
              <a:gd name="connsiteY716" fmla="*/ 1828800 h 3228975"/>
              <a:gd name="connsiteX717" fmla="*/ 3133725 w 8086725"/>
              <a:gd name="connsiteY717" fmla="*/ 1876425 h 3228975"/>
              <a:gd name="connsiteX718" fmla="*/ 2981325 w 8086725"/>
              <a:gd name="connsiteY718" fmla="*/ 2076450 h 3228975"/>
              <a:gd name="connsiteX719" fmla="*/ 2886075 w 8086725"/>
              <a:gd name="connsiteY719" fmla="*/ 2276475 h 3228975"/>
              <a:gd name="connsiteX720" fmla="*/ 2905125 w 8086725"/>
              <a:gd name="connsiteY720" fmla="*/ 2466975 h 3228975"/>
              <a:gd name="connsiteX721" fmla="*/ 3019425 w 8086725"/>
              <a:gd name="connsiteY721" fmla="*/ 2600325 h 3228975"/>
              <a:gd name="connsiteX722" fmla="*/ 3133725 w 8086725"/>
              <a:gd name="connsiteY722" fmla="*/ 2686050 h 3228975"/>
              <a:gd name="connsiteX723" fmla="*/ 3248025 w 8086725"/>
              <a:gd name="connsiteY723" fmla="*/ 2743200 h 3228975"/>
              <a:gd name="connsiteX724" fmla="*/ 3324225 w 8086725"/>
              <a:gd name="connsiteY724" fmla="*/ 2790825 h 3228975"/>
              <a:gd name="connsiteX725" fmla="*/ 3333750 w 8086725"/>
              <a:gd name="connsiteY725" fmla="*/ 2819400 h 3228975"/>
              <a:gd name="connsiteX726" fmla="*/ 3533775 w 8086725"/>
              <a:gd name="connsiteY726" fmla="*/ 2800350 h 3228975"/>
              <a:gd name="connsiteX727" fmla="*/ 3914775 w 8086725"/>
              <a:gd name="connsiteY727" fmla="*/ 2533650 h 3228975"/>
              <a:gd name="connsiteX728" fmla="*/ 4114800 w 8086725"/>
              <a:gd name="connsiteY728" fmla="*/ 2371725 h 3228975"/>
              <a:gd name="connsiteX729" fmla="*/ 4257675 w 8086725"/>
              <a:gd name="connsiteY729" fmla="*/ 2190750 h 3228975"/>
              <a:gd name="connsiteX730" fmla="*/ 4248150 w 8086725"/>
              <a:gd name="connsiteY730" fmla="*/ 1838325 h 3228975"/>
              <a:gd name="connsiteX731" fmla="*/ 4124325 w 8086725"/>
              <a:gd name="connsiteY731" fmla="*/ 1819275 h 3228975"/>
              <a:gd name="connsiteX732" fmla="*/ 3990975 w 8086725"/>
              <a:gd name="connsiteY732" fmla="*/ 1828800 h 3228975"/>
              <a:gd name="connsiteX733" fmla="*/ 3933825 w 8086725"/>
              <a:gd name="connsiteY733" fmla="*/ 1990725 h 3228975"/>
              <a:gd name="connsiteX734" fmla="*/ 4010025 w 8086725"/>
              <a:gd name="connsiteY734" fmla="*/ 2238375 h 3228975"/>
              <a:gd name="connsiteX735" fmla="*/ 4286250 w 8086725"/>
              <a:gd name="connsiteY735" fmla="*/ 2419350 h 3228975"/>
              <a:gd name="connsiteX736" fmla="*/ 4953000 w 8086725"/>
              <a:gd name="connsiteY736" fmla="*/ 2514600 h 3228975"/>
              <a:gd name="connsiteX737" fmla="*/ 6372225 w 8086725"/>
              <a:gd name="connsiteY737" fmla="*/ 2447925 h 3228975"/>
              <a:gd name="connsiteX738" fmla="*/ 6486525 w 8086725"/>
              <a:gd name="connsiteY738" fmla="*/ 2419350 h 3228975"/>
              <a:gd name="connsiteX739" fmla="*/ 6619875 w 8086725"/>
              <a:gd name="connsiteY739" fmla="*/ 2352675 h 3228975"/>
              <a:gd name="connsiteX740" fmla="*/ 6648450 w 8086725"/>
              <a:gd name="connsiteY740" fmla="*/ 2209800 h 3228975"/>
              <a:gd name="connsiteX741" fmla="*/ 6762750 w 8086725"/>
              <a:gd name="connsiteY741" fmla="*/ 2085975 h 3228975"/>
              <a:gd name="connsiteX742" fmla="*/ 6848475 w 8086725"/>
              <a:gd name="connsiteY742" fmla="*/ 1943100 h 3228975"/>
              <a:gd name="connsiteX743" fmla="*/ 6800850 w 8086725"/>
              <a:gd name="connsiteY743" fmla="*/ 1809750 h 3228975"/>
              <a:gd name="connsiteX744" fmla="*/ 6715125 w 8086725"/>
              <a:gd name="connsiteY744" fmla="*/ 1762125 h 3228975"/>
              <a:gd name="connsiteX745" fmla="*/ 6057900 w 8086725"/>
              <a:gd name="connsiteY745" fmla="*/ 1666875 h 3228975"/>
              <a:gd name="connsiteX746" fmla="*/ 5429250 w 8086725"/>
              <a:gd name="connsiteY746" fmla="*/ 1724025 h 3228975"/>
              <a:gd name="connsiteX747" fmla="*/ 5314950 w 8086725"/>
              <a:gd name="connsiteY747" fmla="*/ 1771650 h 3228975"/>
              <a:gd name="connsiteX748" fmla="*/ 5210175 w 8086725"/>
              <a:gd name="connsiteY748" fmla="*/ 1885950 h 3228975"/>
              <a:gd name="connsiteX749" fmla="*/ 5162550 w 8086725"/>
              <a:gd name="connsiteY749" fmla="*/ 2314575 h 3228975"/>
              <a:gd name="connsiteX750" fmla="*/ 5114925 w 8086725"/>
              <a:gd name="connsiteY750" fmla="*/ 2371725 h 3228975"/>
              <a:gd name="connsiteX751" fmla="*/ 5038725 w 8086725"/>
              <a:gd name="connsiteY751" fmla="*/ 2419350 h 3228975"/>
              <a:gd name="connsiteX752" fmla="*/ 4905375 w 8086725"/>
              <a:gd name="connsiteY752" fmla="*/ 2447925 h 3228975"/>
              <a:gd name="connsiteX753" fmla="*/ 4648200 w 8086725"/>
              <a:gd name="connsiteY753" fmla="*/ 2438400 h 3228975"/>
              <a:gd name="connsiteX754" fmla="*/ 4429125 w 8086725"/>
              <a:gd name="connsiteY754" fmla="*/ 2324100 h 3228975"/>
              <a:gd name="connsiteX755" fmla="*/ 4391025 w 8086725"/>
              <a:gd name="connsiteY755" fmla="*/ 2276475 h 3228975"/>
              <a:gd name="connsiteX756" fmla="*/ 4314825 w 8086725"/>
              <a:gd name="connsiteY756" fmla="*/ 2152650 h 3228975"/>
              <a:gd name="connsiteX757" fmla="*/ 4305300 w 8086725"/>
              <a:gd name="connsiteY757" fmla="*/ 1828800 h 3228975"/>
              <a:gd name="connsiteX758" fmla="*/ 4381500 w 8086725"/>
              <a:gd name="connsiteY758" fmla="*/ 1695450 h 3228975"/>
              <a:gd name="connsiteX759" fmla="*/ 4457700 w 8086725"/>
              <a:gd name="connsiteY759" fmla="*/ 1590675 h 3228975"/>
              <a:gd name="connsiteX760" fmla="*/ 4705350 w 8086725"/>
              <a:gd name="connsiteY760" fmla="*/ 1438275 h 3228975"/>
              <a:gd name="connsiteX761" fmla="*/ 4848225 w 8086725"/>
              <a:gd name="connsiteY761" fmla="*/ 1409700 h 3228975"/>
              <a:gd name="connsiteX762" fmla="*/ 5448300 w 8086725"/>
              <a:gd name="connsiteY762" fmla="*/ 1714500 h 3228975"/>
              <a:gd name="connsiteX763" fmla="*/ 5791200 w 8086725"/>
              <a:gd name="connsiteY763" fmla="*/ 2066925 h 3228975"/>
              <a:gd name="connsiteX764" fmla="*/ 6048375 w 8086725"/>
              <a:gd name="connsiteY764" fmla="*/ 2305050 h 3228975"/>
              <a:gd name="connsiteX765" fmla="*/ 6124575 w 8086725"/>
              <a:gd name="connsiteY765" fmla="*/ 2343150 h 3228975"/>
              <a:gd name="connsiteX766" fmla="*/ 6229350 w 8086725"/>
              <a:gd name="connsiteY766" fmla="*/ 2352675 h 3228975"/>
              <a:gd name="connsiteX767" fmla="*/ 6438900 w 8086725"/>
              <a:gd name="connsiteY767" fmla="*/ 2333625 h 3228975"/>
              <a:gd name="connsiteX768" fmla="*/ 6848475 w 8086725"/>
              <a:gd name="connsiteY768" fmla="*/ 2076450 h 3228975"/>
              <a:gd name="connsiteX769" fmla="*/ 6877050 w 8086725"/>
              <a:gd name="connsiteY769" fmla="*/ 2066925 h 3228975"/>
              <a:gd name="connsiteX770" fmla="*/ 6962775 w 8086725"/>
              <a:gd name="connsiteY770" fmla="*/ 2505075 h 3228975"/>
              <a:gd name="connsiteX771" fmla="*/ 7010400 w 8086725"/>
              <a:gd name="connsiteY771" fmla="*/ 2533650 h 3228975"/>
              <a:gd name="connsiteX772" fmla="*/ 7181850 w 8086725"/>
              <a:gd name="connsiteY772" fmla="*/ 2514600 h 3228975"/>
              <a:gd name="connsiteX773" fmla="*/ 7258050 w 8086725"/>
              <a:gd name="connsiteY773" fmla="*/ 2419350 h 3228975"/>
              <a:gd name="connsiteX774" fmla="*/ 7248525 w 8086725"/>
              <a:gd name="connsiteY774" fmla="*/ 2209800 h 3228975"/>
              <a:gd name="connsiteX775" fmla="*/ 7210425 w 8086725"/>
              <a:gd name="connsiteY775" fmla="*/ 2133600 h 3228975"/>
              <a:gd name="connsiteX776" fmla="*/ 7181850 w 8086725"/>
              <a:gd name="connsiteY776" fmla="*/ 2057400 h 3228975"/>
              <a:gd name="connsiteX777" fmla="*/ 7229475 w 8086725"/>
              <a:gd name="connsiteY777" fmla="*/ 2019300 h 3228975"/>
              <a:gd name="connsiteX778" fmla="*/ 7620000 w 8086725"/>
              <a:gd name="connsiteY778" fmla="*/ 2066925 h 3228975"/>
              <a:gd name="connsiteX779" fmla="*/ 7648575 w 8086725"/>
              <a:gd name="connsiteY779" fmla="*/ 2085975 h 3228975"/>
              <a:gd name="connsiteX780" fmla="*/ 7667625 w 8086725"/>
              <a:gd name="connsiteY780" fmla="*/ 2019300 h 3228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Lst>
            <a:rect l="l" t="t" r="r" b="b"/>
            <a:pathLst>
              <a:path w="8086725" h="3228975">
                <a:moveTo>
                  <a:pt x="762000" y="76200"/>
                </a:moveTo>
                <a:cubicBezTo>
                  <a:pt x="739775" y="82550"/>
                  <a:pt x="716786" y="86666"/>
                  <a:pt x="695325" y="95250"/>
                </a:cubicBezTo>
                <a:cubicBezTo>
                  <a:pt x="597219" y="134492"/>
                  <a:pt x="757257" y="96199"/>
                  <a:pt x="619125" y="123825"/>
                </a:cubicBezTo>
                <a:cubicBezTo>
                  <a:pt x="606425" y="133350"/>
                  <a:pt x="593943" y="143173"/>
                  <a:pt x="581025" y="152400"/>
                </a:cubicBezTo>
                <a:cubicBezTo>
                  <a:pt x="547209" y="176554"/>
                  <a:pt x="553523" y="166142"/>
                  <a:pt x="523875" y="200025"/>
                </a:cubicBezTo>
                <a:cubicBezTo>
                  <a:pt x="461932" y="270817"/>
                  <a:pt x="506702" y="228635"/>
                  <a:pt x="438150" y="314325"/>
                </a:cubicBezTo>
                <a:cubicBezTo>
                  <a:pt x="429735" y="324844"/>
                  <a:pt x="419100" y="333375"/>
                  <a:pt x="409575" y="342900"/>
                </a:cubicBezTo>
                <a:cubicBezTo>
                  <a:pt x="406400" y="358775"/>
                  <a:pt x="404702" y="375018"/>
                  <a:pt x="400050" y="390525"/>
                </a:cubicBezTo>
                <a:cubicBezTo>
                  <a:pt x="395137" y="406902"/>
                  <a:pt x="381948" y="421078"/>
                  <a:pt x="381000" y="438150"/>
                </a:cubicBezTo>
                <a:cubicBezTo>
                  <a:pt x="378704" y="479483"/>
                  <a:pt x="382896" y="521287"/>
                  <a:pt x="390525" y="561975"/>
                </a:cubicBezTo>
                <a:cubicBezTo>
                  <a:pt x="392635" y="573227"/>
                  <a:pt x="403895" y="580611"/>
                  <a:pt x="409575" y="590550"/>
                </a:cubicBezTo>
                <a:cubicBezTo>
                  <a:pt x="416620" y="602878"/>
                  <a:pt x="417537" y="619780"/>
                  <a:pt x="428625" y="628650"/>
                </a:cubicBezTo>
                <a:cubicBezTo>
                  <a:pt x="490568" y="678205"/>
                  <a:pt x="562754" y="676372"/>
                  <a:pt x="638175" y="685800"/>
                </a:cubicBezTo>
                <a:cubicBezTo>
                  <a:pt x="663575" y="688975"/>
                  <a:pt x="688788" y="694572"/>
                  <a:pt x="714375" y="695325"/>
                </a:cubicBezTo>
                <a:cubicBezTo>
                  <a:pt x="904819" y="700926"/>
                  <a:pt x="1095375" y="701675"/>
                  <a:pt x="1285875" y="704850"/>
                </a:cubicBezTo>
                <a:cubicBezTo>
                  <a:pt x="1295400" y="717550"/>
                  <a:pt x="1306574" y="729167"/>
                  <a:pt x="1314450" y="742950"/>
                </a:cubicBezTo>
                <a:cubicBezTo>
                  <a:pt x="1323462" y="758721"/>
                  <a:pt x="1331088" y="807091"/>
                  <a:pt x="1333500" y="819150"/>
                </a:cubicBezTo>
                <a:cubicBezTo>
                  <a:pt x="1327150" y="876300"/>
                  <a:pt x="1322219" y="933626"/>
                  <a:pt x="1314450" y="990600"/>
                </a:cubicBezTo>
                <a:cubicBezTo>
                  <a:pt x="1312681" y="1003571"/>
                  <a:pt x="1312187" y="1017808"/>
                  <a:pt x="1304925" y="1028700"/>
                </a:cubicBezTo>
                <a:cubicBezTo>
                  <a:pt x="1292472" y="1047380"/>
                  <a:pt x="1272319" y="1059638"/>
                  <a:pt x="1257300" y="1076325"/>
                </a:cubicBezTo>
                <a:cubicBezTo>
                  <a:pt x="1243700" y="1091436"/>
                  <a:pt x="1234031" y="1110046"/>
                  <a:pt x="1219200" y="1123950"/>
                </a:cubicBezTo>
                <a:cubicBezTo>
                  <a:pt x="1099864" y="1235828"/>
                  <a:pt x="1144395" y="1195735"/>
                  <a:pt x="1047750" y="1247775"/>
                </a:cubicBezTo>
                <a:cubicBezTo>
                  <a:pt x="1025212" y="1259911"/>
                  <a:pt x="1004271" y="1275050"/>
                  <a:pt x="981075" y="1285875"/>
                </a:cubicBezTo>
                <a:cubicBezTo>
                  <a:pt x="938196" y="1305885"/>
                  <a:pt x="875372" y="1325010"/>
                  <a:pt x="828675" y="1333500"/>
                </a:cubicBezTo>
                <a:cubicBezTo>
                  <a:pt x="784498" y="1341532"/>
                  <a:pt x="695325" y="1352550"/>
                  <a:pt x="695325" y="1352550"/>
                </a:cubicBezTo>
                <a:cubicBezTo>
                  <a:pt x="635000" y="1346200"/>
                  <a:pt x="574183" y="1343472"/>
                  <a:pt x="514350" y="1333500"/>
                </a:cubicBezTo>
                <a:cubicBezTo>
                  <a:pt x="486646" y="1328883"/>
                  <a:pt x="416164" y="1287093"/>
                  <a:pt x="400050" y="1276350"/>
                </a:cubicBezTo>
                <a:cubicBezTo>
                  <a:pt x="383134" y="1265073"/>
                  <a:pt x="367323" y="1252084"/>
                  <a:pt x="352425" y="1238250"/>
                </a:cubicBezTo>
                <a:cubicBezTo>
                  <a:pt x="322812" y="1210752"/>
                  <a:pt x="266700" y="1152525"/>
                  <a:pt x="266700" y="1152525"/>
                </a:cubicBezTo>
                <a:cubicBezTo>
                  <a:pt x="261121" y="1135788"/>
                  <a:pt x="229246" y="1042923"/>
                  <a:pt x="228600" y="1028700"/>
                </a:cubicBezTo>
                <a:cubicBezTo>
                  <a:pt x="226433" y="981019"/>
                  <a:pt x="225350" y="931814"/>
                  <a:pt x="238125" y="885825"/>
                </a:cubicBezTo>
                <a:cubicBezTo>
                  <a:pt x="242374" y="870529"/>
                  <a:pt x="264360" y="867797"/>
                  <a:pt x="276225" y="857250"/>
                </a:cubicBezTo>
                <a:cubicBezTo>
                  <a:pt x="293005" y="842335"/>
                  <a:pt x="304599" y="821176"/>
                  <a:pt x="323850" y="809625"/>
                </a:cubicBezTo>
                <a:cubicBezTo>
                  <a:pt x="353173" y="792031"/>
                  <a:pt x="388878" y="787525"/>
                  <a:pt x="419100" y="771525"/>
                </a:cubicBezTo>
                <a:cubicBezTo>
                  <a:pt x="443238" y="758746"/>
                  <a:pt x="460416" y="734044"/>
                  <a:pt x="485775" y="723900"/>
                </a:cubicBezTo>
                <a:cubicBezTo>
                  <a:pt x="509542" y="714393"/>
                  <a:pt x="536816" y="719092"/>
                  <a:pt x="561975" y="714375"/>
                </a:cubicBezTo>
                <a:cubicBezTo>
                  <a:pt x="587708" y="709550"/>
                  <a:pt x="612003" y="696026"/>
                  <a:pt x="638175" y="695325"/>
                </a:cubicBezTo>
                <a:cubicBezTo>
                  <a:pt x="968272" y="686483"/>
                  <a:pt x="1298575" y="688975"/>
                  <a:pt x="1628775" y="685800"/>
                </a:cubicBezTo>
                <a:lnTo>
                  <a:pt x="1790700" y="676275"/>
                </a:lnTo>
                <a:cubicBezTo>
                  <a:pt x="1804170" y="671785"/>
                  <a:pt x="1781690" y="648215"/>
                  <a:pt x="1771650" y="638175"/>
                </a:cubicBezTo>
                <a:cubicBezTo>
                  <a:pt x="1764550" y="631075"/>
                  <a:pt x="1752815" y="631085"/>
                  <a:pt x="1743075" y="628650"/>
                </a:cubicBezTo>
                <a:cubicBezTo>
                  <a:pt x="1683495" y="613755"/>
                  <a:pt x="1651283" y="615444"/>
                  <a:pt x="1581150" y="609600"/>
                </a:cubicBezTo>
                <a:cubicBezTo>
                  <a:pt x="1422400" y="619125"/>
                  <a:pt x="1263421" y="625391"/>
                  <a:pt x="1104900" y="638175"/>
                </a:cubicBezTo>
                <a:cubicBezTo>
                  <a:pt x="1066399" y="641280"/>
                  <a:pt x="1026463" y="642880"/>
                  <a:pt x="990600" y="657225"/>
                </a:cubicBezTo>
                <a:cubicBezTo>
                  <a:pt x="961121" y="669017"/>
                  <a:pt x="942220" y="699074"/>
                  <a:pt x="914400" y="714375"/>
                </a:cubicBezTo>
                <a:cubicBezTo>
                  <a:pt x="878234" y="734266"/>
                  <a:pt x="836625" y="742776"/>
                  <a:pt x="800100" y="762000"/>
                </a:cubicBezTo>
                <a:cubicBezTo>
                  <a:pt x="769952" y="777867"/>
                  <a:pt x="707696" y="827143"/>
                  <a:pt x="685800" y="857250"/>
                </a:cubicBezTo>
                <a:cubicBezTo>
                  <a:pt x="669702" y="879385"/>
                  <a:pt x="648981" y="935010"/>
                  <a:pt x="638175" y="962025"/>
                </a:cubicBezTo>
                <a:cubicBezTo>
                  <a:pt x="647700" y="1003300"/>
                  <a:pt x="651397" y="1046370"/>
                  <a:pt x="666750" y="1085850"/>
                </a:cubicBezTo>
                <a:cubicBezTo>
                  <a:pt x="681283" y="1123221"/>
                  <a:pt x="719410" y="1145517"/>
                  <a:pt x="752475" y="1162050"/>
                </a:cubicBezTo>
                <a:cubicBezTo>
                  <a:pt x="774102" y="1172864"/>
                  <a:pt x="798557" y="1177952"/>
                  <a:pt x="819150" y="1190625"/>
                </a:cubicBezTo>
                <a:cubicBezTo>
                  <a:pt x="840269" y="1203621"/>
                  <a:pt x="854821" y="1225858"/>
                  <a:pt x="876300" y="1238250"/>
                </a:cubicBezTo>
                <a:cubicBezTo>
                  <a:pt x="937795" y="1273728"/>
                  <a:pt x="1003712" y="1300939"/>
                  <a:pt x="1066800" y="1333500"/>
                </a:cubicBezTo>
                <a:cubicBezTo>
                  <a:pt x="1224958" y="1415130"/>
                  <a:pt x="1124493" y="1368250"/>
                  <a:pt x="1295400" y="1466850"/>
                </a:cubicBezTo>
                <a:cubicBezTo>
                  <a:pt x="1336005" y="1490276"/>
                  <a:pt x="1379301" y="1508956"/>
                  <a:pt x="1419225" y="1533525"/>
                </a:cubicBezTo>
                <a:cubicBezTo>
                  <a:pt x="1593282" y="1640637"/>
                  <a:pt x="1493862" y="1585053"/>
                  <a:pt x="1628775" y="1704975"/>
                </a:cubicBezTo>
                <a:cubicBezTo>
                  <a:pt x="1655832" y="1729025"/>
                  <a:pt x="1688035" y="1746950"/>
                  <a:pt x="1714500" y="1771650"/>
                </a:cubicBezTo>
                <a:cubicBezTo>
                  <a:pt x="1849594" y="1897738"/>
                  <a:pt x="1697984" y="1789214"/>
                  <a:pt x="1828800" y="1876425"/>
                </a:cubicBezTo>
                <a:cubicBezTo>
                  <a:pt x="1831975" y="1885950"/>
                  <a:pt x="1839234" y="1895001"/>
                  <a:pt x="1838325" y="1905000"/>
                </a:cubicBezTo>
                <a:cubicBezTo>
                  <a:pt x="1835955" y="1931074"/>
                  <a:pt x="1831812" y="1958215"/>
                  <a:pt x="1819275" y="1981200"/>
                </a:cubicBezTo>
                <a:cubicBezTo>
                  <a:pt x="1811673" y="1995137"/>
                  <a:pt x="1794788" y="2001607"/>
                  <a:pt x="1781175" y="2009775"/>
                </a:cubicBezTo>
                <a:cubicBezTo>
                  <a:pt x="1711358" y="2051665"/>
                  <a:pt x="1737295" y="2031886"/>
                  <a:pt x="1657350" y="2047875"/>
                </a:cubicBezTo>
                <a:cubicBezTo>
                  <a:pt x="1631677" y="2053010"/>
                  <a:pt x="1607042" y="2063041"/>
                  <a:pt x="1581150" y="2066925"/>
                </a:cubicBezTo>
                <a:cubicBezTo>
                  <a:pt x="1543341" y="2072596"/>
                  <a:pt x="1504950" y="2073275"/>
                  <a:pt x="1466850" y="2076450"/>
                </a:cubicBezTo>
                <a:lnTo>
                  <a:pt x="942975" y="2047875"/>
                </a:lnTo>
                <a:cubicBezTo>
                  <a:pt x="875972" y="2043481"/>
                  <a:pt x="892640" y="2047437"/>
                  <a:pt x="857250" y="2000250"/>
                </a:cubicBezTo>
                <a:cubicBezTo>
                  <a:pt x="869950" y="1965325"/>
                  <a:pt x="873919" y="1925836"/>
                  <a:pt x="895350" y="1895475"/>
                </a:cubicBezTo>
                <a:cubicBezTo>
                  <a:pt x="913660" y="1869536"/>
                  <a:pt x="944913" y="1855603"/>
                  <a:pt x="971550" y="1838325"/>
                </a:cubicBezTo>
                <a:cubicBezTo>
                  <a:pt x="1399659" y="1560633"/>
                  <a:pt x="1091048" y="1743114"/>
                  <a:pt x="1409700" y="1609725"/>
                </a:cubicBezTo>
                <a:cubicBezTo>
                  <a:pt x="1493567" y="1574618"/>
                  <a:pt x="1573393" y="1530316"/>
                  <a:pt x="1657350" y="1495425"/>
                </a:cubicBezTo>
                <a:cubicBezTo>
                  <a:pt x="2250277" y="1249014"/>
                  <a:pt x="1959716" y="1369236"/>
                  <a:pt x="2324100" y="1247775"/>
                </a:cubicBezTo>
                <a:cubicBezTo>
                  <a:pt x="2492462" y="1191654"/>
                  <a:pt x="2364180" y="1224052"/>
                  <a:pt x="2514600" y="1190625"/>
                </a:cubicBezTo>
                <a:cubicBezTo>
                  <a:pt x="2536825" y="1177925"/>
                  <a:pt x="2558380" y="1163973"/>
                  <a:pt x="2581275" y="1152525"/>
                </a:cubicBezTo>
                <a:cubicBezTo>
                  <a:pt x="2596568" y="1144879"/>
                  <a:pt x="2614987" y="1143413"/>
                  <a:pt x="2628900" y="1133475"/>
                </a:cubicBezTo>
                <a:cubicBezTo>
                  <a:pt x="2638215" y="1126821"/>
                  <a:pt x="2641600" y="1114425"/>
                  <a:pt x="2647950" y="1104900"/>
                </a:cubicBezTo>
                <a:cubicBezTo>
                  <a:pt x="2628900" y="1066800"/>
                  <a:pt x="2615365" y="1025400"/>
                  <a:pt x="2590800" y="990600"/>
                </a:cubicBezTo>
                <a:cubicBezTo>
                  <a:pt x="2576500" y="970341"/>
                  <a:pt x="2553305" y="958094"/>
                  <a:pt x="2533650" y="942975"/>
                </a:cubicBezTo>
                <a:cubicBezTo>
                  <a:pt x="2431863" y="864677"/>
                  <a:pt x="2496461" y="914765"/>
                  <a:pt x="2352675" y="857250"/>
                </a:cubicBezTo>
                <a:cubicBezTo>
                  <a:pt x="2310467" y="840367"/>
                  <a:pt x="2271244" y="816510"/>
                  <a:pt x="2228850" y="800100"/>
                </a:cubicBezTo>
                <a:cubicBezTo>
                  <a:pt x="2168966" y="776919"/>
                  <a:pt x="1911178" y="695157"/>
                  <a:pt x="1857375" y="685800"/>
                </a:cubicBezTo>
                <a:cubicBezTo>
                  <a:pt x="1778924" y="672156"/>
                  <a:pt x="1698625" y="673100"/>
                  <a:pt x="1619250" y="666750"/>
                </a:cubicBezTo>
                <a:cubicBezTo>
                  <a:pt x="1406525" y="676275"/>
                  <a:pt x="1193370" y="678783"/>
                  <a:pt x="981075" y="695325"/>
                </a:cubicBezTo>
                <a:cubicBezTo>
                  <a:pt x="948027" y="697900"/>
                  <a:pt x="914606" y="707454"/>
                  <a:pt x="885825" y="723900"/>
                </a:cubicBezTo>
                <a:cubicBezTo>
                  <a:pt x="846645" y="746288"/>
                  <a:pt x="781050" y="809625"/>
                  <a:pt x="781050" y="809625"/>
                </a:cubicBezTo>
                <a:cubicBezTo>
                  <a:pt x="777875" y="822325"/>
                  <a:pt x="771525" y="834634"/>
                  <a:pt x="771525" y="847725"/>
                </a:cubicBezTo>
                <a:cubicBezTo>
                  <a:pt x="771525" y="892288"/>
                  <a:pt x="772310" y="937377"/>
                  <a:pt x="781050" y="981075"/>
                </a:cubicBezTo>
                <a:cubicBezTo>
                  <a:pt x="796874" y="1060197"/>
                  <a:pt x="953847" y="1177879"/>
                  <a:pt x="971550" y="1190625"/>
                </a:cubicBezTo>
                <a:cubicBezTo>
                  <a:pt x="1092604" y="1277784"/>
                  <a:pt x="1237891" y="1396451"/>
                  <a:pt x="1381125" y="1457325"/>
                </a:cubicBezTo>
                <a:cubicBezTo>
                  <a:pt x="1448586" y="1485996"/>
                  <a:pt x="1522291" y="1497606"/>
                  <a:pt x="1590675" y="1524000"/>
                </a:cubicBezTo>
                <a:cubicBezTo>
                  <a:pt x="1703466" y="1567533"/>
                  <a:pt x="1813286" y="1618416"/>
                  <a:pt x="1924050" y="1666875"/>
                </a:cubicBezTo>
                <a:cubicBezTo>
                  <a:pt x="2008674" y="1703898"/>
                  <a:pt x="2068206" y="1729668"/>
                  <a:pt x="2143125" y="1781175"/>
                </a:cubicBezTo>
                <a:cubicBezTo>
                  <a:pt x="2163559" y="1795224"/>
                  <a:pt x="2182740" y="1811265"/>
                  <a:pt x="2200275" y="1828800"/>
                </a:cubicBezTo>
                <a:cubicBezTo>
                  <a:pt x="2211500" y="1840025"/>
                  <a:pt x="2219325" y="1854200"/>
                  <a:pt x="2228850" y="1866900"/>
                </a:cubicBezTo>
                <a:cubicBezTo>
                  <a:pt x="2219325" y="1901825"/>
                  <a:pt x="2220355" y="1941554"/>
                  <a:pt x="2200275" y="1971675"/>
                </a:cubicBezTo>
                <a:cubicBezTo>
                  <a:pt x="2186076" y="1992974"/>
                  <a:pt x="2155400" y="1996359"/>
                  <a:pt x="2133600" y="2009775"/>
                </a:cubicBezTo>
                <a:cubicBezTo>
                  <a:pt x="2114101" y="2021774"/>
                  <a:pt x="2096609" y="2037020"/>
                  <a:pt x="2076450" y="2047875"/>
                </a:cubicBezTo>
                <a:cubicBezTo>
                  <a:pt x="2056316" y="2058716"/>
                  <a:pt x="1952229" y="2099843"/>
                  <a:pt x="1933575" y="2105025"/>
                </a:cubicBezTo>
                <a:cubicBezTo>
                  <a:pt x="1843857" y="2129947"/>
                  <a:pt x="1793482" y="2127065"/>
                  <a:pt x="1695450" y="2133600"/>
                </a:cubicBezTo>
                <a:cubicBezTo>
                  <a:pt x="1666875" y="2117725"/>
                  <a:pt x="1623001" y="2115846"/>
                  <a:pt x="1609725" y="2085975"/>
                </a:cubicBezTo>
                <a:cubicBezTo>
                  <a:pt x="1601468" y="2067397"/>
                  <a:pt x="1640249" y="2058869"/>
                  <a:pt x="1657350" y="2047875"/>
                </a:cubicBezTo>
                <a:cubicBezTo>
                  <a:pt x="1684847" y="2030198"/>
                  <a:pt x="1716097" y="2018709"/>
                  <a:pt x="1743075" y="2000250"/>
                </a:cubicBezTo>
                <a:cubicBezTo>
                  <a:pt x="1776632" y="1977290"/>
                  <a:pt x="1804731" y="1946955"/>
                  <a:pt x="1838325" y="1924050"/>
                </a:cubicBezTo>
                <a:cubicBezTo>
                  <a:pt x="1980742" y="1826948"/>
                  <a:pt x="1919819" y="1871556"/>
                  <a:pt x="2085975" y="1838325"/>
                </a:cubicBezTo>
                <a:cubicBezTo>
                  <a:pt x="2372375" y="1781045"/>
                  <a:pt x="1918941" y="1818518"/>
                  <a:pt x="2486025" y="1800225"/>
                </a:cubicBezTo>
                <a:cubicBezTo>
                  <a:pt x="2498725" y="1797050"/>
                  <a:pt x="2513473" y="1798309"/>
                  <a:pt x="2524125" y="1790700"/>
                </a:cubicBezTo>
                <a:cubicBezTo>
                  <a:pt x="2571468" y="1756883"/>
                  <a:pt x="2551505" y="1726393"/>
                  <a:pt x="2533650" y="1676400"/>
                </a:cubicBezTo>
                <a:cubicBezTo>
                  <a:pt x="2516733" y="1629033"/>
                  <a:pt x="2470819" y="1564400"/>
                  <a:pt x="2438400" y="1533525"/>
                </a:cubicBezTo>
                <a:cubicBezTo>
                  <a:pt x="2273850" y="1376811"/>
                  <a:pt x="2001595" y="1265628"/>
                  <a:pt x="1828800" y="1171575"/>
                </a:cubicBezTo>
                <a:cubicBezTo>
                  <a:pt x="1736437" y="1121301"/>
                  <a:pt x="1648989" y="1061162"/>
                  <a:pt x="1552575" y="1019175"/>
                </a:cubicBezTo>
                <a:cubicBezTo>
                  <a:pt x="1131811" y="835939"/>
                  <a:pt x="1029888" y="800694"/>
                  <a:pt x="685800" y="628650"/>
                </a:cubicBezTo>
                <a:cubicBezTo>
                  <a:pt x="593081" y="582291"/>
                  <a:pt x="504107" y="528314"/>
                  <a:pt x="409575" y="485775"/>
                </a:cubicBezTo>
                <a:cubicBezTo>
                  <a:pt x="346075" y="457200"/>
                  <a:pt x="281756" y="430379"/>
                  <a:pt x="219075" y="400050"/>
                </a:cubicBezTo>
                <a:cubicBezTo>
                  <a:pt x="183264" y="382722"/>
                  <a:pt x="148413" y="363368"/>
                  <a:pt x="114300" y="342900"/>
                </a:cubicBezTo>
                <a:cubicBezTo>
                  <a:pt x="-3299" y="272341"/>
                  <a:pt x="68032" y="298902"/>
                  <a:pt x="0" y="276225"/>
                </a:cubicBezTo>
                <a:cubicBezTo>
                  <a:pt x="50939" y="242266"/>
                  <a:pt x="6721" y="258771"/>
                  <a:pt x="66675" y="285750"/>
                </a:cubicBezTo>
                <a:cubicBezTo>
                  <a:pt x="116151" y="308014"/>
                  <a:pt x="170548" y="318637"/>
                  <a:pt x="219075" y="342900"/>
                </a:cubicBezTo>
                <a:cubicBezTo>
                  <a:pt x="257175" y="361950"/>
                  <a:pt x="294505" y="382625"/>
                  <a:pt x="333375" y="400050"/>
                </a:cubicBezTo>
                <a:cubicBezTo>
                  <a:pt x="386640" y="423927"/>
                  <a:pt x="442794" y="441222"/>
                  <a:pt x="495300" y="466725"/>
                </a:cubicBezTo>
                <a:cubicBezTo>
                  <a:pt x="554107" y="495289"/>
                  <a:pt x="608865" y="531585"/>
                  <a:pt x="666750" y="561975"/>
                </a:cubicBezTo>
                <a:cubicBezTo>
                  <a:pt x="735895" y="598276"/>
                  <a:pt x="812499" y="621714"/>
                  <a:pt x="876300" y="666750"/>
                </a:cubicBezTo>
                <a:cubicBezTo>
                  <a:pt x="930275" y="704850"/>
                  <a:pt x="988063" y="738054"/>
                  <a:pt x="1038225" y="781050"/>
                </a:cubicBezTo>
                <a:cubicBezTo>
                  <a:pt x="1185212" y="907039"/>
                  <a:pt x="1130178" y="853953"/>
                  <a:pt x="1209675" y="933450"/>
                </a:cubicBezTo>
                <a:cubicBezTo>
                  <a:pt x="1229895" y="1034551"/>
                  <a:pt x="1230829" y="1015431"/>
                  <a:pt x="1200150" y="1181100"/>
                </a:cubicBezTo>
                <a:cubicBezTo>
                  <a:pt x="1196272" y="1202042"/>
                  <a:pt x="1180500" y="1218912"/>
                  <a:pt x="1171575" y="1238250"/>
                </a:cubicBezTo>
                <a:cubicBezTo>
                  <a:pt x="1144387" y="1297157"/>
                  <a:pt x="1139047" y="1323075"/>
                  <a:pt x="1104900" y="1381125"/>
                </a:cubicBezTo>
                <a:cubicBezTo>
                  <a:pt x="1087487" y="1410726"/>
                  <a:pt x="1063745" y="1436459"/>
                  <a:pt x="1047750" y="1466850"/>
                </a:cubicBezTo>
                <a:cubicBezTo>
                  <a:pt x="1010080" y="1538424"/>
                  <a:pt x="1007394" y="1572251"/>
                  <a:pt x="990600" y="1647825"/>
                </a:cubicBezTo>
                <a:cubicBezTo>
                  <a:pt x="993775" y="1708150"/>
                  <a:pt x="989775" y="1769285"/>
                  <a:pt x="1000125" y="1828800"/>
                </a:cubicBezTo>
                <a:cubicBezTo>
                  <a:pt x="1005453" y="1859436"/>
                  <a:pt x="1068830" y="1895275"/>
                  <a:pt x="1085850" y="1905000"/>
                </a:cubicBezTo>
                <a:cubicBezTo>
                  <a:pt x="1116295" y="1922397"/>
                  <a:pt x="1202345" y="1964494"/>
                  <a:pt x="1238250" y="1971675"/>
                </a:cubicBezTo>
                <a:cubicBezTo>
                  <a:pt x="1275740" y="1979173"/>
                  <a:pt x="1314354" y="1979539"/>
                  <a:pt x="1352550" y="1981200"/>
                </a:cubicBezTo>
                <a:lnTo>
                  <a:pt x="2114550" y="2009775"/>
                </a:lnTo>
                <a:cubicBezTo>
                  <a:pt x="2127250" y="2012950"/>
                  <a:pt x="2141758" y="2012038"/>
                  <a:pt x="2152650" y="2019300"/>
                </a:cubicBezTo>
                <a:cubicBezTo>
                  <a:pt x="2172384" y="2032456"/>
                  <a:pt x="2176446" y="2066858"/>
                  <a:pt x="2181225" y="2085975"/>
                </a:cubicBezTo>
                <a:cubicBezTo>
                  <a:pt x="2174875" y="2114550"/>
                  <a:pt x="2174442" y="2145122"/>
                  <a:pt x="2162175" y="2171700"/>
                </a:cubicBezTo>
                <a:cubicBezTo>
                  <a:pt x="2154649" y="2188007"/>
                  <a:pt x="2133316" y="2194399"/>
                  <a:pt x="2124075" y="2209800"/>
                </a:cubicBezTo>
                <a:cubicBezTo>
                  <a:pt x="2113744" y="2227019"/>
                  <a:pt x="2105025" y="2266950"/>
                  <a:pt x="2105025" y="2266950"/>
                </a:cubicBezTo>
                <a:cubicBezTo>
                  <a:pt x="2137460" y="2315602"/>
                  <a:pt x="2107621" y="2282535"/>
                  <a:pt x="2171700" y="2314575"/>
                </a:cubicBezTo>
                <a:cubicBezTo>
                  <a:pt x="2194595" y="2326023"/>
                  <a:pt x="2214608" y="2343168"/>
                  <a:pt x="2238375" y="2352675"/>
                </a:cubicBezTo>
                <a:cubicBezTo>
                  <a:pt x="2295107" y="2375368"/>
                  <a:pt x="2360148" y="2375868"/>
                  <a:pt x="2419350" y="2381250"/>
                </a:cubicBezTo>
                <a:cubicBezTo>
                  <a:pt x="2638425" y="2374900"/>
                  <a:pt x="2857965" y="2377815"/>
                  <a:pt x="3076575" y="2362200"/>
                </a:cubicBezTo>
                <a:cubicBezTo>
                  <a:pt x="3086590" y="2361485"/>
                  <a:pt x="3088278" y="2343426"/>
                  <a:pt x="3086100" y="2333625"/>
                </a:cubicBezTo>
                <a:cubicBezTo>
                  <a:pt x="3081480" y="2312834"/>
                  <a:pt x="3071319" y="2292703"/>
                  <a:pt x="3057525" y="2276475"/>
                </a:cubicBezTo>
                <a:cubicBezTo>
                  <a:pt x="3016813" y="2228578"/>
                  <a:pt x="2973078" y="2182623"/>
                  <a:pt x="2924175" y="2143125"/>
                </a:cubicBezTo>
                <a:cubicBezTo>
                  <a:pt x="2841625" y="2076450"/>
                  <a:pt x="2767070" y="1998433"/>
                  <a:pt x="2676525" y="1943100"/>
                </a:cubicBezTo>
                <a:cubicBezTo>
                  <a:pt x="2505677" y="1838693"/>
                  <a:pt x="2264664" y="1681861"/>
                  <a:pt x="2085975" y="1647825"/>
                </a:cubicBezTo>
                <a:cubicBezTo>
                  <a:pt x="1844927" y="1601911"/>
                  <a:pt x="1953034" y="1620046"/>
                  <a:pt x="1762125" y="1590675"/>
                </a:cubicBezTo>
                <a:cubicBezTo>
                  <a:pt x="1676400" y="1593850"/>
                  <a:pt x="1588830" y="1582226"/>
                  <a:pt x="1504950" y="1600200"/>
                </a:cubicBezTo>
                <a:cubicBezTo>
                  <a:pt x="1489120" y="1603592"/>
                  <a:pt x="1495425" y="1631636"/>
                  <a:pt x="1495425" y="1647825"/>
                </a:cubicBezTo>
                <a:cubicBezTo>
                  <a:pt x="1495425" y="1701893"/>
                  <a:pt x="1488823" y="1758143"/>
                  <a:pt x="1504950" y="1809750"/>
                </a:cubicBezTo>
                <a:cubicBezTo>
                  <a:pt x="1519299" y="1855665"/>
                  <a:pt x="1607493" y="1979185"/>
                  <a:pt x="1647825" y="2028825"/>
                </a:cubicBezTo>
                <a:cubicBezTo>
                  <a:pt x="1669108" y="2055019"/>
                  <a:pt x="1690635" y="2081160"/>
                  <a:pt x="1714500" y="2105025"/>
                </a:cubicBezTo>
                <a:cubicBezTo>
                  <a:pt x="1773259" y="2163784"/>
                  <a:pt x="1827153" y="2229175"/>
                  <a:pt x="1895475" y="2276475"/>
                </a:cubicBezTo>
                <a:cubicBezTo>
                  <a:pt x="2072534" y="2399054"/>
                  <a:pt x="2016039" y="2368577"/>
                  <a:pt x="2266950" y="2486025"/>
                </a:cubicBezTo>
                <a:cubicBezTo>
                  <a:pt x="2332649" y="2516778"/>
                  <a:pt x="2398157" y="2548811"/>
                  <a:pt x="2466975" y="2571750"/>
                </a:cubicBezTo>
                <a:cubicBezTo>
                  <a:pt x="2541489" y="2596588"/>
                  <a:pt x="2618811" y="2612268"/>
                  <a:pt x="2695575" y="2628900"/>
                </a:cubicBezTo>
                <a:cubicBezTo>
                  <a:pt x="2809375" y="2653557"/>
                  <a:pt x="2922933" y="2681132"/>
                  <a:pt x="3038475" y="2695575"/>
                </a:cubicBezTo>
                <a:cubicBezTo>
                  <a:pt x="3089275" y="2701925"/>
                  <a:pt x="3139951" y="2709357"/>
                  <a:pt x="3190875" y="2714625"/>
                </a:cubicBezTo>
                <a:cubicBezTo>
                  <a:pt x="3232052" y="2718885"/>
                  <a:pt x="3273446" y="2720712"/>
                  <a:pt x="3314700" y="2724150"/>
                </a:cubicBezTo>
                <a:lnTo>
                  <a:pt x="3419475" y="2733675"/>
                </a:lnTo>
                <a:cubicBezTo>
                  <a:pt x="3585081" y="2728804"/>
                  <a:pt x="3717699" y="2820078"/>
                  <a:pt x="3762375" y="2686050"/>
                </a:cubicBezTo>
                <a:cubicBezTo>
                  <a:pt x="3767495" y="2670691"/>
                  <a:pt x="3768725" y="2654300"/>
                  <a:pt x="3771900" y="2638425"/>
                </a:cubicBezTo>
                <a:cubicBezTo>
                  <a:pt x="3759200" y="2609850"/>
                  <a:pt x="3751146" y="2578718"/>
                  <a:pt x="3733800" y="2552700"/>
                </a:cubicBezTo>
                <a:cubicBezTo>
                  <a:pt x="3718856" y="2530284"/>
                  <a:pt x="3696875" y="2513348"/>
                  <a:pt x="3676650" y="2495550"/>
                </a:cubicBezTo>
                <a:cubicBezTo>
                  <a:pt x="3617445" y="2443449"/>
                  <a:pt x="3564486" y="2381684"/>
                  <a:pt x="3495675" y="2343150"/>
                </a:cubicBezTo>
                <a:cubicBezTo>
                  <a:pt x="3416300" y="2298700"/>
                  <a:pt x="3347286" y="2224756"/>
                  <a:pt x="3257550" y="2209800"/>
                </a:cubicBezTo>
                <a:cubicBezTo>
                  <a:pt x="3091599" y="2182142"/>
                  <a:pt x="3180722" y="2200118"/>
                  <a:pt x="2990850" y="2152650"/>
                </a:cubicBezTo>
                <a:cubicBezTo>
                  <a:pt x="2889250" y="2162175"/>
                  <a:pt x="2785722" y="2159346"/>
                  <a:pt x="2686050" y="2181225"/>
                </a:cubicBezTo>
                <a:cubicBezTo>
                  <a:pt x="2652506" y="2188588"/>
                  <a:pt x="2628019" y="2218066"/>
                  <a:pt x="2600325" y="2238375"/>
                </a:cubicBezTo>
                <a:cubicBezTo>
                  <a:pt x="2540454" y="2282281"/>
                  <a:pt x="2542721" y="2286544"/>
                  <a:pt x="2495550" y="2343150"/>
                </a:cubicBezTo>
                <a:cubicBezTo>
                  <a:pt x="2481390" y="2428110"/>
                  <a:pt x="2470251" y="2455787"/>
                  <a:pt x="2514600" y="2562225"/>
                </a:cubicBezTo>
                <a:cubicBezTo>
                  <a:pt x="2526689" y="2591238"/>
                  <a:pt x="2562182" y="2603933"/>
                  <a:pt x="2581275" y="2628900"/>
                </a:cubicBezTo>
                <a:cubicBezTo>
                  <a:pt x="2603767" y="2658312"/>
                  <a:pt x="2614721" y="2695705"/>
                  <a:pt x="2638425" y="2724150"/>
                </a:cubicBezTo>
                <a:cubicBezTo>
                  <a:pt x="2662901" y="2753521"/>
                  <a:pt x="2694779" y="2775874"/>
                  <a:pt x="2724150" y="2800350"/>
                </a:cubicBezTo>
                <a:cubicBezTo>
                  <a:pt x="2788076" y="2853622"/>
                  <a:pt x="2831024" y="2885360"/>
                  <a:pt x="2905125" y="2924175"/>
                </a:cubicBezTo>
                <a:cubicBezTo>
                  <a:pt x="2939109" y="2941976"/>
                  <a:pt x="2975916" y="2953999"/>
                  <a:pt x="3009900" y="2971800"/>
                </a:cubicBezTo>
                <a:cubicBezTo>
                  <a:pt x="3042699" y="2988981"/>
                  <a:pt x="3072593" y="3011315"/>
                  <a:pt x="3105150" y="3028950"/>
                </a:cubicBezTo>
                <a:cubicBezTo>
                  <a:pt x="3296602" y="3132653"/>
                  <a:pt x="3186125" y="3060708"/>
                  <a:pt x="3267075" y="3114675"/>
                </a:cubicBezTo>
                <a:cubicBezTo>
                  <a:pt x="3263900" y="3130550"/>
                  <a:pt x="3268998" y="3150852"/>
                  <a:pt x="3257550" y="3162300"/>
                </a:cubicBezTo>
                <a:cubicBezTo>
                  <a:pt x="3243351" y="3176499"/>
                  <a:pt x="3219947" y="3176751"/>
                  <a:pt x="3200400" y="3181350"/>
                </a:cubicBezTo>
                <a:cubicBezTo>
                  <a:pt x="3150021" y="3193204"/>
                  <a:pt x="3053831" y="3208467"/>
                  <a:pt x="3000375" y="3209925"/>
                </a:cubicBezTo>
                <a:lnTo>
                  <a:pt x="2047875" y="3228975"/>
                </a:lnTo>
                <a:cubicBezTo>
                  <a:pt x="1958975" y="3225800"/>
                  <a:pt x="1869297" y="3231605"/>
                  <a:pt x="1781175" y="3219450"/>
                </a:cubicBezTo>
                <a:cubicBezTo>
                  <a:pt x="1771229" y="3218078"/>
                  <a:pt x="1770230" y="3200814"/>
                  <a:pt x="1771650" y="3190875"/>
                </a:cubicBezTo>
                <a:cubicBezTo>
                  <a:pt x="1781175" y="3124200"/>
                  <a:pt x="1889125" y="3103563"/>
                  <a:pt x="1924050" y="3086100"/>
                </a:cubicBezTo>
                <a:cubicBezTo>
                  <a:pt x="2034022" y="3031114"/>
                  <a:pt x="2034372" y="3029176"/>
                  <a:pt x="2143125" y="2981325"/>
                </a:cubicBezTo>
                <a:cubicBezTo>
                  <a:pt x="2187390" y="2961848"/>
                  <a:pt x="2232902" y="2945154"/>
                  <a:pt x="2276475" y="2924175"/>
                </a:cubicBezTo>
                <a:cubicBezTo>
                  <a:pt x="2362200" y="2882900"/>
                  <a:pt x="2441347" y="2823426"/>
                  <a:pt x="2533650" y="2800350"/>
                </a:cubicBezTo>
                <a:cubicBezTo>
                  <a:pt x="2584450" y="2787650"/>
                  <a:pt x="2636701" y="2779761"/>
                  <a:pt x="2686050" y="2762250"/>
                </a:cubicBezTo>
                <a:cubicBezTo>
                  <a:pt x="2735580" y="2744675"/>
                  <a:pt x="2779341" y="2712996"/>
                  <a:pt x="2828925" y="2695575"/>
                </a:cubicBezTo>
                <a:cubicBezTo>
                  <a:pt x="3029138" y="2625230"/>
                  <a:pt x="3028229" y="2638937"/>
                  <a:pt x="3228975" y="2628900"/>
                </a:cubicBezTo>
                <a:cubicBezTo>
                  <a:pt x="3276600" y="2619375"/>
                  <a:pt x="3323770" y="2607194"/>
                  <a:pt x="3371850" y="2600325"/>
                </a:cubicBezTo>
                <a:cubicBezTo>
                  <a:pt x="3458950" y="2587882"/>
                  <a:pt x="3757606" y="2582069"/>
                  <a:pt x="3781425" y="2581275"/>
                </a:cubicBezTo>
                <a:cubicBezTo>
                  <a:pt x="3810046" y="2577186"/>
                  <a:pt x="3865084" y="2570582"/>
                  <a:pt x="3895725" y="2562225"/>
                </a:cubicBezTo>
                <a:cubicBezTo>
                  <a:pt x="3915098" y="2556941"/>
                  <a:pt x="3952875" y="2543175"/>
                  <a:pt x="3952875" y="2543175"/>
                </a:cubicBezTo>
                <a:cubicBezTo>
                  <a:pt x="3959225" y="2533650"/>
                  <a:pt x="3973345" y="2525959"/>
                  <a:pt x="3971925" y="2514600"/>
                </a:cubicBezTo>
                <a:cubicBezTo>
                  <a:pt x="3968265" y="2485323"/>
                  <a:pt x="3912219" y="2434470"/>
                  <a:pt x="3895725" y="2419350"/>
                </a:cubicBezTo>
                <a:cubicBezTo>
                  <a:pt x="3874147" y="2399570"/>
                  <a:pt x="3853593" y="2378153"/>
                  <a:pt x="3829050" y="2362200"/>
                </a:cubicBezTo>
                <a:cubicBezTo>
                  <a:pt x="3770269" y="2323992"/>
                  <a:pt x="3598037" y="2243273"/>
                  <a:pt x="3543300" y="2219325"/>
                </a:cubicBezTo>
                <a:cubicBezTo>
                  <a:pt x="3312763" y="2118465"/>
                  <a:pt x="3478762" y="2199414"/>
                  <a:pt x="3190875" y="2105025"/>
                </a:cubicBezTo>
                <a:cubicBezTo>
                  <a:pt x="3065861" y="2064037"/>
                  <a:pt x="2942671" y="2017640"/>
                  <a:pt x="2819400" y="1971675"/>
                </a:cubicBezTo>
                <a:cubicBezTo>
                  <a:pt x="2755318" y="1947780"/>
                  <a:pt x="2687975" y="1929936"/>
                  <a:pt x="2628900" y="1895475"/>
                </a:cubicBezTo>
                <a:cubicBezTo>
                  <a:pt x="2590800" y="1873250"/>
                  <a:pt x="2553706" y="1849203"/>
                  <a:pt x="2514600" y="1828800"/>
                </a:cubicBezTo>
                <a:cubicBezTo>
                  <a:pt x="2435431" y="1787495"/>
                  <a:pt x="2423248" y="1785649"/>
                  <a:pt x="2352675" y="1762125"/>
                </a:cubicBezTo>
                <a:cubicBezTo>
                  <a:pt x="2343339" y="1755123"/>
                  <a:pt x="2306363" y="1721116"/>
                  <a:pt x="2286000" y="1724025"/>
                </a:cubicBezTo>
                <a:cubicBezTo>
                  <a:pt x="2271944" y="1726033"/>
                  <a:pt x="2260600" y="1736725"/>
                  <a:pt x="2247900" y="1743075"/>
                </a:cubicBezTo>
                <a:cubicBezTo>
                  <a:pt x="2254250" y="1819275"/>
                  <a:pt x="2250108" y="1897089"/>
                  <a:pt x="2266950" y="1971675"/>
                </a:cubicBezTo>
                <a:cubicBezTo>
                  <a:pt x="2272966" y="1998317"/>
                  <a:pt x="2299738" y="2015419"/>
                  <a:pt x="2314575" y="2038350"/>
                </a:cubicBezTo>
                <a:cubicBezTo>
                  <a:pt x="2334690" y="2069436"/>
                  <a:pt x="2348717" y="2104590"/>
                  <a:pt x="2371725" y="2133600"/>
                </a:cubicBezTo>
                <a:cubicBezTo>
                  <a:pt x="2391871" y="2159001"/>
                  <a:pt x="2563329" y="2359318"/>
                  <a:pt x="2628900" y="2400300"/>
                </a:cubicBezTo>
                <a:cubicBezTo>
                  <a:pt x="2720441" y="2457513"/>
                  <a:pt x="2816004" y="2508857"/>
                  <a:pt x="2914650" y="2552700"/>
                </a:cubicBezTo>
                <a:lnTo>
                  <a:pt x="3257550" y="2705100"/>
                </a:lnTo>
                <a:cubicBezTo>
                  <a:pt x="3396004" y="2764779"/>
                  <a:pt x="3503810" y="2810011"/>
                  <a:pt x="3648075" y="2847975"/>
                </a:cubicBezTo>
                <a:cubicBezTo>
                  <a:pt x="3707693" y="2863664"/>
                  <a:pt x="3768491" y="2874540"/>
                  <a:pt x="3829050" y="2886075"/>
                </a:cubicBezTo>
                <a:cubicBezTo>
                  <a:pt x="3901862" y="2899944"/>
                  <a:pt x="3976616" y="2904672"/>
                  <a:pt x="4048125" y="2924175"/>
                </a:cubicBezTo>
                <a:lnTo>
                  <a:pt x="4152900" y="2952750"/>
                </a:lnTo>
                <a:cubicBezTo>
                  <a:pt x="4123365" y="2958657"/>
                  <a:pt x="4036471" y="2975685"/>
                  <a:pt x="4019550" y="2981325"/>
                </a:cubicBezTo>
                <a:cubicBezTo>
                  <a:pt x="4008690" y="2984945"/>
                  <a:pt x="4000914" y="2994695"/>
                  <a:pt x="3990975" y="3000375"/>
                </a:cubicBezTo>
                <a:cubicBezTo>
                  <a:pt x="3978647" y="3007420"/>
                  <a:pt x="3965203" y="3012380"/>
                  <a:pt x="3952875" y="3019425"/>
                </a:cubicBezTo>
                <a:cubicBezTo>
                  <a:pt x="3940255" y="3026636"/>
                  <a:pt x="3893014" y="3060236"/>
                  <a:pt x="3886200" y="3067050"/>
                </a:cubicBezTo>
                <a:cubicBezTo>
                  <a:pt x="3878105" y="3075145"/>
                  <a:pt x="3873500" y="3086100"/>
                  <a:pt x="3867150" y="3095625"/>
                </a:cubicBezTo>
                <a:cubicBezTo>
                  <a:pt x="3883025" y="3098800"/>
                  <a:pt x="3898599" y="3105797"/>
                  <a:pt x="3914775" y="3105150"/>
                </a:cubicBezTo>
                <a:cubicBezTo>
                  <a:pt x="4069455" y="3098963"/>
                  <a:pt x="4068748" y="3095232"/>
                  <a:pt x="4181475" y="3067050"/>
                </a:cubicBezTo>
                <a:cubicBezTo>
                  <a:pt x="4206875" y="3048000"/>
                  <a:pt x="4230751" y="3026727"/>
                  <a:pt x="4257675" y="3009900"/>
                </a:cubicBezTo>
                <a:cubicBezTo>
                  <a:pt x="4281757" y="2994849"/>
                  <a:pt x="4310526" y="2987964"/>
                  <a:pt x="4333875" y="2971800"/>
                </a:cubicBezTo>
                <a:cubicBezTo>
                  <a:pt x="4352334" y="2959021"/>
                  <a:pt x="4366398" y="2940787"/>
                  <a:pt x="4381500" y="2924175"/>
                </a:cubicBezTo>
                <a:cubicBezTo>
                  <a:pt x="4398181" y="2905826"/>
                  <a:pt x="4416129" y="2888144"/>
                  <a:pt x="4429125" y="2867025"/>
                </a:cubicBezTo>
                <a:cubicBezTo>
                  <a:pt x="4446815" y="2838279"/>
                  <a:pt x="4465662" y="2776463"/>
                  <a:pt x="4476750" y="2743200"/>
                </a:cubicBezTo>
                <a:cubicBezTo>
                  <a:pt x="4473575" y="2692400"/>
                  <a:pt x="4479999" y="2640070"/>
                  <a:pt x="4467225" y="2590800"/>
                </a:cubicBezTo>
                <a:cubicBezTo>
                  <a:pt x="4457241" y="2552291"/>
                  <a:pt x="4432486" y="2518895"/>
                  <a:pt x="4410075" y="2486025"/>
                </a:cubicBezTo>
                <a:cubicBezTo>
                  <a:pt x="4337092" y="2378984"/>
                  <a:pt x="4284842" y="2249799"/>
                  <a:pt x="4181475" y="2171700"/>
                </a:cubicBezTo>
                <a:cubicBezTo>
                  <a:pt x="3963848" y="2007271"/>
                  <a:pt x="3804040" y="1859158"/>
                  <a:pt x="3571875" y="1743075"/>
                </a:cubicBezTo>
                <a:cubicBezTo>
                  <a:pt x="3519666" y="1716970"/>
                  <a:pt x="3465133" y="1695429"/>
                  <a:pt x="3409950" y="1676400"/>
                </a:cubicBezTo>
                <a:cubicBezTo>
                  <a:pt x="3355682" y="1657687"/>
                  <a:pt x="3238490" y="1635368"/>
                  <a:pt x="3181350" y="1628775"/>
                </a:cubicBezTo>
                <a:cubicBezTo>
                  <a:pt x="3137080" y="1623667"/>
                  <a:pt x="3092450" y="1622425"/>
                  <a:pt x="3048000" y="1619250"/>
                </a:cubicBezTo>
                <a:cubicBezTo>
                  <a:pt x="3038475" y="1622425"/>
                  <a:pt x="3021394" y="1618930"/>
                  <a:pt x="3019425" y="1628775"/>
                </a:cubicBezTo>
                <a:cubicBezTo>
                  <a:pt x="3014542" y="1653190"/>
                  <a:pt x="3082151" y="1710222"/>
                  <a:pt x="3086100" y="1714500"/>
                </a:cubicBezTo>
                <a:cubicBezTo>
                  <a:pt x="3118258" y="1749338"/>
                  <a:pt x="3180329" y="1827382"/>
                  <a:pt x="3219450" y="1857375"/>
                </a:cubicBezTo>
                <a:cubicBezTo>
                  <a:pt x="3290047" y="1911499"/>
                  <a:pt x="3365545" y="1958910"/>
                  <a:pt x="3438525" y="2009775"/>
                </a:cubicBezTo>
                <a:cubicBezTo>
                  <a:pt x="3527786" y="2071987"/>
                  <a:pt x="3569502" y="2107535"/>
                  <a:pt x="3676650" y="2152650"/>
                </a:cubicBezTo>
                <a:cubicBezTo>
                  <a:pt x="3905071" y="2248827"/>
                  <a:pt x="3833017" y="2212498"/>
                  <a:pt x="4010025" y="2247900"/>
                </a:cubicBezTo>
                <a:cubicBezTo>
                  <a:pt x="4468030" y="2339501"/>
                  <a:pt x="3971137" y="2247757"/>
                  <a:pt x="4286250" y="2305050"/>
                </a:cubicBezTo>
                <a:cubicBezTo>
                  <a:pt x="4298950" y="2314575"/>
                  <a:pt x="4313125" y="2322400"/>
                  <a:pt x="4324350" y="2333625"/>
                </a:cubicBezTo>
                <a:cubicBezTo>
                  <a:pt x="4332445" y="2341720"/>
                  <a:pt x="4336531" y="2353042"/>
                  <a:pt x="4343400" y="2362200"/>
                </a:cubicBezTo>
                <a:cubicBezTo>
                  <a:pt x="4423940" y="2469586"/>
                  <a:pt x="4348962" y="2357646"/>
                  <a:pt x="4400550" y="2447925"/>
                </a:cubicBezTo>
                <a:cubicBezTo>
                  <a:pt x="4406230" y="2457864"/>
                  <a:pt x="4414480" y="2466261"/>
                  <a:pt x="4419600" y="2476500"/>
                </a:cubicBezTo>
                <a:cubicBezTo>
                  <a:pt x="4430414" y="2498127"/>
                  <a:pt x="4439495" y="2520607"/>
                  <a:pt x="4448175" y="2543175"/>
                </a:cubicBezTo>
                <a:cubicBezTo>
                  <a:pt x="4455383" y="2561917"/>
                  <a:pt x="4456086" y="2583617"/>
                  <a:pt x="4467225" y="2600325"/>
                </a:cubicBezTo>
                <a:cubicBezTo>
                  <a:pt x="4494735" y="2641591"/>
                  <a:pt x="4523748" y="2683643"/>
                  <a:pt x="4562475" y="2714625"/>
                </a:cubicBezTo>
                <a:cubicBezTo>
                  <a:pt x="4682784" y="2810872"/>
                  <a:pt x="4531463" y="2692071"/>
                  <a:pt x="4667250" y="2790825"/>
                </a:cubicBezTo>
                <a:cubicBezTo>
                  <a:pt x="4683692" y="2802782"/>
                  <a:pt x="4698220" y="2817267"/>
                  <a:pt x="4714875" y="2828925"/>
                </a:cubicBezTo>
                <a:cubicBezTo>
                  <a:pt x="4730042" y="2839542"/>
                  <a:pt x="4745221" y="2850854"/>
                  <a:pt x="4762500" y="2857500"/>
                </a:cubicBezTo>
                <a:cubicBezTo>
                  <a:pt x="4786937" y="2866899"/>
                  <a:pt x="4838700" y="2876550"/>
                  <a:pt x="4838700" y="2876550"/>
                </a:cubicBezTo>
                <a:cubicBezTo>
                  <a:pt x="4795971" y="2825275"/>
                  <a:pt x="4764325" y="2781534"/>
                  <a:pt x="4705350" y="2743200"/>
                </a:cubicBezTo>
                <a:cubicBezTo>
                  <a:pt x="4673184" y="2722292"/>
                  <a:pt x="4634542" y="2713408"/>
                  <a:pt x="4600575" y="2695575"/>
                </a:cubicBezTo>
                <a:cubicBezTo>
                  <a:pt x="4507467" y="2646693"/>
                  <a:pt x="4416585" y="2593684"/>
                  <a:pt x="4324350" y="2543175"/>
                </a:cubicBezTo>
                <a:lnTo>
                  <a:pt x="4200525" y="2476500"/>
                </a:lnTo>
                <a:cubicBezTo>
                  <a:pt x="4169053" y="2460080"/>
                  <a:pt x="4134811" y="2448566"/>
                  <a:pt x="4105275" y="2428875"/>
                </a:cubicBezTo>
                <a:cubicBezTo>
                  <a:pt x="4039771" y="2385206"/>
                  <a:pt x="4069845" y="2398015"/>
                  <a:pt x="4019550" y="2381250"/>
                </a:cubicBezTo>
                <a:cubicBezTo>
                  <a:pt x="4016375" y="2371725"/>
                  <a:pt x="3999992" y="2353068"/>
                  <a:pt x="4010025" y="2352675"/>
                </a:cubicBezTo>
                <a:cubicBezTo>
                  <a:pt x="4175029" y="2346204"/>
                  <a:pt x="4340273" y="2357121"/>
                  <a:pt x="4505325" y="2362200"/>
                </a:cubicBezTo>
                <a:cubicBezTo>
                  <a:pt x="4546702" y="2363473"/>
                  <a:pt x="4587845" y="2368971"/>
                  <a:pt x="4629150" y="2371725"/>
                </a:cubicBezTo>
                <a:lnTo>
                  <a:pt x="4791075" y="2381250"/>
                </a:lnTo>
                <a:cubicBezTo>
                  <a:pt x="4832350" y="2387600"/>
                  <a:pt x="4873462" y="2395120"/>
                  <a:pt x="4914900" y="2400300"/>
                </a:cubicBezTo>
                <a:cubicBezTo>
                  <a:pt x="4949698" y="2404650"/>
                  <a:pt x="4985225" y="2403263"/>
                  <a:pt x="5019675" y="2409825"/>
                </a:cubicBezTo>
                <a:cubicBezTo>
                  <a:pt x="5052238" y="2416027"/>
                  <a:pt x="5082986" y="2429528"/>
                  <a:pt x="5114925" y="2438400"/>
                </a:cubicBezTo>
                <a:cubicBezTo>
                  <a:pt x="5192733" y="2460013"/>
                  <a:pt x="5182504" y="2456218"/>
                  <a:pt x="5257800" y="2466975"/>
                </a:cubicBezTo>
                <a:cubicBezTo>
                  <a:pt x="5276850" y="2460625"/>
                  <a:pt x="5303811" y="2464633"/>
                  <a:pt x="5314950" y="2447925"/>
                </a:cubicBezTo>
                <a:cubicBezTo>
                  <a:pt x="5322826" y="2436111"/>
                  <a:pt x="5305940" y="2419865"/>
                  <a:pt x="5295900" y="2409825"/>
                </a:cubicBezTo>
                <a:cubicBezTo>
                  <a:pt x="5282809" y="2396734"/>
                  <a:pt x="5262036" y="2393635"/>
                  <a:pt x="5248275" y="2381250"/>
                </a:cubicBezTo>
                <a:cubicBezTo>
                  <a:pt x="5147074" y="2290169"/>
                  <a:pt x="5262824" y="2351321"/>
                  <a:pt x="5124450" y="2257425"/>
                </a:cubicBezTo>
                <a:cubicBezTo>
                  <a:pt x="5063173" y="2215844"/>
                  <a:pt x="4994617" y="2185592"/>
                  <a:pt x="4933950" y="2143125"/>
                </a:cubicBezTo>
                <a:cubicBezTo>
                  <a:pt x="4558028" y="1879979"/>
                  <a:pt x="4877392" y="2114478"/>
                  <a:pt x="4657725" y="1933575"/>
                </a:cubicBezTo>
                <a:cubicBezTo>
                  <a:pt x="4436889" y="1751710"/>
                  <a:pt x="4713945" y="1999320"/>
                  <a:pt x="4524375" y="1809750"/>
                </a:cubicBezTo>
                <a:cubicBezTo>
                  <a:pt x="4445185" y="1730560"/>
                  <a:pt x="4500767" y="1807676"/>
                  <a:pt x="4457700" y="1743075"/>
                </a:cubicBezTo>
                <a:cubicBezTo>
                  <a:pt x="4470400" y="1730375"/>
                  <a:pt x="4482450" y="1716990"/>
                  <a:pt x="4495800" y="1704975"/>
                </a:cubicBezTo>
                <a:cubicBezTo>
                  <a:pt x="4514232" y="1688386"/>
                  <a:pt x="4535415" y="1674885"/>
                  <a:pt x="4552950" y="1657350"/>
                </a:cubicBezTo>
                <a:cubicBezTo>
                  <a:pt x="4573648" y="1636652"/>
                  <a:pt x="4591050" y="1612900"/>
                  <a:pt x="4610100" y="1590675"/>
                </a:cubicBezTo>
                <a:cubicBezTo>
                  <a:pt x="4613275" y="1574800"/>
                  <a:pt x="4612385" y="1557530"/>
                  <a:pt x="4619625" y="1543050"/>
                </a:cubicBezTo>
                <a:cubicBezTo>
                  <a:pt x="4625649" y="1531002"/>
                  <a:pt x="4648200" y="1527945"/>
                  <a:pt x="4648200" y="1514475"/>
                </a:cubicBezTo>
                <a:cubicBezTo>
                  <a:pt x="4648200" y="1434531"/>
                  <a:pt x="4640660" y="1353478"/>
                  <a:pt x="4619625" y="1276350"/>
                </a:cubicBezTo>
                <a:cubicBezTo>
                  <a:pt x="4611271" y="1245719"/>
                  <a:pt x="4583269" y="1224143"/>
                  <a:pt x="4562475" y="1200150"/>
                </a:cubicBezTo>
                <a:cubicBezTo>
                  <a:pt x="4541890" y="1176398"/>
                  <a:pt x="4517246" y="1156453"/>
                  <a:pt x="4495800" y="1133475"/>
                </a:cubicBezTo>
                <a:cubicBezTo>
                  <a:pt x="4472771" y="1108801"/>
                  <a:pt x="4455247" y="1078647"/>
                  <a:pt x="4429125" y="1057275"/>
                </a:cubicBezTo>
                <a:cubicBezTo>
                  <a:pt x="4325155" y="972209"/>
                  <a:pt x="4332261" y="977362"/>
                  <a:pt x="4257675" y="952500"/>
                </a:cubicBezTo>
                <a:cubicBezTo>
                  <a:pt x="4331689" y="1014178"/>
                  <a:pt x="4384860" y="1061070"/>
                  <a:pt x="4476750" y="1114425"/>
                </a:cubicBezTo>
                <a:cubicBezTo>
                  <a:pt x="4575175" y="1171575"/>
                  <a:pt x="4675511" y="1225554"/>
                  <a:pt x="4772025" y="1285875"/>
                </a:cubicBezTo>
                <a:cubicBezTo>
                  <a:pt x="4822825" y="1317625"/>
                  <a:pt x="4871536" y="1352992"/>
                  <a:pt x="4924425" y="1381125"/>
                </a:cubicBezTo>
                <a:cubicBezTo>
                  <a:pt x="5020960" y="1432473"/>
                  <a:pt x="5121902" y="1475101"/>
                  <a:pt x="5219700" y="1524000"/>
                </a:cubicBezTo>
                <a:cubicBezTo>
                  <a:pt x="5302143" y="1565221"/>
                  <a:pt x="5352984" y="1589982"/>
                  <a:pt x="5419725" y="1647825"/>
                </a:cubicBezTo>
                <a:cubicBezTo>
                  <a:pt x="5443477" y="1668410"/>
                  <a:pt x="5465081" y="1691404"/>
                  <a:pt x="5486400" y="1714500"/>
                </a:cubicBezTo>
                <a:cubicBezTo>
                  <a:pt x="5503220" y="1732721"/>
                  <a:pt x="5521029" y="1750531"/>
                  <a:pt x="5534025" y="1771650"/>
                </a:cubicBezTo>
                <a:cubicBezTo>
                  <a:pt x="5557470" y="1809749"/>
                  <a:pt x="5569565" y="1862701"/>
                  <a:pt x="5581650" y="1905000"/>
                </a:cubicBezTo>
                <a:cubicBezTo>
                  <a:pt x="5591503" y="2052793"/>
                  <a:pt x="5599676" y="2095194"/>
                  <a:pt x="5581650" y="2257425"/>
                </a:cubicBezTo>
                <a:cubicBezTo>
                  <a:pt x="5579762" y="2274418"/>
                  <a:pt x="5569919" y="2289598"/>
                  <a:pt x="5562600" y="2305050"/>
                </a:cubicBezTo>
                <a:cubicBezTo>
                  <a:pt x="5553861" y="2323500"/>
                  <a:pt x="5496827" y="2444757"/>
                  <a:pt x="5467350" y="2486025"/>
                </a:cubicBezTo>
                <a:cubicBezTo>
                  <a:pt x="5413818" y="2560970"/>
                  <a:pt x="5418305" y="2554120"/>
                  <a:pt x="5372100" y="2600325"/>
                </a:cubicBezTo>
                <a:cubicBezTo>
                  <a:pt x="5346700" y="2587625"/>
                  <a:pt x="5319788" y="2577581"/>
                  <a:pt x="5295900" y="2562225"/>
                </a:cubicBezTo>
                <a:cubicBezTo>
                  <a:pt x="5243858" y="2528770"/>
                  <a:pt x="5197368" y="2466883"/>
                  <a:pt x="5153025" y="2428875"/>
                </a:cubicBezTo>
                <a:cubicBezTo>
                  <a:pt x="5116865" y="2397881"/>
                  <a:pt x="5078351" y="2369568"/>
                  <a:pt x="5038725" y="2343150"/>
                </a:cubicBezTo>
                <a:cubicBezTo>
                  <a:pt x="4973478" y="2299652"/>
                  <a:pt x="4903623" y="2263305"/>
                  <a:pt x="4838700" y="2219325"/>
                </a:cubicBezTo>
                <a:cubicBezTo>
                  <a:pt x="4706691" y="2129899"/>
                  <a:pt x="4578799" y="2034537"/>
                  <a:pt x="4448175" y="1943100"/>
                </a:cubicBezTo>
                <a:cubicBezTo>
                  <a:pt x="4388294" y="1901183"/>
                  <a:pt x="4324277" y="1864936"/>
                  <a:pt x="4267200" y="1819275"/>
                </a:cubicBezTo>
                <a:cubicBezTo>
                  <a:pt x="4219575" y="1781175"/>
                  <a:pt x="4170753" y="1744525"/>
                  <a:pt x="4124325" y="1704975"/>
                </a:cubicBezTo>
                <a:cubicBezTo>
                  <a:pt x="4030807" y="1625311"/>
                  <a:pt x="3986068" y="1578264"/>
                  <a:pt x="3905250" y="1485900"/>
                </a:cubicBezTo>
                <a:cubicBezTo>
                  <a:pt x="3872591" y="1448576"/>
                  <a:pt x="3837179" y="1413084"/>
                  <a:pt x="3810000" y="1371600"/>
                </a:cubicBezTo>
                <a:cubicBezTo>
                  <a:pt x="3731195" y="1251318"/>
                  <a:pt x="3734341" y="1244905"/>
                  <a:pt x="3705225" y="1143000"/>
                </a:cubicBezTo>
                <a:cubicBezTo>
                  <a:pt x="3708400" y="1031875"/>
                  <a:pt x="3708907" y="920642"/>
                  <a:pt x="3714750" y="809625"/>
                </a:cubicBezTo>
                <a:cubicBezTo>
                  <a:pt x="3715278" y="799599"/>
                  <a:pt x="3716812" y="787767"/>
                  <a:pt x="3724275" y="781050"/>
                </a:cubicBezTo>
                <a:cubicBezTo>
                  <a:pt x="3782514" y="728635"/>
                  <a:pt x="3814244" y="717548"/>
                  <a:pt x="3886200" y="704850"/>
                </a:cubicBezTo>
                <a:cubicBezTo>
                  <a:pt x="3914513" y="699854"/>
                  <a:pt x="3943350" y="698500"/>
                  <a:pt x="3971925" y="695325"/>
                </a:cubicBezTo>
                <a:cubicBezTo>
                  <a:pt x="4083050" y="698500"/>
                  <a:pt x="4194355" y="697768"/>
                  <a:pt x="4305300" y="704850"/>
                </a:cubicBezTo>
                <a:cubicBezTo>
                  <a:pt x="4392575" y="710421"/>
                  <a:pt x="4456330" y="730699"/>
                  <a:pt x="4533900" y="771525"/>
                </a:cubicBezTo>
                <a:cubicBezTo>
                  <a:pt x="4618235" y="815912"/>
                  <a:pt x="4701905" y="862062"/>
                  <a:pt x="4781550" y="914400"/>
                </a:cubicBezTo>
                <a:cubicBezTo>
                  <a:pt x="4792497" y="921594"/>
                  <a:pt x="4921029" y="1037464"/>
                  <a:pt x="4933950" y="1057275"/>
                </a:cubicBezTo>
                <a:cubicBezTo>
                  <a:pt x="4964976" y="1104848"/>
                  <a:pt x="5010150" y="1209675"/>
                  <a:pt x="5010150" y="1209675"/>
                </a:cubicBezTo>
                <a:cubicBezTo>
                  <a:pt x="4994275" y="1301750"/>
                  <a:pt x="4985732" y="1395394"/>
                  <a:pt x="4962525" y="1485900"/>
                </a:cubicBezTo>
                <a:cubicBezTo>
                  <a:pt x="4944294" y="1557000"/>
                  <a:pt x="4838896" y="1682227"/>
                  <a:pt x="4819650" y="1733550"/>
                </a:cubicBezTo>
                <a:cubicBezTo>
                  <a:pt x="4810125" y="1758950"/>
                  <a:pt x="4803207" y="1785487"/>
                  <a:pt x="4791075" y="1809750"/>
                </a:cubicBezTo>
                <a:cubicBezTo>
                  <a:pt x="4780836" y="1830228"/>
                  <a:pt x="4763830" y="1846741"/>
                  <a:pt x="4752975" y="1866900"/>
                </a:cubicBezTo>
                <a:cubicBezTo>
                  <a:pt x="4733999" y="1902141"/>
                  <a:pt x="4726418" y="1927520"/>
                  <a:pt x="4714875" y="1962150"/>
                </a:cubicBezTo>
                <a:cubicBezTo>
                  <a:pt x="4718050" y="1984375"/>
                  <a:pt x="4712501" y="2009787"/>
                  <a:pt x="4724400" y="2028825"/>
                </a:cubicBezTo>
                <a:cubicBezTo>
                  <a:pt x="4731338" y="2039926"/>
                  <a:pt x="4750243" y="2033753"/>
                  <a:pt x="4762500" y="2038350"/>
                </a:cubicBezTo>
                <a:cubicBezTo>
                  <a:pt x="4801147" y="2052843"/>
                  <a:pt x="4838862" y="2069716"/>
                  <a:pt x="4876800" y="2085975"/>
                </a:cubicBezTo>
                <a:cubicBezTo>
                  <a:pt x="4905542" y="2098293"/>
                  <a:pt x="4932000" y="2117292"/>
                  <a:pt x="4962525" y="2124075"/>
                </a:cubicBezTo>
                <a:cubicBezTo>
                  <a:pt x="4991100" y="2130425"/>
                  <a:pt x="5019423" y="2138038"/>
                  <a:pt x="5048250" y="2143125"/>
                </a:cubicBezTo>
                <a:cubicBezTo>
                  <a:pt x="5127411" y="2157095"/>
                  <a:pt x="5208391" y="2161729"/>
                  <a:pt x="5286375" y="2181225"/>
                </a:cubicBezTo>
                <a:cubicBezTo>
                  <a:pt x="5518679" y="2239301"/>
                  <a:pt x="5282587" y="2177173"/>
                  <a:pt x="5514975" y="2247900"/>
                </a:cubicBezTo>
                <a:cubicBezTo>
                  <a:pt x="5549607" y="2258440"/>
                  <a:pt x="5585254" y="2265499"/>
                  <a:pt x="5619750" y="2276475"/>
                </a:cubicBezTo>
                <a:cubicBezTo>
                  <a:pt x="5655163" y="2287743"/>
                  <a:pt x="5689936" y="2300986"/>
                  <a:pt x="5724525" y="2314575"/>
                </a:cubicBezTo>
                <a:cubicBezTo>
                  <a:pt x="5778855" y="2335919"/>
                  <a:pt x="5831074" y="2362791"/>
                  <a:pt x="5886450" y="2381250"/>
                </a:cubicBezTo>
                <a:cubicBezTo>
                  <a:pt x="6071370" y="2442890"/>
                  <a:pt x="6004018" y="2411459"/>
                  <a:pt x="6096000" y="2457450"/>
                </a:cubicBezTo>
                <a:cubicBezTo>
                  <a:pt x="5997025" y="2012064"/>
                  <a:pt x="6094058" y="2384765"/>
                  <a:pt x="5353050" y="1533525"/>
                </a:cubicBezTo>
                <a:cubicBezTo>
                  <a:pt x="5134616" y="1282596"/>
                  <a:pt x="4934927" y="1078570"/>
                  <a:pt x="4743450" y="819150"/>
                </a:cubicBezTo>
                <a:cubicBezTo>
                  <a:pt x="4702661" y="763887"/>
                  <a:pt x="4667250" y="704850"/>
                  <a:pt x="4629150" y="647700"/>
                </a:cubicBezTo>
                <a:cubicBezTo>
                  <a:pt x="4619625" y="603250"/>
                  <a:pt x="4604885" y="559604"/>
                  <a:pt x="4600575" y="514350"/>
                </a:cubicBezTo>
                <a:cubicBezTo>
                  <a:pt x="4596387" y="470371"/>
                  <a:pt x="4614934" y="420095"/>
                  <a:pt x="4648200" y="390525"/>
                </a:cubicBezTo>
                <a:cubicBezTo>
                  <a:pt x="4660979" y="379166"/>
                  <a:pt x="4679165" y="375320"/>
                  <a:pt x="4695825" y="371475"/>
                </a:cubicBezTo>
                <a:cubicBezTo>
                  <a:pt x="4720767" y="365719"/>
                  <a:pt x="4746625" y="365125"/>
                  <a:pt x="4772025" y="361950"/>
                </a:cubicBezTo>
                <a:cubicBezTo>
                  <a:pt x="4854575" y="368300"/>
                  <a:pt x="4938657" y="363944"/>
                  <a:pt x="5019675" y="381000"/>
                </a:cubicBezTo>
                <a:cubicBezTo>
                  <a:pt x="5161988" y="410961"/>
                  <a:pt x="5336801" y="467261"/>
                  <a:pt x="5457825" y="561975"/>
                </a:cubicBezTo>
                <a:cubicBezTo>
                  <a:pt x="5487933" y="585538"/>
                  <a:pt x="5508625" y="619125"/>
                  <a:pt x="5534025" y="647700"/>
                </a:cubicBezTo>
                <a:cubicBezTo>
                  <a:pt x="5546725" y="679450"/>
                  <a:pt x="5571348" y="708763"/>
                  <a:pt x="5572125" y="742950"/>
                </a:cubicBezTo>
                <a:cubicBezTo>
                  <a:pt x="5574587" y="851291"/>
                  <a:pt x="5576183" y="963461"/>
                  <a:pt x="5543550" y="1066800"/>
                </a:cubicBezTo>
                <a:cubicBezTo>
                  <a:pt x="5493027" y="1226791"/>
                  <a:pt x="5400556" y="1393983"/>
                  <a:pt x="5295900" y="1533525"/>
                </a:cubicBezTo>
                <a:cubicBezTo>
                  <a:pt x="5283702" y="1549789"/>
                  <a:pt x="5270500" y="1565275"/>
                  <a:pt x="5257800" y="1581150"/>
                </a:cubicBezTo>
                <a:cubicBezTo>
                  <a:pt x="5251450" y="1606550"/>
                  <a:pt x="5233615" y="1631677"/>
                  <a:pt x="5238750" y="1657350"/>
                </a:cubicBezTo>
                <a:cubicBezTo>
                  <a:pt x="5258057" y="1753885"/>
                  <a:pt x="5504736" y="1834912"/>
                  <a:pt x="5514975" y="1838325"/>
                </a:cubicBezTo>
                <a:cubicBezTo>
                  <a:pt x="5733359" y="1911120"/>
                  <a:pt x="5784632" y="1918239"/>
                  <a:pt x="5981700" y="2019300"/>
                </a:cubicBezTo>
                <a:cubicBezTo>
                  <a:pt x="6071813" y="2065512"/>
                  <a:pt x="6164109" y="2120657"/>
                  <a:pt x="6238875" y="2190750"/>
                </a:cubicBezTo>
                <a:cubicBezTo>
                  <a:pt x="6260230" y="2210770"/>
                  <a:pt x="6276975" y="2235200"/>
                  <a:pt x="6296025" y="2257425"/>
                </a:cubicBezTo>
                <a:cubicBezTo>
                  <a:pt x="6299200" y="2273300"/>
                  <a:pt x="6303088" y="2289049"/>
                  <a:pt x="6305550" y="2305050"/>
                </a:cubicBezTo>
                <a:cubicBezTo>
                  <a:pt x="6315791" y="2371619"/>
                  <a:pt x="6306404" y="2443692"/>
                  <a:pt x="6334125" y="2505075"/>
                </a:cubicBezTo>
                <a:cubicBezTo>
                  <a:pt x="6353552" y="2548091"/>
                  <a:pt x="6399627" y="2574143"/>
                  <a:pt x="6438900" y="2600325"/>
                </a:cubicBezTo>
                <a:cubicBezTo>
                  <a:pt x="6553463" y="2676700"/>
                  <a:pt x="6586750" y="2658888"/>
                  <a:pt x="6724650" y="2667000"/>
                </a:cubicBezTo>
                <a:cubicBezTo>
                  <a:pt x="6826250" y="2654300"/>
                  <a:pt x="6933293" y="2664080"/>
                  <a:pt x="7029450" y="2628900"/>
                </a:cubicBezTo>
                <a:cubicBezTo>
                  <a:pt x="7071828" y="2613396"/>
                  <a:pt x="7127342" y="2567579"/>
                  <a:pt x="7115175" y="2524125"/>
                </a:cubicBezTo>
                <a:cubicBezTo>
                  <a:pt x="7054666" y="2308020"/>
                  <a:pt x="6947714" y="2105236"/>
                  <a:pt x="6829425" y="1914525"/>
                </a:cubicBezTo>
                <a:cubicBezTo>
                  <a:pt x="6788913" y="1849210"/>
                  <a:pt x="6712892" y="1813537"/>
                  <a:pt x="6648450" y="1771650"/>
                </a:cubicBezTo>
                <a:cubicBezTo>
                  <a:pt x="6381813" y="1598336"/>
                  <a:pt x="6518855" y="1692842"/>
                  <a:pt x="6238875" y="1485900"/>
                </a:cubicBezTo>
                <a:cubicBezTo>
                  <a:pt x="6232525" y="1495425"/>
                  <a:pt x="6219825" y="1503027"/>
                  <a:pt x="6219825" y="1514475"/>
                </a:cubicBezTo>
                <a:cubicBezTo>
                  <a:pt x="6219825" y="1636668"/>
                  <a:pt x="6237363" y="1779223"/>
                  <a:pt x="6305550" y="1885950"/>
                </a:cubicBezTo>
                <a:cubicBezTo>
                  <a:pt x="6346717" y="1950386"/>
                  <a:pt x="6402360" y="2004898"/>
                  <a:pt x="6457950" y="2057400"/>
                </a:cubicBezTo>
                <a:cubicBezTo>
                  <a:pt x="6593735" y="2185641"/>
                  <a:pt x="6718180" y="2260671"/>
                  <a:pt x="6886575" y="2343150"/>
                </a:cubicBezTo>
                <a:cubicBezTo>
                  <a:pt x="7016466" y="2406770"/>
                  <a:pt x="7138648" y="2451412"/>
                  <a:pt x="7277100" y="2486025"/>
                </a:cubicBezTo>
                <a:cubicBezTo>
                  <a:pt x="7298880" y="2491470"/>
                  <a:pt x="7321550" y="2492375"/>
                  <a:pt x="7343775" y="2495550"/>
                </a:cubicBezTo>
                <a:cubicBezTo>
                  <a:pt x="7346950" y="2479675"/>
                  <a:pt x="7361629" y="2461807"/>
                  <a:pt x="7353300" y="2447925"/>
                </a:cubicBezTo>
                <a:cubicBezTo>
                  <a:pt x="7317612" y="2388444"/>
                  <a:pt x="7200188" y="2381778"/>
                  <a:pt x="7153275" y="2371725"/>
                </a:cubicBezTo>
                <a:cubicBezTo>
                  <a:pt x="7080250" y="2387600"/>
                  <a:pt x="7002602" y="2389253"/>
                  <a:pt x="6934200" y="2419350"/>
                </a:cubicBezTo>
                <a:cubicBezTo>
                  <a:pt x="6915820" y="2427437"/>
                  <a:pt x="6915150" y="2476500"/>
                  <a:pt x="6915150" y="2476500"/>
                </a:cubicBezTo>
                <a:cubicBezTo>
                  <a:pt x="6930727" y="2585542"/>
                  <a:pt x="6912562" y="2553636"/>
                  <a:pt x="7038975" y="2657475"/>
                </a:cubicBezTo>
                <a:cubicBezTo>
                  <a:pt x="7156805" y="2754264"/>
                  <a:pt x="7267819" y="2812011"/>
                  <a:pt x="7419975" y="2847975"/>
                </a:cubicBezTo>
                <a:cubicBezTo>
                  <a:pt x="7516555" y="2870803"/>
                  <a:pt x="7616825" y="2873375"/>
                  <a:pt x="7715250" y="2886075"/>
                </a:cubicBezTo>
                <a:cubicBezTo>
                  <a:pt x="7775575" y="2882900"/>
                  <a:pt x="7840701" y="2900346"/>
                  <a:pt x="7896225" y="2876550"/>
                </a:cubicBezTo>
                <a:cubicBezTo>
                  <a:pt x="7920290" y="2866237"/>
                  <a:pt x="7917543" y="2826433"/>
                  <a:pt x="7915275" y="2800350"/>
                </a:cubicBezTo>
                <a:cubicBezTo>
                  <a:pt x="7911005" y="2751246"/>
                  <a:pt x="7906939" y="2696763"/>
                  <a:pt x="7877175" y="2657475"/>
                </a:cubicBezTo>
                <a:cubicBezTo>
                  <a:pt x="7778318" y="2526983"/>
                  <a:pt x="7703906" y="2499403"/>
                  <a:pt x="7581900" y="2438400"/>
                </a:cubicBezTo>
                <a:cubicBezTo>
                  <a:pt x="7543800" y="2441575"/>
                  <a:pt x="7446393" y="2416114"/>
                  <a:pt x="7467600" y="2447925"/>
                </a:cubicBezTo>
                <a:cubicBezTo>
                  <a:pt x="7492507" y="2485285"/>
                  <a:pt x="7556213" y="2463140"/>
                  <a:pt x="7600950" y="2466975"/>
                </a:cubicBezTo>
                <a:cubicBezTo>
                  <a:pt x="7667457" y="2472676"/>
                  <a:pt x="7734300" y="2473325"/>
                  <a:pt x="7800975" y="2476500"/>
                </a:cubicBezTo>
                <a:cubicBezTo>
                  <a:pt x="7877175" y="2466975"/>
                  <a:pt x="7954926" y="2465944"/>
                  <a:pt x="8029575" y="2447925"/>
                </a:cubicBezTo>
                <a:cubicBezTo>
                  <a:pt x="8049337" y="2443155"/>
                  <a:pt x="8068681" y="2428284"/>
                  <a:pt x="8077200" y="2409825"/>
                </a:cubicBezTo>
                <a:cubicBezTo>
                  <a:pt x="8089248" y="2383720"/>
                  <a:pt x="8083550" y="2352675"/>
                  <a:pt x="8086725" y="2324100"/>
                </a:cubicBezTo>
                <a:cubicBezTo>
                  <a:pt x="8058150" y="2263775"/>
                  <a:pt x="8045721" y="2192680"/>
                  <a:pt x="8001000" y="2143125"/>
                </a:cubicBezTo>
                <a:cubicBezTo>
                  <a:pt x="7925255" y="2059191"/>
                  <a:pt x="7829526" y="1994520"/>
                  <a:pt x="7734300" y="1933575"/>
                </a:cubicBezTo>
                <a:cubicBezTo>
                  <a:pt x="7676062" y="1896303"/>
                  <a:pt x="7463617" y="1813872"/>
                  <a:pt x="7381875" y="1781175"/>
                </a:cubicBezTo>
                <a:cubicBezTo>
                  <a:pt x="7356475" y="1784350"/>
                  <a:pt x="7318845" y="1768750"/>
                  <a:pt x="7305675" y="1790700"/>
                </a:cubicBezTo>
                <a:cubicBezTo>
                  <a:pt x="7268542" y="1852588"/>
                  <a:pt x="7423943" y="1986023"/>
                  <a:pt x="7429500" y="1990725"/>
                </a:cubicBezTo>
                <a:cubicBezTo>
                  <a:pt x="7470965" y="2025811"/>
                  <a:pt x="7716970" y="2177653"/>
                  <a:pt x="7753350" y="2190750"/>
                </a:cubicBezTo>
                <a:cubicBezTo>
                  <a:pt x="7848288" y="2224928"/>
                  <a:pt x="7950200" y="2235200"/>
                  <a:pt x="8048625" y="2257425"/>
                </a:cubicBezTo>
                <a:cubicBezTo>
                  <a:pt x="8042275" y="2238375"/>
                  <a:pt x="8041818" y="2216191"/>
                  <a:pt x="8029575" y="2200275"/>
                </a:cubicBezTo>
                <a:cubicBezTo>
                  <a:pt x="8008997" y="2173523"/>
                  <a:pt x="7981765" y="2151851"/>
                  <a:pt x="7953375" y="2133600"/>
                </a:cubicBezTo>
                <a:cubicBezTo>
                  <a:pt x="7807709" y="2039957"/>
                  <a:pt x="7814329" y="2045976"/>
                  <a:pt x="7705725" y="2009775"/>
                </a:cubicBezTo>
                <a:cubicBezTo>
                  <a:pt x="7751008" y="1979586"/>
                  <a:pt x="7723440" y="1994345"/>
                  <a:pt x="7791450" y="1971675"/>
                </a:cubicBezTo>
                <a:lnTo>
                  <a:pt x="7791450" y="1971675"/>
                </a:lnTo>
                <a:lnTo>
                  <a:pt x="7839075" y="1943100"/>
                </a:lnTo>
                <a:cubicBezTo>
                  <a:pt x="7829550" y="1962150"/>
                  <a:pt x="7814677" y="1979365"/>
                  <a:pt x="7810500" y="2000250"/>
                </a:cubicBezTo>
                <a:cubicBezTo>
                  <a:pt x="7807933" y="2013087"/>
                  <a:pt x="7807086" y="2036359"/>
                  <a:pt x="7820025" y="2038350"/>
                </a:cubicBezTo>
                <a:cubicBezTo>
                  <a:pt x="7858201" y="2044223"/>
                  <a:pt x="7896225" y="2025650"/>
                  <a:pt x="7934325" y="2019300"/>
                </a:cubicBezTo>
                <a:cubicBezTo>
                  <a:pt x="7950820" y="1969814"/>
                  <a:pt x="7954689" y="1977259"/>
                  <a:pt x="7915275" y="1905000"/>
                </a:cubicBezTo>
                <a:cubicBezTo>
                  <a:pt x="7909793" y="1894950"/>
                  <a:pt x="7896225" y="1892300"/>
                  <a:pt x="7886700" y="1885950"/>
                </a:cubicBezTo>
                <a:cubicBezTo>
                  <a:pt x="7874000" y="1898650"/>
                  <a:pt x="7854809" y="1907197"/>
                  <a:pt x="7848600" y="1924050"/>
                </a:cubicBezTo>
                <a:cubicBezTo>
                  <a:pt x="7805244" y="2041731"/>
                  <a:pt x="7829029" y="2081692"/>
                  <a:pt x="7810500" y="2200275"/>
                </a:cubicBezTo>
                <a:cubicBezTo>
                  <a:pt x="7801462" y="2258117"/>
                  <a:pt x="7787804" y="2315244"/>
                  <a:pt x="7772400" y="2371725"/>
                </a:cubicBezTo>
                <a:cubicBezTo>
                  <a:pt x="7759185" y="2420181"/>
                  <a:pt x="7714289" y="2447614"/>
                  <a:pt x="7677150" y="2476500"/>
                </a:cubicBezTo>
                <a:cubicBezTo>
                  <a:pt x="7602426" y="2534619"/>
                  <a:pt x="7530800" y="2579258"/>
                  <a:pt x="7439025" y="2609850"/>
                </a:cubicBezTo>
                <a:cubicBezTo>
                  <a:pt x="7383485" y="2628363"/>
                  <a:pt x="7325116" y="2637161"/>
                  <a:pt x="7267575" y="2647950"/>
                </a:cubicBezTo>
                <a:cubicBezTo>
                  <a:pt x="7016759" y="2694978"/>
                  <a:pt x="7208254" y="2648493"/>
                  <a:pt x="7096125" y="2676525"/>
                </a:cubicBezTo>
                <a:cubicBezTo>
                  <a:pt x="7102475" y="2686050"/>
                  <a:pt x="7106381" y="2697771"/>
                  <a:pt x="7115175" y="2705100"/>
                </a:cubicBezTo>
                <a:cubicBezTo>
                  <a:pt x="7126083" y="2714190"/>
                  <a:pt x="7141461" y="2716274"/>
                  <a:pt x="7153275" y="2724150"/>
                </a:cubicBezTo>
                <a:cubicBezTo>
                  <a:pt x="7170191" y="2735427"/>
                  <a:pt x="7186525" y="2747875"/>
                  <a:pt x="7200900" y="2762250"/>
                </a:cubicBezTo>
                <a:cubicBezTo>
                  <a:pt x="7208995" y="2770345"/>
                  <a:pt x="7213217" y="2781567"/>
                  <a:pt x="7219950" y="2790825"/>
                </a:cubicBezTo>
                <a:cubicBezTo>
                  <a:pt x="7238624" y="2816502"/>
                  <a:pt x="7258050" y="2841625"/>
                  <a:pt x="7277100" y="2867025"/>
                </a:cubicBezTo>
                <a:cubicBezTo>
                  <a:pt x="7281718" y="2880880"/>
                  <a:pt x="7297882" y="2910320"/>
                  <a:pt x="7277100" y="2924175"/>
                </a:cubicBezTo>
                <a:cubicBezTo>
                  <a:pt x="7263630" y="2933155"/>
                  <a:pt x="7245350" y="2930525"/>
                  <a:pt x="7229475" y="2933700"/>
                </a:cubicBezTo>
                <a:cubicBezTo>
                  <a:pt x="7064375" y="2927350"/>
                  <a:pt x="6899019" y="2925826"/>
                  <a:pt x="6734175" y="2914650"/>
                </a:cubicBezTo>
                <a:cubicBezTo>
                  <a:pt x="6711114" y="2913087"/>
                  <a:pt x="6687186" y="2907714"/>
                  <a:pt x="6667500" y="2895600"/>
                </a:cubicBezTo>
                <a:cubicBezTo>
                  <a:pt x="6644556" y="2881480"/>
                  <a:pt x="6630177" y="2856690"/>
                  <a:pt x="6610350" y="2838450"/>
                </a:cubicBezTo>
                <a:cubicBezTo>
                  <a:pt x="6550779" y="2783644"/>
                  <a:pt x="6487644" y="2732713"/>
                  <a:pt x="6429375" y="2676525"/>
                </a:cubicBezTo>
                <a:cubicBezTo>
                  <a:pt x="6398627" y="2646875"/>
                  <a:pt x="6372225" y="2613025"/>
                  <a:pt x="6343650" y="2581275"/>
                </a:cubicBezTo>
                <a:cubicBezTo>
                  <a:pt x="6334125" y="2552700"/>
                  <a:pt x="6316746" y="2525624"/>
                  <a:pt x="6315075" y="2495550"/>
                </a:cubicBezTo>
                <a:cubicBezTo>
                  <a:pt x="6310031" y="2404752"/>
                  <a:pt x="6344312" y="2399272"/>
                  <a:pt x="6410325" y="2352675"/>
                </a:cubicBezTo>
                <a:cubicBezTo>
                  <a:pt x="6501201" y="2288527"/>
                  <a:pt x="6475022" y="2304537"/>
                  <a:pt x="6562725" y="2266950"/>
                </a:cubicBezTo>
                <a:cubicBezTo>
                  <a:pt x="6556375" y="2257425"/>
                  <a:pt x="6554360" y="2242484"/>
                  <a:pt x="6543675" y="2238375"/>
                </a:cubicBezTo>
                <a:cubicBezTo>
                  <a:pt x="6539516" y="2236776"/>
                  <a:pt x="6396435" y="2210768"/>
                  <a:pt x="6372225" y="2209800"/>
                </a:cubicBezTo>
                <a:cubicBezTo>
                  <a:pt x="6235772" y="2204342"/>
                  <a:pt x="6099175" y="2203450"/>
                  <a:pt x="5962650" y="2200275"/>
                </a:cubicBezTo>
                <a:cubicBezTo>
                  <a:pt x="5876925" y="2206625"/>
                  <a:pt x="5771747" y="2164579"/>
                  <a:pt x="5705475" y="2219325"/>
                </a:cubicBezTo>
                <a:cubicBezTo>
                  <a:pt x="5662726" y="2254639"/>
                  <a:pt x="5724925" y="2329031"/>
                  <a:pt x="5743575" y="2381250"/>
                </a:cubicBezTo>
                <a:cubicBezTo>
                  <a:pt x="5782312" y="2489715"/>
                  <a:pt x="5835240" y="2515152"/>
                  <a:pt x="5905500" y="2609850"/>
                </a:cubicBezTo>
                <a:cubicBezTo>
                  <a:pt x="6024441" y="2770162"/>
                  <a:pt x="6003371" y="2732014"/>
                  <a:pt x="6048375" y="2867025"/>
                </a:cubicBezTo>
                <a:cubicBezTo>
                  <a:pt x="6032500" y="2901950"/>
                  <a:pt x="6025138" y="2942186"/>
                  <a:pt x="6000750" y="2971800"/>
                </a:cubicBezTo>
                <a:cubicBezTo>
                  <a:pt x="5942648" y="3042352"/>
                  <a:pt x="5829365" y="3049105"/>
                  <a:pt x="5753100" y="3067050"/>
                </a:cubicBezTo>
                <a:cubicBezTo>
                  <a:pt x="5445125" y="3060700"/>
                  <a:pt x="5136636" y="3066879"/>
                  <a:pt x="4829175" y="3048000"/>
                </a:cubicBezTo>
                <a:cubicBezTo>
                  <a:pt x="4773020" y="3044552"/>
                  <a:pt x="4717571" y="3025536"/>
                  <a:pt x="4667250" y="3000375"/>
                </a:cubicBezTo>
                <a:cubicBezTo>
                  <a:pt x="4633054" y="2983277"/>
                  <a:pt x="4605146" y="2954238"/>
                  <a:pt x="4581525" y="2924175"/>
                </a:cubicBezTo>
                <a:cubicBezTo>
                  <a:pt x="4534734" y="2864623"/>
                  <a:pt x="4498975" y="2797175"/>
                  <a:pt x="4457700" y="2733675"/>
                </a:cubicBezTo>
                <a:cubicBezTo>
                  <a:pt x="4476750" y="2644775"/>
                  <a:pt x="4482212" y="2551833"/>
                  <a:pt x="4514850" y="2466975"/>
                </a:cubicBezTo>
                <a:cubicBezTo>
                  <a:pt x="4531049" y="2424858"/>
                  <a:pt x="4570300" y="2395662"/>
                  <a:pt x="4600575" y="2362200"/>
                </a:cubicBezTo>
                <a:cubicBezTo>
                  <a:pt x="4652890" y="2304378"/>
                  <a:pt x="4697151" y="2258534"/>
                  <a:pt x="4762500" y="2219325"/>
                </a:cubicBezTo>
                <a:cubicBezTo>
                  <a:pt x="4786851" y="2204714"/>
                  <a:pt x="4813643" y="2194589"/>
                  <a:pt x="4838700" y="2181225"/>
                </a:cubicBezTo>
                <a:cubicBezTo>
                  <a:pt x="4861286" y="2169179"/>
                  <a:pt x="4882752" y="2155102"/>
                  <a:pt x="4905375" y="2143125"/>
                </a:cubicBezTo>
                <a:cubicBezTo>
                  <a:pt x="5033469" y="2075311"/>
                  <a:pt x="4963799" y="2120050"/>
                  <a:pt x="5029200" y="2076450"/>
                </a:cubicBezTo>
                <a:cubicBezTo>
                  <a:pt x="5006975" y="2025650"/>
                  <a:pt x="5001733" y="1963258"/>
                  <a:pt x="4962525" y="1924050"/>
                </a:cubicBezTo>
                <a:cubicBezTo>
                  <a:pt x="4849630" y="1811155"/>
                  <a:pt x="4706280" y="1737831"/>
                  <a:pt x="4552950" y="1704975"/>
                </a:cubicBezTo>
                <a:cubicBezTo>
                  <a:pt x="4515567" y="1696964"/>
                  <a:pt x="4476750" y="1698625"/>
                  <a:pt x="4438650" y="1695450"/>
                </a:cubicBezTo>
                <a:cubicBezTo>
                  <a:pt x="4289242" y="1709033"/>
                  <a:pt x="4267632" y="1677091"/>
                  <a:pt x="4410075" y="1905000"/>
                </a:cubicBezTo>
                <a:cubicBezTo>
                  <a:pt x="4467647" y="1997116"/>
                  <a:pt x="4642003" y="2078295"/>
                  <a:pt x="4724400" y="2114550"/>
                </a:cubicBezTo>
                <a:cubicBezTo>
                  <a:pt x="4814537" y="2154210"/>
                  <a:pt x="4904879" y="2196297"/>
                  <a:pt x="5000625" y="2219325"/>
                </a:cubicBezTo>
                <a:cubicBezTo>
                  <a:pt x="5361960" y="2306228"/>
                  <a:pt x="5611312" y="2303135"/>
                  <a:pt x="5981700" y="2324100"/>
                </a:cubicBezTo>
                <a:lnTo>
                  <a:pt x="7115175" y="2305050"/>
                </a:lnTo>
                <a:cubicBezTo>
                  <a:pt x="7222238" y="2302501"/>
                  <a:pt x="7290202" y="2242882"/>
                  <a:pt x="7391400" y="2190750"/>
                </a:cubicBezTo>
                <a:cubicBezTo>
                  <a:pt x="7426766" y="2172531"/>
                  <a:pt x="7461317" y="2152772"/>
                  <a:pt x="7496175" y="2133600"/>
                </a:cubicBezTo>
                <a:lnTo>
                  <a:pt x="7581900" y="2085975"/>
                </a:lnTo>
                <a:cubicBezTo>
                  <a:pt x="7600950" y="2057400"/>
                  <a:pt x="7633082" y="2034070"/>
                  <a:pt x="7639050" y="2000250"/>
                </a:cubicBezTo>
                <a:cubicBezTo>
                  <a:pt x="7651654" y="1928829"/>
                  <a:pt x="7524193" y="1847780"/>
                  <a:pt x="7496175" y="1828800"/>
                </a:cubicBezTo>
                <a:cubicBezTo>
                  <a:pt x="7303795" y="1698478"/>
                  <a:pt x="7343452" y="1728263"/>
                  <a:pt x="7124700" y="1695450"/>
                </a:cubicBezTo>
                <a:lnTo>
                  <a:pt x="6934200" y="1704975"/>
                </a:lnTo>
                <a:cubicBezTo>
                  <a:pt x="6916312" y="1709745"/>
                  <a:pt x="6967212" y="1722184"/>
                  <a:pt x="6981825" y="1733550"/>
                </a:cubicBezTo>
                <a:cubicBezTo>
                  <a:pt x="6996002" y="1744577"/>
                  <a:pt x="7003972" y="1763399"/>
                  <a:pt x="7019925" y="1771650"/>
                </a:cubicBezTo>
                <a:cubicBezTo>
                  <a:pt x="7096950" y="1811491"/>
                  <a:pt x="7185896" y="1828322"/>
                  <a:pt x="7258050" y="1876425"/>
                </a:cubicBezTo>
                <a:cubicBezTo>
                  <a:pt x="7305675" y="1908175"/>
                  <a:pt x="7352124" y="1941765"/>
                  <a:pt x="7400925" y="1971675"/>
                </a:cubicBezTo>
                <a:cubicBezTo>
                  <a:pt x="7533468" y="2052911"/>
                  <a:pt x="7534166" y="2037635"/>
                  <a:pt x="7639050" y="2114550"/>
                </a:cubicBezTo>
                <a:cubicBezTo>
                  <a:pt x="7659047" y="2129214"/>
                  <a:pt x="7678665" y="2144640"/>
                  <a:pt x="7696200" y="2162175"/>
                </a:cubicBezTo>
                <a:cubicBezTo>
                  <a:pt x="7704295" y="2170270"/>
                  <a:pt x="7723345" y="2182655"/>
                  <a:pt x="7715250" y="2190750"/>
                </a:cubicBezTo>
                <a:cubicBezTo>
                  <a:pt x="7707155" y="2198845"/>
                  <a:pt x="7696200" y="2178050"/>
                  <a:pt x="7686675" y="2171700"/>
                </a:cubicBezTo>
                <a:cubicBezTo>
                  <a:pt x="7480055" y="2188012"/>
                  <a:pt x="7342551" y="2173885"/>
                  <a:pt x="7162800" y="2247900"/>
                </a:cubicBezTo>
                <a:cubicBezTo>
                  <a:pt x="6966383" y="2328778"/>
                  <a:pt x="6908049" y="2419456"/>
                  <a:pt x="6705600" y="2543175"/>
                </a:cubicBezTo>
                <a:cubicBezTo>
                  <a:pt x="6648450" y="2578100"/>
                  <a:pt x="6591931" y="2614079"/>
                  <a:pt x="6534150" y="2647950"/>
                </a:cubicBezTo>
                <a:cubicBezTo>
                  <a:pt x="6499830" y="2668069"/>
                  <a:pt x="6467398" y="2693400"/>
                  <a:pt x="6429375" y="2705100"/>
                </a:cubicBezTo>
                <a:cubicBezTo>
                  <a:pt x="6096112" y="2807642"/>
                  <a:pt x="6124419" y="2795596"/>
                  <a:pt x="5867400" y="2809875"/>
                </a:cubicBezTo>
                <a:cubicBezTo>
                  <a:pt x="5740400" y="2803525"/>
                  <a:pt x="5610531" y="2818410"/>
                  <a:pt x="5486400" y="2790825"/>
                </a:cubicBezTo>
                <a:cubicBezTo>
                  <a:pt x="5440766" y="2780684"/>
                  <a:pt x="5217272" y="2702672"/>
                  <a:pt x="5133975" y="2619375"/>
                </a:cubicBezTo>
                <a:cubicBezTo>
                  <a:pt x="5106941" y="2592341"/>
                  <a:pt x="5080714" y="2564236"/>
                  <a:pt x="5057775" y="2533650"/>
                </a:cubicBezTo>
                <a:cubicBezTo>
                  <a:pt x="5023310" y="2487697"/>
                  <a:pt x="4983224" y="2415092"/>
                  <a:pt x="4953000" y="2362200"/>
                </a:cubicBezTo>
                <a:cubicBezTo>
                  <a:pt x="4934743" y="2216141"/>
                  <a:pt x="4978298" y="2153389"/>
                  <a:pt x="4800600" y="2238375"/>
                </a:cubicBezTo>
                <a:cubicBezTo>
                  <a:pt x="4766110" y="2254870"/>
                  <a:pt x="4746572" y="2293198"/>
                  <a:pt x="4714875" y="2314575"/>
                </a:cubicBezTo>
                <a:cubicBezTo>
                  <a:pt x="4609682" y="2385519"/>
                  <a:pt x="4503304" y="2455506"/>
                  <a:pt x="4391025" y="2514600"/>
                </a:cubicBezTo>
                <a:cubicBezTo>
                  <a:pt x="4330700" y="2546350"/>
                  <a:pt x="4260492" y="2563994"/>
                  <a:pt x="4210050" y="2609850"/>
                </a:cubicBezTo>
                <a:cubicBezTo>
                  <a:pt x="4169318" y="2646879"/>
                  <a:pt x="4105264" y="2714630"/>
                  <a:pt x="4048125" y="2743200"/>
                </a:cubicBezTo>
                <a:cubicBezTo>
                  <a:pt x="3998530" y="2767998"/>
                  <a:pt x="3944457" y="2783421"/>
                  <a:pt x="3895725" y="2809875"/>
                </a:cubicBezTo>
                <a:cubicBezTo>
                  <a:pt x="3833019" y="2843915"/>
                  <a:pt x="3777620" y="2890440"/>
                  <a:pt x="3714750" y="2924175"/>
                </a:cubicBezTo>
                <a:cubicBezTo>
                  <a:pt x="3647141" y="2960453"/>
                  <a:pt x="3576116" y="2990134"/>
                  <a:pt x="3505200" y="3019425"/>
                </a:cubicBezTo>
                <a:cubicBezTo>
                  <a:pt x="3357303" y="3080513"/>
                  <a:pt x="3258554" y="3120007"/>
                  <a:pt x="3105150" y="3143250"/>
                </a:cubicBezTo>
                <a:cubicBezTo>
                  <a:pt x="3057958" y="3150400"/>
                  <a:pt x="3009900" y="3149600"/>
                  <a:pt x="2962275" y="3152775"/>
                </a:cubicBezTo>
                <a:cubicBezTo>
                  <a:pt x="2879725" y="3133725"/>
                  <a:pt x="2793285" y="3127089"/>
                  <a:pt x="2714625" y="3095625"/>
                </a:cubicBezTo>
                <a:cubicBezTo>
                  <a:pt x="2679127" y="3081426"/>
                  <a:pt x="2655934" y="3046459"/>
                  <a:pt x="2628900" y="3019425"/>
                </a:cubicBezTo>
                <a:cubicBezTo>
                  <a:pt x="2532325" y="2922850"/>
                  <a:pt x="2409869" y="2813928"/>
                  <a:pt x="2343150" y="2686050"/>
                </a:cubicBezTo>
                <a:cubicBezTo>
                  <a:pt x="2325960" y="2653102"/>
                  <a:pt x="2317750" y="2616200"/>
                  <a:pt x="2305050" y="2581275"/>
                </a:cubicBezTo>
                <a:cubicBezTo>
                  <a:pt x="2308225" y="2543175"/>
                  <a:pt x="2300376" y="2502473"/>
                  <a:pt x="2314575" y="2466975"/>
                </a:cubicBezTo>
                <a:cubicBezTo>
                  <a:pt x="2327110" y="2435638"/>
                  <a:pt x="2356882" y="2414127"/>
                  <a:pt x="2381250" y="2390775"/>
                </a:cubicBezTo>
                <a:cubicBezTo>
                  <a:pt x="2575676" y="2204450"/>
                  <a:pt x="2499443" y="2313498"/>
                  <a:pt x="2562225" y="2219325"/>
                </a:cubicBezTo>
                <a:cubicBezTo>
                  <a:pt x="2546350" y="2200275"/>
                  <a:pt x="2534298" y="2177238"/>
                  <a:pt x="2514600" y="2162175"/>
                </a:cubicBezTo>
                <a:cubicBezTo>
                  <a:pt x="2401914" y="2076003"/>
                  <a:pt x="2023343" y="1936559"/>
                  <a:pt x="2000250" y="1924050"/>
                </a:cubicBezTo>
                <a:cubicBezTo>
                  <a:pt x="1942358" y="1892692"/>
                  <a:pt x="1644446" y="1735658"/>
                  <a:pt x="1581150" y="1685925"/>
                </a:cubicBezTo>
                <a:cubicBezTo>
                  <a:pt x="1505220" y="1626266"/>
                  <a:pt x="1419509" y="1569741"/>
                  <a:pt x="1371600" y="1485900"/>
                </a:cubicBezTo>
                <a:lnTo>
                  <a:pt x="1333500" y="1419225"/>
                </a:lnTo>
                <a:cubicBezTo>
                  <a:pt x="1346200" y="1349375"/>
                  <a:pt x="1349149" y="1277027"/>
                  <a:pt x="1371600" y="1209675"/>
                </a:cubicBezTo>
                <a:cubicBezTo>
                  <a:pt x="1378700" y="1188376"/>
                  <a:pt x="1401068" y="1175255"/>
                  <a:pt x="1419225" y="1162050"/>
                </a:cubicBezTo>
                <a:cubicBezTo>
                  <a:pt x="1459980" y="1132410"/>
                  <a:pt x="1478959" y="1132958"/>
                  <a:pt x="1524000" y="1123950"/>
                </a:cubicBezTo>
                <a:cubicBezTo>
                  <a:pt x="1445941" y="1065406"/>
                  <a:pt x="1483864" y="1091806"/>
                  <a:pt x="1343025" y="1009650"/>
                </a:cubicBezTo>
                <a:cubicBezTo>
                  <a:pt x="1276693" y="970956"/>
                  <a:pt x="1210472" y="932020"/>
                  <a:pt x="1143000" y="895350"/>
                </a:cubicBezTo>
                <a:cubicBezTo>
                  <a:pt x="1064394" y="852629"/>
                  <a:pt x="984250" y="812800"/>
                  <a:pt x="904875" y="771525"/>
                </a:cubicBezTo>
                <a:cubicBezTo>
                  <a:pt x="825500" y="730250"/>
                  <a:pt x="748335" y="684413"/>
                  <a:pt x="666750" y="647700"/>
                </a:cubicBezTo>
                <a:cubicBezTo>
                  <a:pt x="603250" y="619125"/>
                  <a:pt x="537630" y="594857"/>
                  <a:pt x="476250" y="561975"/>
                </a:cubicBezTo>
                <a:cubicBezTo>
                  <a:pt x="429417" y="536886"/>
                  <a:pt x="405469" y="510244"/>
                  <a:pt x="371475" y="476250"/>
                </a:cubicBezTo>
                <a:cubicBezTo>
                  <a:pt x="381000" y="454025"/>
                  <a:pt x="385542" y="428919"/>
                  <a:pt x="400050" y="409575"/>
                </a:cubicBezTo>
                <a:cubicBezTo>
                  <a:pt x="414929" y="389737"/>
                  <a:pt x="436567" y="375705"/>
                  <a:pt x="457200" y="361950"/>
                </a:cubicBezTo>
                <a:cubicBezTo>
                  <a:pt x="556410" y="295810"/>
                  <a:pt x="789005" y="210073"/>
                  <a:pt x="847725" y="190500"/>
                </a:cubicBezTo>
                <a:cubicBezTo>
                  <a:pt x="895350" y="174625"/>
                  <a:pt x="1040413" y="136648"/>
                  <a:pt x="990600" y="142875"/>
                </a:cubicBezTo>
                <a:cubicBezTo>
                  <a:pt x="965200" y="146050"/>
                  <a:pt x="939649" y="148192"/>
                  <a:pt x="914400" y="152400"/>
                </a:cubicBezTo>
                <a:cubicBezTo>
                  <a:pt x="882462" y="157723"/>
                  <a:pt x="851387" y="168428"/>
                  <a:pt x="819150" y="171450"/>
                </a:cubicBezTo>
                <a:cubicBezTo>
                  <a:pt x="749533" y="177977"/>
                  <a:pt x="679450" y="177800"/>
                  <a:pt x="609600" y="180975"/>
                </a:cubicBezTo>
                <a:cubicBezTo>
                  <a:pt x="571500" y="177800"/>
                  <a:pt x="532241" y="181301"/>
                  <a:pt x="495300" y="171450"/>
                </a:cubicBezTo>
                <a:cubicBezTo>
                  <a:pt x="482284" y="167979"/>
                  <a:pt x="475491" y="153102"/>
                  <a:pt x="466725" y="142875"/>
                </a:cubicBezTo>
                <a:cubicBezTo>
                  <a:pt x="419467" y="87741"/>
                  <a:pt x="459878" y="119261"/>
                  <a:pt x="409575" y="85725"/>
                </a:cubicBezTo>
                <a:cubicBezTo>
                  <a:pt x="400050" y="88900"/>
                  <a:pt x="389717" y="90269"/>
                  <a:pt x="381000" y="95250"/>
                </a:cubicBezTo>
                <a:cubicBezTo>
                  <a:pt x="367217" y="103126"/>
                  <a:pt x="354700" y="113205"/>
                  <a:pt x="342900" y="123825"/>
                </a:cubicBezTo>
                <a:cubicBezTo>
                  <a:pt x="294245" y="167615"/>
                  <a:pt x="271563" y="197526"/>
                  <a:pt x="228600" y="247650"/>
                </a:cubicBezTo>
                <a:cubicBezTo>
                  <a:pt x="225425" y="276225"/>
                  <a:pt x="210358" y="305978"/>
                  <a:pt x="219075" y="333375"/>
                </a:cubicBezTo>
                <a:cubicBezTo>
                  <a:pt x="262488" y="469816"/>
                  <a:pt x="325235" y="477427"/>
                  <a:pt x="447675" y="533400"/>
                </a:cubicBezTo>
                <a:cubicBezTo>
                  <a:pt x="507204" y="560613"/>
                  <a:pt x="565605" y="592006"/>
                  <a:pt x="628650" y="609600"/>
                </a:cubicBezTo>
                <a:cubicBezTo>
                  <a:pt x="764888" y="647620"/>
                  <a:pt x="1035306" y="662756"/>
                  <a:pt x="1162050" y="676275"/>
                </a:cubicBezTo>
                <a:lnTo>
                  <a:pt x="1571625" y="723900"/>
                </a:lnTo>
                <a:cubicBezTo>
                  <a:pt x="1577975" y="739775"/>
                  <a:pt x="1590675" y="754427"/>
                  <a:pt x="1590675" y="771525"/>
                </a:cubicBezTo>
                <a:cubicBezTo>
                  <a:pt x="1590675" y="785724"/>
                  <a:pt x="1580144" y="798266"/>
                  <a:pt x="1571625" y="809625"/>
                </a:cubicBezTo>
                <a:cubicBezTo>
                  <a:pt x="1551375" y="836626"/>
                  <a:pt x="1523928" y="857916"/>
                  <a:pt x="1504950" y="885825"/>
                </a:cubicBezTo>
                <a:cubicBezTo>
                  <a:pt x="1469738" y="937608"/>
                  <a:pt x="1442259" y="994259"/>
                  <a:pt x="1409700" y="1047750"/>
                </a:cubicBezTo>
                <a:cubicBezTo>
                  <a:pt x="1329116" y="1180138"/>
                  <a:pt x="1415481" y="1009825"/>
                  <a:pt x="1314450" y="1228725"/>
                </a:cubicBezTo>
                <a:cubicBezTo>
                  <a:pt x="1317625" y="1276350"/>
                  <a:pt x="1310260" y="1325882"/>
                  <a:pt x="1323975" y="1371600"/>
                </a:cubicBezTo>
                <a:cubicBezTo>
                  <a:pt x="1330426" y="1393104"/>
                  <a:pt x="1352423" y="1407552"/>
                  <a:pt x="1371600" y="1419225"/>
                </a:cubicBezTo>
                <a:cubicBezTo>
                  <a:pt x="1426180" y="1452447"/>
                  <a:pt x="1484882" y="1478510"/>
                  <a:pt x="1543050" y="1504950"/>
                </a:cubicBezTo>
                <a:cubicBezTo>
                  <a:pt x="1624650" y="1542041"/>
                  <a:pt x="1705512" y="1581845"/>
                  <a:pt x="1790700" y="1609725"/>
                </a:cubicBezTo>
                <a:cubicBezTo>
                  <a:pt x="2005507" y="1680025"/>
                  <a:pt x="2168044" y="1685510"/>
                  <a:pt x="2390775" y="1733550"/>
                </a:cubicBezTo>
                <a:cubicBezTo>
                  <a:pt x="2445771" y="1745412"/>
                  <a:pt x="2498725" y="1765300"/>
                  <a:pt x="2552700" y="1781175"/>
                </a:cubicBezTo>
                <a:cubicBezTo>
                  <a:pt x="2571750" y="1797050"/>
                  <a:pt x="2611226" y="1804041"/>
                  <a:pt x="2609850" y="1828800"/>
                </a:cubicBezTo>
                <a:cubicBezTo>
                  <a:pt x="2607250" y="1875606"/>
                  <a:pt x="2570271" y="1914371"/>
                  <a:pt x="2543175" y="1952625"/>
                </a:cubicBezTo>
                <a:cubicBezTo>
                  <a:pt x="2515893" y="1991141"/>
                  <a:pt x="2476785" y="2020052"/>
                  <a:pt x="2447925" y="2057400"/>
                </a:cubicBezTo>
                <a:cubicBezTo>
                  <a:pt x="2422613" y="2090157"/>
                  <a:pt x="2403475" y="2127250"/>
                  <a:pt x="2381250" y="2162175"/>
                </a:cubicBezTo>
                <a:cubicBezTo>
                  <a:pt x="2329273" y="2370084"/>
                  <a:pt x="2324714" y="2300222"/>
                  <a:pt x="2466975" y="2609850"/>
                </a:cubicBezTo>
                <a:cubicBezTo>
                  <a:pt x="2474113" y="2625386"/>
                  <a:pt x="2497762" y="2625929"/>
                  <a:pt x="2514600" y="2628900"/>
                </a:cubicBezTo>
                <a:cubicBezTo>
                  <a:pt x="2552250" y="2635544"/>
                  <a:pt x="2590800" y="2635250"/>
                  <a:pt x="2628900" y="2638425"/>
                </a:cubicBezTo>
                <a:cubicBezTo>
                  <a:pt x="2759075" y="2632075"/>
                  <a:pt x="2891078" y="2642024"/>
                  <a:pt x="3019425" y="2619375"/>
                </a:cubicBezTo>
                <a:cubicBezTo>
                  <a:pt x="3109450" y="2603488"/>
                  <a:pt x="3192262" y="2559394"/>
                  <a:pt x="3276600" y="2524125"/>
                </a:cubicBezTo>
                <a:cubicBezTo>
                  <a:pt x="3367026" y="2486310"/>
                  <a:pt x="3459393" y="2450961"/>
                  <a:pt x="3543300" y="2400300"/>
                </a:cubicBezTo>
                <a:cubicBezTo>
                  <a:pt x="3660276" y="2329673"/>
                  <a:pt x="3814386" y="2190759"/>
                  <a:pt x="3924300" y="2095500"/>
                </a:cubicBezTo>
                <a:cubicBezTo>
                  <a:pt x="3966315" y="2011470"/>
                  <a:pt x="4006776" y="1998278"/>
                  <a:pt x="3924300" y="1924050"/>
                </a:cubicBezTo>
                <a:cubicBezTo>
                  <a:pt x="3912267" y="1913220"/>
                  <a:pt x="3892550" y="1917700"/>
                  <a:pt x="3876675" y="1914525"/>
                </a:cubicBezTo>
                <a:cubicBezTo>
                  <a:pt x="3857625" y="1939925"/>
                  <a:pt x="3832554" y="1961771"/>
                  <a:pt x="3819525" y="1990725"/>
                </a:cubicBezTo>
                <a:cubicBezTo>
                  <a:pt x="3803409" y="2026539"/>
                  <a:pt x="3790950" y="2065752"/>
                  <a:pt x="3790950" y="2105025"/>
                </a:cubicBezTo>
                <a:cubicBezTo>
                  <a:pt x="3790950" y="2284621"/>
                  <a:pt x="3768176" y="2441010"/>
                  <a:pt x="3952875" y="2524125"/>
                </a:cubicBezTo>
                <a:cubicBezTo>
                  <a:pt x="4029533" y="2558621"/>
                  <a:pt x="4117975" y="2555875"/>
                  <a:pt x="4200525" y="2571750"/>
                </a:cubicBezTo>
                <a:cubicBezTo>
                  <a:pt x="4394200" y="2555875"/>
                  <a:pt x="4588574" y="2546977"/>
                  <a:pt x="4781550" y="2524125"/>
                </a:cubicBezTo>
                <a:cubicBezTo>
                  <a:pt x="4830497" y="2518329"/>
                  <a:pt x="4880027" y="2507431"/>
                  <a:pt x="4924425" y="2486025"/>
                </a:cubicBezTo>
                <a:cubicBezTo>
                  <a:pt x="5058873" y="2421202"/>
                  <a:pt x="5314950" y="2266950"/>
                  <a:pt x="5314950" y="2266950"/>
                </a:cubicBezTo>
                <a:cubicBezTo>
                  <a:pt x="5481781" y="2050069"/>
                  <a:pt x="5606722" y="2029264"/>
                  <a:pt x="5419725" y="1762125"/>
                </a:cubicBezTo>
                <a:cubicBezTo>
                  <a:pt x="5367548" y="1687586"/>
                  <a:pt x="5093877" y="1564768"/>
                  <a:pt x="5019675" y="1543050"/>
                </a:cubicBezTo>
                <a:cubicBezTo>
                  <a:pt x="4964488" y="1526898"/>
                  <a:pt x="4790835" y="1527587"/>
                  <a:pt x="4848225" y="1524000"/>
                </a:cubicBezTo>
                <a:cubicBezTo>
                  <a:pt x="4956011" y="1517263"/>
                  <a:pt x="5064098" y="1531449"/>
                  <a:pt x="5172075" y="1533525"/>
                </a:cubicBezTo>
                <a:lnTo>
                  <a:pt x="5838825" y="1543050"/>
                </a:lnTo>
                <a:cubicBezTo>
                  <a:pt x="5885071" y="1635543"/>
                  <a:pt x="5938854" y="1747063"/>
                  <a:pt x="6000750" y="1819275"/>
                </a:cubicBezTo>
                <a:cubicBezTo>
                  <a:pt x="6038850" y="1863725"/>
                  <a:pt x="6073653" y="1911228"/>
                  <a:pt x="6115050" y="1952625"/>
                </a:cubicBezTo>
                <a:cubicBezTo>
                  <a:pt x="6156447" y="1994022"/>
                  <a:pt x="6202531" y="2030546"/>
                  <a:pt x="6248400" y="2066925"/>
                </a:cubicBezTo>
                <a:cubicBezTo>
                  <a:pt x="6294672" y="2103624"/>
                  <a:pt x="6339768" y="2142806"/>
                  <a:pt x="6391275" y="2171700"/>
                </a:cubicBezTo>
                <a:cubicBezTo>
                  <a:pt x="6546150" y="2258581"/>
                  <a:pt x="6592469" y="2270515"/>
                  <a:pt x="6724650" y="2314575"/>
                </a:cubicBezTo>
                <a:cubicBezTo>
                  <a:pt x="6791325" y="2365375"/>
                  <a:pt x="6854931" y="2420479"/>
                  <a:pt x="6924675" y="2466975"/>
                </a:cubicBezTo>
                <a:cubicBezTo>
                  <a:pt x="6953250" y="2486025"/>
                  <a:pt x="6980799" y="2506712"/>
                  <a:pt x="7010400" y="2524125"/>
                </a:cubicBezTo>
                <a:cubicBezTo>
                  <a:pt x="7066095" y="2556887"/>
                  <a:pt x="7070084" y="2556720"/>
                  <a:pt x="7115175" y="2571750"/>
                </a:cubicBezTo>
                <a:cubicBezTo>
                  <a:pt x="7143750" y="2552700"/>
                  <a:pt x="7173945" y="2535880"/>
                  <a:pt x="7200900" y="2514600"/>
                </a:cubicBezTo>
                <a:cubicBezTo>
                  <a:pt x="7274679" y="2456353"/>
                  <a:pt x="7420239" y="2304786"/>
                  <a:pt x="7467600" y="2257425"/>
                </a:cubicBezTo>
                <a:cubicBezTo>
                  <a:pt x="7473950" y="2235200"/>
                  <a:pt x="7500245" y="2209443"/>
                  <a:pt x="7486650" y="2190750"/>
                </a:cubicBezTo>
                <a:cubicBezTo>
                  <a:pt x="7411401" y="2087282"/>
                  <a:pt x="7212246" y="1986873"/>
                  <a:pt x="7105650" y="1933575"/>
                </a:cubicBezTo>
                <a:cubicBezTo>
                  <a:pt x="7043368" y="1902434"/>
                  <a:pt x="6977786" y="1878273"/>
                  <a:pt x="6915150" y="1847850"/>
                </a:cubicBezTo>
                <a:cubicBezTo>
                  <a:pt x="6866599" y="1824268"/>
                  <a:pt x="6719912" y="1758559"/>
                  <a:pt x="6772275" y="1771650"/>
                </a:cubicBezTo>
                <a:cubicBezTo>
                  <a:pt x="6825719" y="1785011"/>
                  <a:pt x="6876164" y="1795608"/>
                  <a:pt x="6924675" y="1828800"/>
                </a:cubicBezTo>
                <a:cubicBezTo>
                  <a:pt x="6985000" y="1870075"/>
                  <a:pt x="7041675" y="1917270"/>
                  <a:pt x="7105650" y="1952625"/>
                </a:cubicBezTo>
                <a:cubicBezTo>
                  <a:pt x="7162938" y="1984284"/>
                  <a:pt x="7227471" y="2000805"/>
                  <a:pt x="7286625" y="2028825"/>
                </a:cubicBezTo>
                <a:cubicBezTo>
                  <a:pt x="7405405" y="2085089"/>
                  <a:pt x="7459646" y="2127861"/>
                  <a:pt x="7572375" y="2171700"/>
                </a:cubicBezTo>
                <a:cubicBezTo>
                  <a:pt x="7593918" y="2180078"/>
                  <a:pt x="7616910" y="2184108"/>
                  <a:pt x="7639050" y="2190750"/>
                </a:cubicBezTo>
                <a:cubicBezTo>
                  <a:pt x="7648667" y="2193635"/>
                  <a:pt x="7658100" y="2197100"/>
                  <a:pt x="7667625" y="2200275"/>
                </a:cubicBezTo>
                <a:cubicBezTo>
                  <a:pt x="7648575" y="2209800"/>
                  <a:pt x="7628483" y="2217477"/>
                  <a:pt x="7610475" y="2228850"/>
                </a:cubicBezTo>
                <a:cubicBezTo>
                  <a:pt x="7568030" y="2255657"/>
                  <a:pt x="7531551" y="2292124"/>
                  <a:pt x="7486650" y="2314575"/>
                </a:cubicBezTo>
                <a:cubicBezTo>
                  <a:pt x="7461250" y="2327275"/>
                  <a:pt x="7433417" y="2335972"/>
                  <a:pt x="7410450" y="2352675"/>
                </a:cubicBezTo>
                <a:cubicBezTo>
                  <a:pt x="7228148" y="2485258"/>
                  <a:pt x="7230664" y="2474714"/>
                  <a:pt x="7334250" y="2457450"/>
                </a:cubicBezTo>
                <a:cubicBezTo>
                  <a:pt x="7337425" y="2447925"/>
                  <a:pt x="7340046" y="2438197"/>
                  <a:pt x="7343775" y="2428875"/>
                </a:cubicBezTo>
                <a:cubicBezTo>
                  <a:pt x="7352755" y="2406424"/>
                  <a:pt x="7381947" y="2384394"/>
                  <a:pt x="7372350" y="2362200"/>
                </a:cubicBezTo>
                <a:cubicBezTo>
                  <a:pt x="7327600" y="2258715"/>
                  <a:pt x="7266393" y="2160616"/>
                  <a:pt x="7191375" y="2076450"/>
                </a:cubicBezTo>
                <a:cubicBezTo>
                  <a:pt x="7095205" y="1968552"/>
                  <a:pt x="6909362" y="1879081"/>
                  <a:pt x="6772275" y="1838325"/>
                </a:cubicBezTo>
                <a:cubicBezTo>
                  <a:pt x="6726221" y="1824633"/>
                  <a:pt x="6677025" y="1825625"/>
                  <a:pt x="6629400" y="1819275"/>
                </a:cubicBezTo>
                <a:cubicBezTo>
                  <a:pt x="6543675" y="1841500"/>
                  <a:pt x="6451435" y="1846345"/>
                  <a:pt x="6372225" y="1885950"/>
                </a:cubicBezTo>
                <a:cubicBezTo>
                  <a:pt x="6327576" y="1908275"/>
                  <a:pt x="6271791" y="2059103"/>
                  <a:pt x="6257925" y="2095500"/>
                </a:cubicBezTo>
                <a:cubicBezTo>
                  <a:pt x="6238348" y="2146890"/>
                  <a:pt x="6218045" y="2229069"/>
                  <a:pt x="6191250" y="2276475"/>
                </a:cubicBezTo>
                <a:cubicBezTo>
                  <a:pt x="6152966" y="2344208"/>
                  <a:pt x="6113684" y="2405941"/>
                  <a:pt x="6048375" y="2447925"/>
                </a:cubicBezTo>
                <a:cubicBezTo>
                  <a:pt x="6024487" y="2463281"/>
                  <a:pt x="5998072" y="2474371"/>
                  <a:pt x="5972175" y="2486025"/>
                </a:cubicBezTo>
                <a:cubicBezTo>
                  <a:pt x="5849966" y="2541019"/>
                  <a:pt x="5843226" y="2546648"/>
                  <a:pt x="5695950" y="2552700"/>
                </a:cubicBezTo>
                <a:cubicBezTo>
                  <a:pt x="5518272" y="2560002"/>
                  <a:pt x="5340350" y="2559050"/>
                  <a:pt x="5162550" y="2562225"/>
                </a:cubicBezTo>
                <a:cubicBezTo>
                  <a:pt x="5149850" y="2568575"/>
                  <a:pt x="5132494" y="2569574"/>
                  <a:pt x="5124450" y="2581275"/>
                </a:cubicBezTo>
                <a:cubicBezTo>
                  <a:pt x="5096295" y="2622227"/>
                  <a:pt x="5076232" y="2668483"/>
                  <a:pt x="5057775" y="2714625"/>
                </a:cubicBezTo>
                <a:cubicBezTo>
                  <a:pt x="5051425" y="2730500"/>
                  <a:pt x="5048781" y="2748422"/>
                  <a:pt x="5038725" y="2762250"/>
                </a:cubicBezTo>
                <a:cubicBezTo>
                  <a:pt x="5011080" y="2800262"/>
                  <a:pt x="4948069" y="2849947"/>
                  <a:pt x="4905375" y="2867025"/>
                </a:cubicBezTo>
                <a:cubicBezTo>
                  <a:pt x="4868911" y="2881610"/>
                  <a:pt x="4828646" y="2884165"/>
                  <a:pt x="4791075" y="2895600"/>
                </a:cubicBezTo>
                <a:cubicBezTo>
                  <a:pt x="4755523" y="2906420"/>
                  <a:pt x="4721225" y="2921000"/>
                  <a:pt x="4686300" y="2933700"/>
                </a:cubicBezTo>
                <a:cubicBezTo>
                  <a:pt x="4530725" y="2927350"/>
                  <a:pt x="4374453" y="2930672"/>
                  <a:pt x="4219575" y="2914650"/>
                </a:cubicBezTo>
                <a:cubicBezTo>
                  <a:pt x="4145635" y="2907001"/>
                  <a:pt x="4035368" y="2795374"/>
                  <a:pt x="4000500" y="2762250"/>
                </a:cubicBezTo>
                <a:cubicBezTo>
                  <a:pt x="3994531" y="2756579"/>
                  <a:pt x="3925474" y="2670476"/>
                  <a:pt x="3905250" y="2657475"/>
                </a:cubicBezTo>
                <a:cubicBezTo>
                  <a:pt x="3769313" y="2570087"/>
                  <a:pt x="3737207" y="2607340"/>
                  <a:pt x="3533775" y="2600325"/>
                </a:cubicBezTo>
                <a:cubicBezTo>
                  <a:pt x="3485140" y="2584113"/>
                  <a:pt x="3489448" y="2595927"/>
                  <a:pt x="3543300" y="2524125"/>
                </a:cubicBezTo>
                <a:cubicBezTo>
                  <a:pt x="3575741" y="2480870"/>
                  <a:pt x="3615634" y="2443555"/>
                  <a:pt x="3648075" y="2400300"/>
                </a:cubicBezTo>
                <a:cubicBezTo>
                  <a:pt x="3684122" y="2352237"/>
                  <a:pt x="3687506" y="2329631"/>
                  <a:pt x="3705225" y="2276475"/>
                </a:cubicBezTo>
                <a:cubicBezTo>
                  <a:pt x="3708400" y="2241550"/>
                  <a:pt x="3718928" y="2206519"/>
                  <a:pt x="3714750" y="2171700"/>
                </a:cubicBezTo>
                <a:cubicBezTo>
                  <a:pt x="3709242" y="2125801"/>
                  <a:pt x="3698928" y="2078856"/>
                  <a:pt x="3676650" y="2038350"/>
                </a:cubicBezTo>
                <a:cubicBezTo>
                  <a:pt x="3662543" y="2012701"/>
                  <a:pt x="3636404" y="1993785"/>
                  <a:pt x="3609975" y="1981200"/>
                </a:cubicBezTo>
                <a:cubicBezTo>
                  <a:pt x="3509880" y="1933536"/>
                  <a:pt x="3358197" y="1930340"/>
                  <a:pt x="3257550" y="1924050"/>
                </a:cubicBezTo>
                <a:cubicBezTo>
                  <a:pt x="3127474" y="1915920"/>
                  <a:pt x="2997224" y="1910830"/>
                  <a:pt x="2867025" y="1905000"/>
                </a:cubicBezTo>
                <a:cubicBezTo>
                  <a:pt x="2657592" y="1895622"/>
                  <a:pt x="2510911" y="1892285"/>
                  <a:pt x="2295525" y="1885950"/>
                </a:cubicBezTo>
                <a:cubicBezTo>
                  <a:pt x="2279650" y="1882775"/>
                  <a:pt x="2263466" y="1871977"/>
                  <a:pt x="2247900" y="1876425"/>
                </a:cubicBezTo>
                <a:cubicBezTo>
                  <a:pt x="2236893" y="1879570"/>
                  <a:pt x="2232470" y="1894140"/>
                  <a:pt x="2228850" y="1905000"/>
                </a:cubicBezTo>
                <a:cubicBezTo>
                  <a:pt x="2216431" y="1942257"/>
                  <a:pt x="2217838" y="1984174"/>
                  <a:pt x="2200275" y="2019300"/>
                </a:cubicBezTo>
                <a:cubicBezTo>
                  <a:pt x="2193925" y="2032000"/>
                  <a:pt x="2174875" y="2032000"/>
                  <a:pt x="2162175" y="2038350"/>
                </a:cubicBezTo>
                <a:cubicBezTo>
                  <a:pt x="2114550" y="2035175"/>
                  <a:pt x="2065698" y="2040025"/>
                  <a:pt x="2019300" y="2028825"/>
                </a:cubicBezTo>
                <a:cubicBezTo>
                  <a:pt x="1972290" y="2017478"/>
                  <a:pt x="1928621" y="1994433"/>
                  <a:pt x="1885950" y="1971675"/>
                </a:cubicBezTo>
                <a:cubicBezTo>
                  <a:pt x="1833092" y="1943484"/>
                  <a:pt x="1781092" y="1912874"/>
                  <a:pt x="1733550" y="1876425"/>
                </a:cubicBezTo>
                <a:cubicBezTo>
                  <a:pt x="1625256" y="1793400"/>
                  <a:pt x="1541445" y="1687079"/>
                  <a:pt x="1457325" y="1581150"/>
                </a:cubicBezTo>
                <a:cubicBezTo>
                  <a:pt x="1417835" y="1531422"/>
                  <a:pt x="1374002" y="1484182"/>
                  <a:pt x="1343025" y="1428750"/>
                </a:cubicBezTo>
                <a:cubicBezTo>
                  <a:pt x="1313112" y="1375222"/>
                  <a:pt x="1298575" y="1314450"/>
                  <a:pt x="1276350" y="1257300"/>
                </a:cubicBezTo>
                <a:cubicBezTo>
                  <a:pt x="1272099" y="1197790"/>
                  <a:pt x="1251558" y="1036840"/>
                  <a:pt x="1285875" y="981075"/>
                </a:cubicBezTo>
                <a:cubicBezTo>
                  <a:pt x="1316161" y="931860"/>
                  <a:pt x="1438181" y="857838"/>
                  <a:pt x="1504950" y="838200"/>
                </a:cubicBezTo>
                <a:cubicBezTo>
                  <a:pt x="1529508" y="830977"/>
                  <a:pt x="1555750" y="831850"/>
                  <a:pt x="1581150" y="828675"/>
                </a:cubicBezTo>
                <a:cubicBezTo>
                  <a:pt x="1590675" y="825500"/>
                  <a:pt x="1612900" y="828675"/>
                  <a:pt x="1609725" y="819150"/>
                </a:cubicBezTo>
                <a:cubicBezTo>
                  <a:pt x="1602625" y="797851"/>
                  <a:pt x="1578996" y="786309"/>
                  <a:pt x="1562100" y="771525"/>
                </a:cubicBezTo>
                <a:cubicBezTo>
                  <a:pt x="1528140" y="741810"/>
                  <a:pt x="1492308" y="714304"/>
                  <a:pt x="1457325" y="685800"/>
                </a:cubicBezTo>
                <a:cubicBezTo>
                  <a:pt x="1406583" y="644454"/>
                  <a:pt x="1360315" y="596850"/>
                  <a:pt x="1304925" y="561975"/>
                </a:cubicBezTo>
                <a:cubicBezTo>
                  <a:pt x="1219200" y="508000"/>
                  <a:pt x="1132354" y="455765"/>
                  <a:pt x="1047750" y="400050"/>
                </a:cubicBezTo>
                <a:cubicBezTo>
                  <a:pt x="1002129" y="370007"/>
                  <a:pt x="959851" y="335100"/>
                  <a:pt x="914400" y="304800"/>
                </a:cubicBezTo>
                <a:cubicBezTo>
                  <a:pt x="883592" y="284261"/>
                  <a:pt x="849958" y="268189"/>
                  <a:pt x="819150" y="247650"/>
                </a:cubicBezTo>
                <a:cubicBezTo>
                  <a:pt x="802234" y="236373"/>
                  <a:pt x="788765" y="220325"/>
                  <a:pt x="771525" y="209550"/>
                </a:cubicBezTo>
                <a:cubicBezTo>
                  <a:pt x="763011" y="204229"/>
                  <a:pt x="752351" y="203550"/>
                  <a:pt x="742950" y="200025"/>
                </a:cubicBezTo>
                <a:cubicBezTo>
                  <a:pt x="726941" y="194022"/>
                  <a:pt x="711448" y="186666"/>
                  <a:pt x="695325" y="180975"/>
                </a:cubicBezTo>
                <a:cubicBezTo>
                  <a:pt x="657454" y="167609"/>
                  <a:pt x="618629" y="156976"/>
                  <a:pt x="581025" y="142875"/>
                </a:cubicBezTo>
                <a:cubicBezTo>
                  <a:pt x="392704" y="72255"/>
                  <a:pt x="656268" y="161606"/>
                  <a:pt x="514350" y="114300"/>
                </a:cubicBezTo>
                <a:lnTo>
                  <a:pt x="600075" y="85725"/>
                </a:lnTo>
                <a:lnTo>
                  <a:pt x="628650" y="76200"/>
                </a:lnTo>
                <a:cubicBezTo>
                  <a:pt x="636617" y="60266"/>
                  <a:pt x="663202" y="29547"/>
                  <a:pt x="638175" y="9525"/>
                </a:cubicBezTo>
                <a:cubicBezTo>
                  <a:pt x="627953" y="1347"/>
                  <a:pt x="612775" y="3175"/>
                  <a:pt x="600075" y="0"/>
                </a:cubicBezTo>
                <a:cubicBezTo>
                  <a:pt x="584200" y="3175"/>
                  <a:pt x="564742" y="-1011"/>
                  <a:pt x="552450" y="9525"/>
                </a:cubicBezTo>
                <a:cubicBezTo>
                  <a:pt x="521924" y="35690"/>
                  <a:pt x="530905" y="70627"/>
                  <a:pt x="552450" y="95250"/>
                </a:cubicBezTo>
                <a:cubicBezTo>
                  <a:pt x="565837" y="110550"/>
                  <a:pt x="582262" y="123553"/>
                  <a:pt x="600075" y="133350"/>
                </a:cubicBezTo>
                <a:cubicBezTo>
                  <a:pt x="646125" y="158678"/>
                  <a:pt x="692718" y="184569"/>
                  <a:pt x="742950" y="200025"/>
                </a:cubicBezTo>
                <a:cubicBezTo>
                  <a:pt x="776468" y="210338"/>
                  <a:pt x="812759" y="206860"/>
                  <a:pt x="847725" y="209550"/>
                </a:cubicBezTo>
                <a:cubicBezTo>
                  <a:pt x="895315" y="213211"/>
                  <a:pt x="942975" y="215900"/>
                  <a:pt x="990600" y="219075"/>
                </a:cubicBezTo>
                <a:cubicBezTo>
                  <a:pt x="807224" y="255750"/>
                  <a:pt x="1046025" y="210415"/>
                  <a:pt x="561975" y="247650"/>
                </a:cubicBezTo>
                <a:cubicBezTo>
                  <a:pt x="523463" y="250612"/>
                  <a:pt x="485775" y="260350"/>
                  <a:pt x="447675" y="266700"/>
                </a:cubicBezTo>
                <a:cubicBezTo>
                  <a:pt x="444500" y="276225"/>
                  <a:pt x="434975" y="285750"/>
                  <a:pt x="438150" y="295275"/>
                </a:cubicBezTo>
                <a:cubicBezTo>
                  <a:pt x="442410" y="308054"/>
                  <a:pt x="457959" y="313623"/>
                  <a:pt x="466725" y="323850"/>
                </a:cubicBezTo>
                <a:cubicBezTo>
                  <a:pt x="496092" y="358112"/>
                  <a:pt x="530062" y="389445"/>
                  <a:pt x="552450" y="428625"/>
                </a:cubicBezTo>
                <a:cubicBezTo>
                  <a:pt x="593920" y="501198"/>
                  <a:pt x="608290" y="519946"/>
                  <a:pt x="638175" y="609600"/>
                </a:cubicBezTo>
                <a:cubicBezTo>
                  <a:pt x="653762" y="656360"/>
                  <a:pt x="663575" y="704850"/>
                  <a:pt x="676275" y="752475"/>
                </a:cubicBezTo>
                <a:cubicBezTo>
                  <a:pt x="682625" y="822325"/>
                  <a:pt x="690659" y="892042"/>
                  <a:pt x="695325" y="962025"/>
                </a:cubicBezTo>
                <a:cubicBezTo>
                  <a:pt x="712971" y="1226715"/>
                  <a:pt x="676608" y="1105789"/>
                  <a:pt x="733425" y="1257300"/>
                </a:cubicBezTo>
                <a:cubicBezTo>
                  <a:pt x="742950" y="1254125"/>
                  <a:pt x="754160" y="1254047"/>
                  <a:pt x="762000" y="1247775"/>
                </a:cubicBezTo>
                <a:cubicBezTo>
                  <a:pt x="778786" y="1234346"/>
                  <a:pt x="784300" y="1209449"/>
                  <a:pt x="790575" y="1190625"/>
                </a:cubicBezTo>
                <a:cubicBezTo>
                  <a:pt x="787400" y="1155700"/>
                  <a:pt x="796733" y="1117217"/>
                  <a:pt x="781050" y="1085850"/>
                </a:cubicBezTo>
                <a:cubicBezTo>
                  <a:pt x="769112" y="1061973"/>
                  <a:pt x="699412" y="1052377"/>
                  <a:pt x="676275" y="1047750"/>
                </a:cubicBezTo>
                <a:cubicBezTo>
                  <a:pt x="654050" y="1060450"/>
                  <a:pt x="626606" y="1066718"/>
                  <a:pt x="609600" y="1085850"/>
                </a:cubicBezTo>
                <a:cubicBezTo>
                  <a:pt x="598844" y="1097950"/>
                  <a:pt x="599305" y="1117304"/>
                  <a:pt x="600075" y="1133475"/>
                </a:cubicBezTo>
                <a:cubicBezTo>
                  <a:pt x="608653" y="1313604"/>
                  <a:pt x="616230" y="1346813"/>
                  <a:pt x="809625" y="1457325"/>
                </a:cubicBezTo>
                <a:cubicBezTo>
                  <a:pt x="876300" y="1495425"/>
                  <a:pt x="940964" y="1537282"/>
                  <a:pt x="1009650" y="1571625"/>
                </a:cubicBezTo>
                <a:cubicBezTo>
                  <a:pt x="1201612" y="1667606"/>
                  <a:pt x="1340448" y="1730306"/>
                  <a:pt x="1552575" y="1762125"/>
                </a:cubicBezTo>
                <a:cubicBezTo>
                  <a:pt x="1589577" y="1767675"/>
                  <a:pt x="1950410" y="1786072"/>
                  <a:pt x="2038350" y="1790700"/>
                </a:cubicBezTo>
                <a:cubicBezTo>
                  <a:pt x="1914130" y="2039141"/>
                  <a:pt x="2065645" y="1727012"/>
                  <a:pt x="1952625" y="1990725"/>
                </a:cubicBezTo>
                <a:cubicBezTo>
                  <a:pt x="1938642" y="2023352"/>
                  <a:pt x="1918183" y="2053016"/>
                  <a:pt x="1905000" y="2085975"/>
                </a:cubicBezTo>
                <a:cubicBezTo>
                  <a:pt x="1829147" y="2275608"/>
                  <a:pt x="1923700" y="2098493"/>
                  <a:pt x="1838325" y="2247900"/>
                </a:cubicBezTo>
                <a:cubicBezTo>
                  <a:pt x="1847850" y="2263775"/>
                  <a:pt x="1848387" y="2295525"/>
                  <a:pt x="1866900" y="2295525"/>
                </a:cubicBezTo>
                <a:cubicBezTo>
                  <a:pt x="1902398" y="2295525"/>
                  <a:pt x="1930606" y="2264181"/>
                  <a:pt x="1962150" y="2247900"/>
                </a:cubicBezTo>
                <a:lnTo>
                  <a:pt x="2162175" y="2143125"/>
                </a:lnTo>
                <a:cubicBezTo>
                  <a:pt x="2332427" y="2051451"/>
                  <a:pt x="2587480" y="1916252"/>
                  <a:pt x="2743200" y="1800225"/>
                </a:cubicBezTo>
                <a:cubicBezTo>
                  <a:pt x="2923931" y="1665563"/>
                  <a:pt x="2909397" y="1673375"/>
                  <a:pt x="2990850" y="1543050"/>
                </a:cubicBezTo>
                <a:cubicBezTo>
                  <a:pt x="2971800" y="1504950"/>
                  <a:pt x="2966963" y="1455360"/>
                  <a:pt x="2933700" y="1428750"/>
                </a:cubicBezTo>
                <a:cubicBezTo>
                  <a:pt x="2809243" y="1329184"/>
                  <a:pt x="2584248" y="1276991"/>
                  <a:pt x="2438400" y="1238250"/>
                </a:cubicBezTo>
                <a:cubicBezTo>
                  <a:pt x="2324531" y="1208004"/>
                  <a:pt x="2211386" y="1173771"/>
                  <a:pt x="2095500" y="1152525"/>
                </a:cubicBezTo>
                <a:cubicBezTo>
                  <a:pt x="2020289" y="1138736"/>
                  <a:pt x="1942935" y="1141564"/>
                  <a:pt x="1866900" y="1133475"/>
                </a:cubicBezTo>
                <a:cubicBezTo>
                  <a:pt x="1793670" y="1125685"/>
                  <a:pt x="1720850" y="1114425"/>
                  <a:pt x="1647825" y="1104900"/>
                </a:cubicBezTo>
                <a:cubicBezTo>
                  <a:pt x="1557699" y="1123676"/>
                  <a:pt x="1426483" y="1100363"/>
                  <a:pt x="1381125" y="1200150"/>
                </a:cubicBezTo>
                <a:cubicBezTo>
                  <a:pt x="1373133" y="1217732"/>
                  <a:pt x="1374775" y="1238250"/>
                  <a:pt x="1371600" y="1257300"/>
                </a:cubicBezTo>
                <a:cubicBezTo>
                  <a:pt x="1377950" y="1292225"/>
                  <a:pt x="1376875" y="1329359"/>
                  <a:pt x="1390650" y="1362075"/>
                </a:cubicBezTo>
                <a:cubicBezTo>
                  <a:pt x="1426338" y="1446834"/>
                  <a:pt x="1504369" y="1474761"/>
                  <a:pt x="1581150" y="1514475"/>
                </a:cubicBezTo>
                <a:cubicBezTo>
                  <a:pt x="1627831" y="1538620"/>
                  <a:pt x="1673649" y="1566173"/>
                  <a:pt x="1724025" y="1581150"/>
                </a:cubicBezTo>
                <a:cubicBezTo>
                  <a:pt x="1829409" y="1612480"/>
                  <a:pt x="2262299" y="1661394"/>
                  <a:pt x="2305050" y="1666875"/>
                </a:cubicBezTo>
                <a:cubicBezTo>
                  <a:pt x="2755134" y="1791036"/>
                  <a:pt x="2414546" y="1685543"/>
                  <a:pt x="2886075" y="1866900"/>
                </a:cubicBezTo>
                <a:cubicBezTo>
                  <a:pt x="3025692" y="1920599"/>
                  <a:pt x="2879160" y="1843899"/>
                  <a:pt x="3019425" y="1924050"/>
                </a:cubicBezTo>
                <a:cubicBezTo>
                  <a:pt x="3025775" y="1933575"/>
                  <a:pt x="3044034" y="1942618"/>
                  <a:pt x="3038475" y="1952625"/>
                </a:cubicBezTo>
                <a:cubicBezTo>
                  <a:pt x="3021662" y="1982889"/>
                  <a:pt x="2863771" y="2082213"/>
                  <a:pt x="2857500" y="2085975"/>
                </a:cubicBezTo>
                <a:cubicBezTo>
                  <a:pt x="2779186" y="2132964"/>
                  <a:pt x="2704879" y="2169183"/>
                  <a:pt x="2619375" y="2200275"/>
                </a:cubicBezTo>
                <a:cubicBezTo>
                  <a:pt x="2588223" y="2211603"/>
                  <a:pt x="2556562" y="2222021"/>
                  <a:pt x="2524125" y="2228850"/>
                </a:cubicBezTo>
                <a:cubicBezTo>
                  <a:pt x="2495991" y="2234773"/>
                  <a:pt x="2466975" y="2235200"/>
                  <a:pt x="2438400" y="2238375"/>
                </a:cubicBezTo>
                <a:cubicBezTo>
                  <a:pt x="2422525" y="2235200"/>
                  <a:pt x="2400297" y="2241943"/>
                  <a:pt x="2390775" y="2228850"/>
                </a:cubicBezTo>
                <a:cubicBezTo>
                  <a:pt x="2346504" y="2167978"/>
                  <a:pt x="2320925" y="2095500"/>
                  <a:pt x="2286000" y="2028825"/>
                </a:cubicBezTo>
                <a:cubicBezTo>
                  <a:pt x="2251075" y="1962150"/>
                  <a:pt x="2221635" y="1892301"/>
                  <a:pt x="2181225" y="1828800"/>
                </a:cubicBezTo>
                <a:cubicBezTo>
                  <a:pt x="2136775" y="1758950"/>
                  <a:pt x="2097042" y="1685864"/>
                  <a:pt x="2047875" y="1619250"/>
                </a:cubicBezTo>
                <a:cubicBezTo>
                  <a:pt x="1998383" y="1552197"/>
                  <a:pt x="1945357" y="1487199"/>
                  <a:pt x="1885950" y="1428750"/>
                </a:cubicBezTo>
                <a:cubicBezTo>
                  <a:pt x="1748171" y="1293193"/>
                  <a:pt x="1618147" y="1145440"/>
                  <a:pt x="1457325" y="1038225"/>
                </a:cubicBezTo>
                <a:cubicBezTo>
                  <a:pt x="1438275" y="1025525"/>
                  <a:pt x="1420054" y="1011484"/>
                  <a:pt x="1400175" y="1000125"/>
                </a:cubicBezTo>
                <a:cubicBezTo>
                  <a:pt x="1375519" y="986036"/>
                  <a:pt x="1349375" y="974725"/>
                  <a:pt x="1323975" y="962025"/>
                </a:cubicBezTo>
                <a:cubicBezTo>
                  <a:pt x="1343025" y="955675"/>
                  <a:pt x="1361434" y="946913"/>
                  <a:pt x="1381125" y="942975"/>
                </a:cubicBezTo>
                <a:cubicBezTo>
                  <a:pt x="1486220" y="921956"/>
                  <a:pt x="1445658" y="934164"/>
                  <a:pt x="1504950" y="914400"/>
                </a:cubicBezTo>
                <a:cubicBezTo>
                  <a:pt x="1492250" y="885825"/>
                  <a:pt x="1487330" y="852305"/>
                  <a:pt x="1466850" y="828675"/>
                </a:cubicBezTo>
                <a:cubicBezTo>
                  <a:pt x="1444358" y="802722"/>
                  <a:pt x="1411842" y="786884"/>
                  <a:pt x="1381125" y="771525"/>
                </a:cubicBezTo>
                <a:cubicBezTo>
                  <a:pt x="1262251" y="712088"/>
                  <a:pt x="1139588" y="685649"/>
                  <a:pt x="1009650" y="657225"/>
                </a:cubicBezTo>
                <a:cubicBezTo>
                  <a:pt x="984644" y="651755"/>
                  <a:pt x="958850" y="650875"/>
                  <a:pt x="933450" y="647700"/>
                </a:cubicBezTo>
                <a:cubicBezTo>
                  <a:pt x="786891" y="667685"/>
                  <a:pt x="746604" y="630128"/>
                  <a:pt x="676275" y="723900"/>
                </a:cubicBezTo>
                <a:cubicBezTo>
                  <a:pt x="660916" y="744378"/>
                  <a:pt x="650875" y="768350"/>
                  <a:pt x="638175" y="790575"/>
                </a:cubicBezTo>
                <a:cubicBezTo>
                  <a:pt x="636119" y="811134"/>
                  <a:pt x="617310" y="922507"/>
                  <a:pt x="638175" y="952500"/>
                </a:cubicBezTo>
                <a:cubicBezTo>
                  <a:pt x="718938" y="1068597"/>
                  <a:pt x="863482" y="1182497"/>
                  <a:pt x="990600" y="1238250"/>
                </a:cubicBezTo>
                <a:cubicBezTo>
                  <a:pt x="1097275" y="1285037"/>
                  <a:pt x="1211778" y="1311714"/>
                  <a:pt x="1323975" y="1343025"/>
                </a:cubicBezTo>
                <a:cubicBezTo>
                  <a:pt x="1484928" y="1387942"/>
                  <a:pt x="1646134" y="1432892"/>
                  <a:pt x="1809750" y="1466850"/>
                </a:cubicBezTo>
                <a:cubicBezTo>
                  <a:pt x="1983005" y="1502809"/>
                  <a:pt x="2160383" y="1516554"/>
                  <a:pt x="2333625" y="1552575"/>
                </a:cubicBezTo>
                <a:cubicBezTo>
                  <a:pt x="2586983" y="1605253"/>
                  <a:pt x="2783149" y="1657942"/>
                  <a:pt x="3009900" y="1762125"/>
                </a:cubicBezTo>
                <a:cubicBezTo>
                  <a:pt x="3049980" y="1780540"/>
                  <a:pt x="3086100" y="1806575"/>
                  <a:pt x="3124200" y="1828800"/>
                </a:cubicBezTo>
                <a:cubicBezTo>
                  <a:pt x="3127375" y="1844675"/>
                  <a:pt x="3140965" y="1861945"/>
                  <a:pt x="3133725" y="1876425"/>
                </a:cubicBezTo>
                <a:cubicBezTo>
                  <a:pt x="3078925" y="1986025"/>
                  <a:pt x="3039617" y="1996298"/>
                  <a:pt x="2981325" y="2076450"/>
                </a:cubicBezTo>
                <a:cubicBezTo>
                  <a:pt x="2942510" y="2129821"/>
                  <a:pt x="2905396" y="2232312"/>
                  <a:pt x="2886075" y="2276475"/>
                </a:cubicBezTo>
                <a:cubicBezTo>
                  <a:pt x="2892425" y="2339975"/>
                  <a:pt x="2880827" y="2407965"/>
                  <a:pt x="2905125" y="2466975"/>
                </a:cubicBezTo>
                <a:cubicBezTo>
                  <a:pt x="2927416" y="2521109"/>
                  <a:pt x="2972590" y="2565199"/>
                  <a:pt x="3019425" y="2600325"/>
                </a:cubicBezTo>
                <a:cubicBezTo>
                  <a:pt x="3057525" y="2628900"/>
                  <a:pt x="3093339" y="2660809"/>
                  <a:pt x="3133725" y="2686050"/>
                </a:cubicBezTo>
                <a:cubicBezTo>
                  <a:pt x="3169847" y="2708626"/>
                  <a:pt x="3210701" y="2722672"/>
                  <a:pt x="3248025" y="2743200"/>
                </a:cubicBezTo>
                <a:cubicBezTo>
                  <a:pt x="3274270" y="2757635"/>
                  <a:pt x="3298825" y="2774950"/>
                  <a:pt x="3324225" y="2790825"/>
                </a:cubicBezTo>
                <a:cubicBezTo>
                  <a:pt x="3327400" y="2800350"/>
                  <a:pt x="3329795" y="2810172"/>
                  <a:pt x="3333750" y="2819400"/>
                </a:cubicBezTo>
                <a:cubicBezTo>
                  <a:pt x="3372683" y="2910244"/>
                  <a:pt x="3376721" y="2878877"/>
                  <a:pt x="3533775" y="2800350"/>
                </a:cubicBezTo>
                <a:cubicBezTo>
                  <a:pt x="3819763" y="2657356"/>
                  <a:pt x="3743028" y="2678562"/>
                  <a:pt x="3914775" y="2533650"/>
                </a:cubicBezTo>
                <a:cubicBezTo>
                  <a:pt x="3980339" y="2478331"/>
                  <a:pt x="4054142" y="2432383"/>
                  <a:pt x="4114800" y="2371725"/>
                </a:cubicBezTo>
                <a:cubicBezTo>
                  <a:pt x="4169147" y="2317378"/>
                  <a:pt x="4210050" y="2251075"/>
                  <a:pt x="4257675" y="2190750"/>
                </a:cubicBezTo>
                <a:cubicBezTo>
                  <a:pt x="4297388" y="2063668"/>
                  <a:pt x="4357177" y="1970306"/>
                  <a:pt x="4248150" y="1838325"/>
                </a:cubicBezTo>
                <a:cubicBezTo>
                  <a:pt x="4221553" y="1806129"/>
                  <a:pt x="4165600" y="1825625"/>
                  <a:pt x="4124325" y="1819275"/>
                </a:cubicBezTo>
                <a:cubicBezTo>
                  <a:pt x="4079875" y="1822450"/>
                  <a:pt x="4031697" y="1810701"/>
                  <a:pt x="3990975" y="1828800"/>
                </a:cubicBezTo>
                <a:cubicBezTo>
                  <a:pt x="3952333" y="1845974"/>
                  <a:pt x="3938260" y="1968549"/>
                  <a:pt x="3933825" y="1990725"/>
                </a:cubicBezTo>
                <a:cubicBezTo>
                  <a:pt x="3959225" y="2073275"/>
                  <a:pt x="3969711" y="2161991"/>
                  <a:pt x="4010025" y="2238375"/>
                </a:cubicBezTo>
                <a:cubicBezTo>
                  <a:pt x="4051108" y="2316216"/>
                  <a:pt x="4222808" y="2394268"/>
                  <a:pt x="4286250" y="2419350"/>
                </a:cubicBezTo>
                <a:cubicBezTo>
                  <a:pt x="4580206" y="2535565"/>
                  <a:pt x="4579055" y="2497980"/>
                  <a:pt x="4953000" y="2514600"/>
                </a:cubicBezTo>
                <a:lnTo>
                  <a:pt x="6372225" y="2447925"/>
                </a:lnTo>
                <a:cubicBezTo>
                  <a:pt x="6411422" y="2445490"/>
                  <a:pt x="6449101" y="2431258"/>
                  <a:pt x="6486525" y="2419350"/>
                </a:cubicBezTo>
                <a:cubicBezTo>
                  <a:pt x="6575674" y="2390984"/>
                  <a:pt x="6564093" y="2394511"/>
                  <a:pt x="6619875" y="2352675"/>
                </a:cubicBezTo>
                <a:cubicBezTo>
                  <a:pt x="6582444" y="2296529"/>
                  <a:pt x="6580144" y="2310250"/>
                  <a:pt x="6648450" y="2209800"/>
                </a:cubicBezTo>
                <a:cubicBezTo>
                  <a:pt x="6680036" y="2163350"/>
                  <a:pt x="6726194" y="2128624"/>
                  <a:pt x="6762750" y="2085975"/>
                </a:cubicBezTo>
                <a:cubicBezTo>
                  <a:pt x="6824171" y="2014317"/>
                  <a:pt x="6815189" y="2020767"/>
                  <a:pt x="6848475" y="1943100"/>
                </a:cubicBezTo>
                <a:cubicBezTo>
                  <a:pt x="6832600" y="1898650"/>
                  <a:pt x="6828849" y="1847748"/>
                  <a:pt x="6800850" y="1809750"/>
                </a:cubicBezTo>
                <a:cubicBezTo>
                  <a:pt x="6781459" y="1783434"/>
                  <a:pt x="6746415" y="1771585"/>
                  <a:pt x="6715125" y="1762125"/>
                </a:cubicBezTo>
                <a:cubicBezTo>
                  <a:pt x="6401088" y="1667183"/>
                  <a:pt x="6383397" y="1685475"/>
                  <a:pt x="6057900" y="1666875"/>
                </a:cubicBezTo>
                <a:cubicBezTo>
                  <a:pt x="5848350" y="1685925"/>
                  <a:pt x="5637602" y="1694642"/>
                  <a:pt x="5429250" y="1724025"/>
                </a:cubicBezTo>
                <a:cubicBezTo>
                  <a:pt x="5388379" y="1729789"/>
                  <a:pt x="5349293" y="1748755"/>
                  <a:pt x="5314950" y="1771650"/>
                </a:cubicBezTo>
                <a:cubicBezTo>
                  <a:pt x="5258658" y="1809178"/>
                  <a:pt x="5241010" y="1839697"/>
                  <a:pt x="5210175" y="1885950"/>
                </a:cubicBezTo>
                <a:cubicBezTo>
                  <a:pt x="5205284" y="2057135"/>
                  <a:pt x="5240212" y="2176510"/>
                  <a:pt x="5162550" y="2314575"/>
                </a:cubicBezTo>
                <a:cubicBezTo>
                  <a:pt x="5150393" y="2336188"/>
                  <a:pt x="5133855" y="2355707"/>
                  <a:pt x="5114925" y="2371725"/>
                </a:cubicBezTo>
                <a:cubicBezTo>
                  <a:pt x="5092059" y="2391073"/>
                  <a:pt x="5066875" y="2409114"/>
                  <a:pt x="5038725" y="2419350"/>
                </a:cubicBezTo>
                <a:cubicBezTo>
                  <a:pt x="4996003" y="2434885"/>
                  <a:pt x="4949825" y="2438400"/>
                  <a:pt x="4905375" y="2447925"/>
                </a:cubicBezTo>
                <a:cubicBezTo>
                  <a:pt x="4819650" y="2444750"/>
                  <a:pt x="4731223" y="2459986"/>
                  <a:pt x="4648200" y="2438400"/>
                </a:cubicBezTo>
                <a:cubicBezTo>
                  <a:pt x="4568484" y="2417674"/>
                  <a:pt x="4498826" y="2367986"/>
                  <a:pt x="4429125" y="2324100"/>
                </a:cubicBezTo>
                <a:cubicBezTo>
                  <a:pt x="4411921" y="2313268"/>
                  <a:pt x="4402302" y="2293391"/>
                  <a:pt x="4391025" y="2276475"/>
                </a:cubicBezTo>
                <a:cubicBezTo>
                  <a:pt x="4364142" y="2236150"/>
                  <a:pt x="4340225" y="2193925"/>
                  <a:pt x="4314825" y="2152650"/>
                </a:cubicBezTo>
                <a:cubicBezTo>
                  <a:pt x="4302500" y="2054048"/>
                  <a:pt x="4277479" y="1927718"/>
                  <a:pt x="4305300" y="1828800"/>
                </a:cubicBezTo>
                <a:cubicBezTo>
                  <a:pt x="4319161" y="1779517"/>
                  <a:pt x="4353903" y="1738570"/>
                  <a:pt x="4381500" y="1695450"/>
                </a:cubicBezTo>
                <a:cubicBezTo>
                  <a:pt x="4404779" y="1659077"/>
                  <a:pt x="4426428" y="1620458"/>
                  <a:pt x="4457700" y="1590675"/>
                </a:cubicBezTo>
                <a:cubicBezTo>
                  <a:pt x="4494314" y="1555804"/>
                  <a:pt x="4654754" y="1456345"/>
                  <a:pt x="4705350" y="1438275"/>
                </a:cubicBezTo>
                <a:cubicBezTo>
                  <a:pt x="4751089" y="1421940"/>
                  <a:pt x="4800600" y="1419225"/>
                  <a:pt x="4848225" y="1409700"/>
                </a:cubicBezTo>
                <a:cubicBezTo>
                  <a:pt x="5220898" y="1536954"/>
                  <a:pt x="5200038" y="1479079"/>
                  <a:pt x="5448300" y="1714500"/>
                </a:cubicBezTo>
                <a:cubicBezTo>
                  <a:pt x="5567233" y="1827282"/>
                  <a:pt x="5676432" y="1949907"/>
                  <a:pt x="5791200" y="2066925"/>
                </a:cubicBezTo>
                <a:cubicBezTo>
                  <a:pt x="5864158" y="2141313"/>
                  <a:pt x="5959641" y="2242936"/>
                  <a:pt x="6048375" y="2305050"/>
                </a:cubicBezTo>
                <a:cubicBezTo>
                  <a:pt x="6071640" y="2321335"/>
                  <a:pt x="6097112" y="2335923"/>
                  <a:pt x="6124575" y="2343150"/>
                </a:cubicBezTo>
                <a:cubicBezTo>
                  <a:pt x="6158489" y="2352075"/>
                  <a:pt x="6194425" y="2349500"/>
                  <a:pt x="6229350" y="2352675"/>
                </a:cubicBezTo>
                <a:cubicBezTo>
                  <a:pt x="6299200" y="2346325"/>
                  <a:pt x="6371396" y="2352665"/>
                  <a:pt x="6438900" y="2333625"/>
                </a:cubicBezTo>
                <a:cubicBezTo>
                  <a:pt x="6748778" y="2246223"/>
                  <a:pt x="6453256" y="2208190"/>
                  <a:pt x="6848475" y="2076450"/>
                </a:cubicBezTo>
                <a:lnTo>
                  <a:pt x="6877050" y="2066925"/>
                </a:lnTo>
                <a:cubicBezTo>
                  <a:pt x="6885720" y="2405052"/>
                  <a:pt x="6793825" y="2375114"/>
                  <a:pt x="6962775" y="2505075"/>
                </a:cubicBezTo>
                <a:cubicBezTo>
                  <a:pt x="6977449" y="2516363"/>
                  <a:pt x="6994525" y="2524125"/>
                  <a:pt x="7010400" y="2533650"/>
                </a:cubicBezTo>
                <a:cubicBezTo>
                  <a:pt x="7067550" y="2527300"/>
                  <a:pt x="7129641" y="2538697"/>
                  <a:pt x="7181850" y="2514600"/>
                </a:cubicBezTo>
                <a:cubicBezTo>
                  <a:pt x="7218767" y="2497561"/>
                  <a:pt x="7258050" y="2419350"/>
                  <a:pt x="7258050" y="2419350"/>
                </a:cubicBezTo>
                <a:cubicBezTo>
                  <a:pt x="7254875" y="2349500"/>
                  <a:pt x="7260020" y="2278771"/>
                  <a:pt x="7248525" y="2209800"/>
                </a:cubicBezTo>
                <a:cubicBezTo>
                  <a:pt x="7243856" y="2181788"/>
                  <a:pt x="7222325" y="2159384"/>
                  <a:pt x="7210425" y="2133600"/>
                </a:cubicBezTo>
                <a:cubicBezTo>
                  <a:pt x="7196758" y="2103987"/>
                  <a:pt x="7191431" y="2086144"/>
                  <a:pt x="7181850" y="2057400"/>
                </a:cubicBezTo>
                <a:cubicBezTo>
                  <a:pt x="7197725" y="2044700"/>
                  <a:pt x="7209212" y="2020943"/>
                  <a:pt x="7229475" y="2019300"/>
                </a:cubicBezTo>
                <a:cubicBezTo>
                  <a:pt x="7445054" y="2001821"/>
                  <a:pt x="7478448" y="1996149"/>
                  <a:pt x="7620000" y="2066925"/>
                </a:cubicBezTo>
                <a:cubicBezTo>
                  <a:pt x="7630239" y="2072045"/>
                  <a:pt x="7639050" y="2079625"/>
                  <a:pt x="7648575" y="2085975"/>
                </a:cubicBezTo>
                <a:cubicBezTo>
                  <a:pt x="7671885" y="2039356"/>
                  <a:pt x="7667625" y="2062074"/>
                  <a:pt x="7667625" y="2019300"/>
                </a:cubicBezTo>
              </a:path>
            </a:pathLst>
          </a:cu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GB" dirty="0">
              <a:solidFill>
                <a:prstClr val="white"/>
              </a:solidFill>
            </a:endParaRPr>
          </a:p>
        </p:txBody>
      </p:sp>
      <p:sp>
        <p:nvSpPr>
          <p:cNvPr id="32" name="Rectangle 31">
            <a:extLst>
              <a:ext uri="{FF2B5EF4-FFF2-40B4-BE49-F238E27FC236}">
                <a16:creationId xmlns:a16="http://schemas.microsoft.com/office/drawing/2014/main" id="{C26D0957-42C1-49E4-99D5-4620D3D7E482}"/>
              </a:ext>
            </a:extLst>
          </p:cNvPr>
          <p:cNvSpPr/>
          <p:nvPr/>
        </p:nvSpPr>
        <p:spPr>
          <a:xfrm>
            <a:off x="3516705" y="5085600"/>
            <a:ext cx="1805492" cy="1631216"/>
          </a:xfrm>
          <a:prstGeom prst="rect">
            <a:avLst/>
          </a:prstGeom>
        </p:spPr>
        <p:txBody>
          <a:bodyPr wrap="square">
            <a:spAutoFit/>
          </a:bodyPr>
          <a:lstStyle/>
          <a:p>
            <a:pPr algn="ctr" fontAlgn="auto">
              <a:spcBef>
                <a:spcPts val="0"/>
              </a:spcBef>
              <a:spcAft>
                <a:spcPts val="0"/>
              </a:spcAft>
            </a:pPr>
            <a:r>
              <a:rPr lang="fr-FR" sz="2000" dirty="0">
                <a:solidFill>
                  <a:prstClr val="black"/>
                </a:solidFill>
              </a:rPr>
              <a:t>Environnement marqué par l’insécurité </a:t>
            </a:r>
          </a:p>
        </p:txBody>
      </p:sp>
      <p:sp>
        <p:nvSpPr>
          <p:cNvPr id="34" name="Content Placeholder 2">
            <a:extLst>
              <a:ext uri="{FF2B5EF4-FFF2-40B4-BE49-F238E27FC236}">
                <a16:creationId xmlns:a16="http://schemas.microsoft.com/office/drawing/2014/main" id="{A0DA2CCA-D46F-41BC-A2EE-8B3C066991FE}"/>
              </a:ext>
            </a:extLst>
          </p:cNvPr>
          <p:cNvSpPr>
            <a:spLocks noGrp="1"/>
          </p:cNvSpPr>
          <p:nvPr>
            <p:ph idx="1"/>
          </p:nvPr>
        </p:nvSpPr>
        <p:spPr>
          <a:xfrm>
            <a:off x="2722503" y="261023"/>
            <a:ext cx="9353876" cy="569232"/>
          </a:xfrm>
        </p:spPr>
        <p:txBody>
          <a:bodyPr>
            <a:normAutofit fontScale="70000" lnSpcReduction="20000"/>
          </a:bodyPr>
          <a:lstStyle/>
          <a:p>
            <a:pPr marL="0" indent="0">
              <a:buNone/>
            </a:pPr>
            <a:r>
              <a:rPr lang="fr-FR" u="sng" dirty="0"/>
              <a:t>Éléments susceptibles d’empêcher une victime / personne survivante d’accéder aux soins</a:t>
            </a:r>
          </a:p>
        </p:txBody>
      </p:sp>
      <p:sp>
        <p:nvSpPr>
          <p:cNvPr id="35" name="TextBox 34">
            <a:extLst>
              <a:ext uri="{FF2B5EF4-FFF2-40B4-BE49-F238E27FC236}">
                <a16:creationId xmlns:a16="http://schemas.microsoft.com/office/drawing/2014/main" id="{A30A984D-B8E8-4B3F-94A3-18E877967F36}"/>
              </a:ext>
            </a:extLst>
          </p:cNvPr>
          <p:cNvSpPr txBox="1"/>
          <p:nvPr/>
        </p:nvSpPr>
        <p:spPr>
          <a:xfrm>
            <a:off x="2185321" y="-72555"/>
            <a:ext cx="896399" cy="1015663"/>
          </a:xfrm>
          <a:prstGeom prst="rect">
            <a:avLst/>
          </a:prstGeom>
          <a:noFill/>
        </p:spPr>
        <p:txBody>
          <a:bodyPr wrap="none" rtlCol="0">
            <a:spAutoFit/>
          </a:bodyPr>
          <a:lstStyle/>
          <a:p>
            <a:r>
              <a:rPr lang="fr-FR" sz="6000" b="1" dirty="0">
                <a:solidFill>
                  <a:srgbClr val="FF0000"/>
                </a:solidFill>
              </a:rPr>
              <a:t>??</a:t>
            </a:r>
          </a:p>
        </p:txBody>
      </p:sp>
    </p:spTree>
    <p:extLst>
      <p:ext uri="{BB962C8B-B14F-4D97-AF65-F5344CB8AC3E}">
        <p14:creationId xmlns:p14="http://schemas.microsoft.com/office/powerpoint/2010/main" val="23036382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4"/>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4" grpId="0"/>
      <p:bldP spid="25" grpId="0"/>
      <p:bldP spid="27" grpId="0"/>
      <p:bldP spid="28" grpId="0"/>
      <p:bldP spid="30" grpId="0"/>
      <p:bldP spid="32"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80185FA-43FB-154C-9D3C-EAB6CA2AB83D}"/>
              </a:ext>
            </a:extLst>
          </p:cNvPr>
          <p:cNvSpPr>
            <a:spLocks noGrp="1"/>
          </p:cNvSpPr>
          <p:nvPr>
            <p:ph type="title"/>
          </p:nvPr>
        </p:nvSpPr>
        <p:spPr/>
        <p:txBody>
          <a:bodyPr/>
          <a:lstStyle/>
          <a:p>
            <a:r>
              <a:rPr lang="fr-FR" dirty="0"/>
              <a:t>Objectifs</a:t>
            </a:r>
          </a:p>
        </p:txBody>
      </p:sp>
      <p:sp>
        <p:nvSpPr>
          <p:cNvPr id="3" name="Content Placeholder 2">
            <a:extLst>
              <a:ext uri="{FF2B5EF4-FFF2-40B4-BE49-F238E27FC236}">
                <a16:creationId xmlns:a16="http://schemas.microsoft.com/office/drawing/2014/main" id="{CFAA7AC0-E2A2-124D-B5FF-833AB412900C}"/>
              </a:ext>
            </a:extLst>
          </p:cNvPr>
          <p:cNvSpPr>
            <a:spLocks noGrp="1"/>
          </p:cNvSpPr>
          <p:nvPr>
            <p:ph idx="13"/>
          </p:nvPr>
        </p:nvSpPr>
        <p:spPr>
          <a:xfrm>
            <a:off x="772293" y="2261879"/>
            <a:ext cx="10647413" cy="3929281"/>
          </a:xfrm>
        </p:spPr>
        <p:txBody>
          <a:bodyPr>
            <a:spAutoFit/>
          </a:bodyPr>
          <a:lstStyle/>
          <a:p>
            <a:pPr marL="542952" indent="0">
              <a:buNone/>
            </a:pPr>
            <a:r>
              <a:rPr lang="fr-FR" sz="2400" dirty="0"/>
              <a:t>Être capable :</a:t>
            </a:r>
          </a:p>
          <a:p>
            <a:r>
              <a:rPr lang="fr-FR" sz="2400" b="0" dirty="0"/>
              <a:t>d’expliquer la nature de la violence sexuelle en situation de crise aigüe et/ou prolongée</a:t>
            </a:r>
          </a:p>
          <a:p>
            <a:r>
              <a:rPr lang="fr-FR" sz="2400" b="0" dirty="0"/>
              <a:t>d’expliquer les conséquences de la violence sexuelle, les besoins des victimes de violence sexuelle et les difficultés rencontrées pour y répondre</a:t>
            </a:r>
          </a:p>
          <a:p>
            <a:r>
              <a:rPr lang="fr-FR" sz="2400" b="0" dirty="0"/>
              <a:t>d’examiner comment contribuer à une approche globale de prévention de la violence sexuelle et de prise en charge des victimes dans une situation de crise aiguë et/ou prolongée</a:t>
            </a:r>
          </a:p>
          <a:p>
            <a:r>
              <a:rPr lang="fr-FR" sz="2400" b="0" dirty="0"/>
              <a:t>De comprendre l’importance de l’orientation et </a:t>
            </a:r>
            <a:r>
              <a:rPr lang="fr-FR" sz="2400" u="sng" dirty="0"/>
              <a:t>l’approche centrée sur les personnes survivantes</a:t>
            </a:r>
            <a:r>
              <a:rPr lang="fr-FR" sz="2400" b="0" dirty="0"/>
              <a:t> pour traiter la violence sexuelle</a:t>
            </a:r>
            <a:endParaRPr lang="en-US" sz="2400" dirty="0"/>
          </a:p>
        </p:txBody>
      </p:sp>
    </p:spTree>
    <p:extLst>
      <p:ext uri="{BB962C8B-B14F-4D97-AF65-F5344CB8AC3E}">
        <p14:creationId xmlns:p14="http://schemas.microsoft.com/office/powerpoint/2010/main" val="70371865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p:cNvPicPr>
            <a:picLocks noChangeAspect="1"/>
          </p:cNvPicPr>
          <p:nvPr/>
        </p:nvPicPr>
        <p:blipFill>
          <a:blip r:embed="rId3" cstate="print">
            <a:biLevel thresh="75000"/>
            <a:extLst>
              <a:ext uri="{28A0092B-C50C-407E-A947-70E740481C1C}">
                <a14:useLocalDpi xmlns:a14="http://schemas.microsoft.com/office/drawing/2010/main" val="0"/>
              </a:ext>
            </a:extLst>
          </a:blip>
          <a:stretch>
            <a:fillRect/>
          </a:stretch>
        </p:blipFill>
        <p:spPr>
          <a:xfrm>
            <a:off x="8437595" y="1973620"/>
            <a:ext cx="2408336" cy="1873150"/>
          </a:xfrm>
          <a:prstGeom prst="rect">
            <a:avLst/>
          </a:prstGeom>
        </p:spPr>
      </p:pic>
      <p:grpSp>
        <p:nvGrpSpPr>
          <p:cNvPr id="15" name="Group 14"/>
          <p:cNvGrpSpPr/>
          <p:nvPr/>
        </p:nvGrpSpPr>
        <p:grpSpPr>
          <a:xfrm>
            <a:off x="5363246" y="2675645"/>
            <a:ext cx="1010012" cy="1999946"/>
            <a:chOff x="2985738" y="1413935"/>
            <a:chExt cx="2983261" cy="5233392"/>
          </a:xfrm>
          <a:solidFill>
            <a:schemeClr val="accent6">
              <a:lumMod val="60000"/>
              <a:lumOff val="40000"/>
            </a:schemeClr>
          </a:solidFill>
        </p:grpSpPr>
        <p:sp>
          <p:nvSpPr>
            <p:cNvPr id="16" name="Freeform 15"/>
            <p:cNvSpPr/>
            <p:nvPr/>
          </p:nvSpPr>
          <p:spPr>
            <a:xfrm>
              <a:off x="3496733" y="2556189"/>
              <a:ext cx="2257170" cy="2882584"/>
            </a:xfrm>
            <a:custGeom>
              <a:avLst/>
              <a:gdLst>
                <a:gd name="connsiteX0" fmla="*/ 347134 w 2257170"/>
                <a:gd name="connsiteY0" fmla="*/ 51544 h 2882584"/>
                <a:gd name="connsiteX1" fmla="*/ 347134 w 2257170"/>
                <a:gd name="connsiteY1" fmla="*/ 51544 h 2882584"/>
                <a:gd name="connsiteX2" fmla="*/ 287867 w 2257170"/>
                <a:gd name="connsiteY2" fmla="*/ 102344 h 2882584"/>
                <a:gd name="connsiteX3" fmla="*/ 254000 w 2257170"/>
                <a:gd name="connsiteY3" fmla="*/ 161611 h 2882584"/>
                <a:gd name="connsiteX4" fmla="*/ 228600 w 2257170"/>
                <a:gd name="connsiteY4" fmla="*/ 195478 h 2882584"/>
                <a:gd name="connsiteX5" fmla="*/ 194734 w 2257170"/>
                <a:gd name="connsiteY5" fmla="*/ 237811 h 2882584"/>
                <a:gd name="connsiteX6" fmla="*/ 169334 w 2257170"/>
                <a:gd name="connsiteY6" fmla="*/ 280144 h 2882584"/>
                <a:gd name="connsiteX7" fmla="*/ 152400 w 2257170"/>
                <a:gd name="connsiteY7" fmla="*/ 339411 h 2882584"/>
                <a:gd name="connsiteX8" fmla="*/ 143934 w 2257170"/>
                <a:gd name="connsiteY8" fmla="*/ 364811 h 2882584"/>
                <a:gd name="connsiteX9" fmla="*/ 127000 w 2257170"/>
                <a:gd name="connsiteY9" fmla="*/ 398678 h 2882584"/>
                <a:gd name="connsiteX10" fmla="*/ 93134 w 2257170"/>
                <a:gd name="connsiteY10" fmla="*/ 500278 h 2882584"/>
                <a:gd name="connsiteX11" fmla="*/ 84667 w 2257170"/>
                <a:gd name="connsiteY11" fmla="*/ 618811 h 2882584"/>
                <a:gd name="connsiteX12" fmla="*/ 67734 w 2257170"/>
                <a:gd name="connsiteY12" fmla="*/ 703478 h 2882584"/>
                <a:gd name="connsiteX13" fmla="*/ 50800 w 2257170"/>
                <a:gd name="connsiteY13" fmla="*/ 788144 h 2882584"/>
                <a:gd name="connsiteX14" fmla="*/ 42334 w 2257170"/>
                <a:gd name="connsiteY14" fmla="*/ 906678 h 2882584"/>
                <a:gd name="connsiteX15" fmla="*/ 33867 w 2257170"/>
                <a:gd name="connsiteY15" fmla="*/ 932078 h 2882584"/>
                <a:gd name="connsiteX16" fmla="*/ 16934 w 2257170"/>
                <a:gd name="connsiteY16" fmla="*/ 1084478 h 2882584"/>
                <a:gd name="connsiteX17" fmla="*/ 8467 w 2257170"/>
                <a:gd name="connsiteY17" fmla="*/ 1219944 h 2882584"/>
                <a:gd name="connsiteX18" fmla="*/ 0 w 2257170"/>
                <a:gd name="connsiteY18" fmla="*/ 1313078 h 2882584"/>
                <a:gd name="connsiteX19" fmla="*/ 8467 w 2257170"/>
                <a:gd name="connsiteY19" fmla="*/ 2066611 h 2882584"/>
                <a:gd name="connsiteX20" fmla="*/ 16934 w 2257170"/>
                <a:gd name="connsiteY20" fmla="*/ 2379878 h 2882584"/>
                <a:gd name="connsiteX21" fmla="*/ 33867 w 2257170"/>
                <a:gd name="connsiteY21" fmla="*/ 2583078 h 2882584"/>
                <a:gd name="connsiteX22" fmla="*/ 42334 w 2257170"/>
                <a:gd name="connsiteY22" fmla="*/ 2820144 h 2882584"/>
                <a:gd name="connsiteX23" fmla="*/ 50800 w 2257170"/>
                <a:gd name="connsiteY23" fmla="*/ 2879411 h 2882584"/>
                <a:gd name="connsiteX24" fmla="*/ 93134 w 2257170"/>
                <a:gd name="connsiteY24" fmla="*/ 2870944 h 2882584"/>
                <a:gd name="connsiteX25" fmla="*/ 254000 w 2257170"/>
                <a:gd name="connsiteY25" fmla="*/ 2862478 h 2882584"/>
                <a:gd name="connsiteX26" fmla="*/ 524934 w 2257170"/>
                <a:gd name="connsiteY26" fmla="*/ 2854011 h 2882584"/>
                <a:gd name="connsiteX27" fmla="*/ 2159000 w 2257170"/>
                <a:gd name="connsiteY27" fmla="*/ 2862478 h 2882584"/>
                <a:gd name="connsiteX28" fmla="*/ 2235200 w 2257170"/>
                <a:gd name="connsiteY28" fmla="*/ 2862478 h 2882584"/>
                <a:gd name="connsiteX29" fmla="*/ 2235200 w 2257170"/>
                <a:gd name="connsiteY29" fmla="*/ 2447611 h 2882584"/>
                <a:gd name="connsiteX30" fmla="*/ 2218267 w 2257170"/>
                <a:gd name="connsiteY30" fmla="*/ 2346011 h 2882584"/>
                <a:gd name="connsiteX31" fmla="*/ 2209800 w 2257170"/>
                <a:gd name="connsiteY31" fmla="*/ 2125878 h 2882584"/>
                <a:gd name="connsiteX32" fmla="*/ 2201334 w 2257170"/>
                <a:gd name="connsiteY32" fmla="*/ 2083544 h 2882584"/>
                <a:gd name="connsiteX33" fmla="*/ 2192867 w 2257170"/>
                <a:gd name="connsiteY33" fmla="*/ 2007344 h 2882584"/>
                <a:gd name="connsiteX34" fmla="*/ 2167467 w 2257170"/>
                <a:gd name="connsiteY34" fmla="*/ 1854944 h 2882584"/>
                <a:gd name="connsiteX35" fmla="*/ 2159000 w 2257170"/>
                <a:gd name="connsiteY35" fmla="*/ 1727944 h 2882584"/>
                <a:gd name="connsiteX36" fmla="*/ 2150534 w 2257170"/>
                <a:gd name="connsiteY36" fmla="*/ 1694078 h 2882584"/>
                <a:gd name="connsiteX37" fmla="*/ 2142067 w 2257170"/>
                <a:gd name="connsiteY37" fmla="*/ 1617878 h 2882584"/>
                <a:gd name="connsiteX38" fmla="*/ 2125134 w 2257170"/>
                <a:gd name="connsiteY38" fmla="*/ 1423144 h 2882584"/>
                <a:gd name="connsiteX39" fmla="*/ 2099734 w 2257170"/>
                <a:gd name="connsiteY39" fmla="*/ 1338478 h 2882584"/>
                <a:gd name="connsiteX40" fmla="*/ 2065867 w 2257170"/>
                <a:gd name="connsiteY40" fmla="*/ 1245344 h 2882584"/>
                <a:gd name="connsiteX41" fmla="*/ 2057400 w 2257170"/>
                <a:gd name="connsiteY41" fmla="*/ 1177611 h 2882584"/>
                <a:gd name="connsiteX42" fmla="*/ 2048934 w 2257170"/>
                <a:gd name="connsiteY42" fmla="*/ 1118344 h 2882584"/>
                <a:gd name="connsiteX43" fmla="*/ 2032000 w 2257170"/>
                <a:gd name="connsiteY43" fmla="*/ 974411 h 2882584"/>
                <a:gd name="connsiteX44" fmla="*/ 2006600 w 2257170"/>
                <a:gd name="connsiteY44" fmla="*/ 796611 h 2882584"/>
                <a:gd name="connsiteX45" fmla="*/ 1964267 w 2257170"/>
                <a:gd name="connsiteY45" fmla="*/ 686544 h 2882584"/>
                <a:gd name="connsiteX46" fmla="*/ 1947334 w 2257170"/>
                <a:gd name="connsiteY46" fmla="*/ 661144 h 2882584"/>
                <a:gd name="connsiteX47" fmla="*/ 1905000 w 2257170"/>
                <a:gd name="connsiteY47" fmla="*/ 568011 h 2882584"/>
                <a:gd name="connsiteX48" fmla="*/ 1896534 w 2257170"/>
                <a:gd name="connsiteY48" fmla="*/ 517211 h 2882584"/>
                <a:gd name="connsiteX49" fmla="*/ 1879600 w 2257170"/>
                <a:gd name="connsiteY49" fmla="*/ 474878 h 2882584"/>
                <a:gd name="connsiteX50" fmla="*/ 1854200 w 2257170"/>
                <a:gd name="connsiteY50" fmla="*/ 424078 h 2882584"/>
                <a:gd name="connsiteX51" fmla="*/ 1828800 w 2257170"/>
                <a:gd name="connsiteY51" fmla="*/ 381744 h 2882584"/>
                <a:gd name="connsiteX52" fmla="*/ 1803400 w 2257170"/>
                <a:gd name="connsiteY52" fmla="*/ 330944 h 2882584"/>
                <a:gd name="connsiteX53" fmla="*/ 1778000 w 2257170"/>
                <a:gd name="connsiteY53" fmla="*/ 297078 h 2882584"/>
                <a:gd name="connsiteX54" fmla="*/ 1761067 w 2257170"/>
                <a:gd name="connsiteY54" fmla="*/ 263211 h 2882584"/>
                <a:gd name="connsiteX55" fmla="*/ 1718734 w 2257170"/>
                <a:gd name="connsiteY55" fmla="*/ 203944 h 2882584"/>
                <a:gd name="connsiteX56" fmla="*/ 1684867 w 2257170"/>
                <a:gd name="connsiteY56" fmla="*/ 144678 h 2882584"/>
                <a:gd name="connsiteX57" fmla="*/ 1667934 w 2257170"/>
                <a:gd name="connsiteY57" fmla="*/ 93878 h 2882584"/>
                <a:gd name="connsiteX58" fmla="*/ 1651000 w 2257170"/>
                <a:gd name="connsiteY58" fmla="*/ 68478 h 2882584"/>
                <a:gd name="connsiteX59" fmla="*/ 1600200 w 2257170"/>
                <a:gd name="connsiteY59" fmla="*/ 26144 h 2882584"/>
                <a:gd name="connsiteX60" fmla="*/ 1574800 w 2257170"/>
                <a:gd name="connsiteY60" fmla="*/ 9211 h 2882584"/>
                <a:gd name="connsiteX61" fmla="*/ 1507067 w 2257170"/>
                <a:gd name="connsiteY61" fmla="*/ 744 h 2882584"/>
                <a:gd name="connsiteX62" fmla="*/ 1507067 w 2257170"/>
                <a:gd name="connsiteY62" fmla="*/ 744 h 2882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257170" h="2882584">
                  <a:moveTo>
                    <a:pt x="347134" y="51544"/>
                  </a:moveTo>
                  <a:lnTo>
                    <a:pt x="347134" y="51544"/>
                  </a:lnTo>
                  <a:cubicBezTo>
                    <a:pt x="327378" y="68477"/>
                    <a:pt x="306266" y="83945"/>
                    <a:pt x="287867" y="102344"/>
                  </a:cubicBezTo>
                  <a:cubicBezTo>
                    <a:pt x="272333" y="117878"/>
                    <a:pt x="265065" y="143907"/>
                    <a:pt x="254000" y="161611"/>
                  </a:cubicBezTo>
                  <a:cubicBezTo>
                    <a:pt x="246521" y="173577"/>
                    <a:pt x="237067" y="184189"/>
                    <a:pt x="228600" y="195478"/>
                  </a:cubicBezTo>
                  <a:cubicBezTo>
                    <a:pt x="209066" y="254086"/>
                    <a:pt x="236511" y="189072"/>
                    <a:pt x="194734" y="237811"/>
                  </a:cubicBezTo>
                  <a:cubicBezTo>
                    <a:pt x="184024" y="250305"/>
                    <a:pt x="177801" y="266033"/>
                    <a:pt x="169334" y="280144"/>
                  </a:cubicBezTo>
                  <a:cubicBezTo>
                    <a:pt x="163689" y="299900"/>
                    <a:pt x="158304" y="319731"/>
                    <a:pt x="152400" y="339411"/>
                  </a:cubicBezTo>
                  <a:cubicBezTo>
                    <a:pt x="149836" y="347959"/>
                    <a:pt x="147450" y="356608"/>
                    <a:pt x="143934" y="364811"/>
                  </a:cubicBezTo>
                  <a:cubicBezTo>
                    <a:pt x="138962" y="376412"/>
                    <a:pt x="131432" y="386860"/>
                    <a:pt x="127000" y="398678"/>
                  </a:cubicBezTo>
                  <a:cubicBezTo>
                    <a:pt x="114465" y="432104"/>
                    <a:pt x="93134" y="500278"/>
                    <a:pt x="93134" y="500278"/>
                  </a:cubicBezTo>
                  <a:cubicBezTo>
                    <a:pt x="90312" y="539789"/>
                    <a:pt x="88609" y="579396"/>
                    <a:pt x="84667" y="618811"/>
                  </a:cubicBezTo>
                  <a:cubicBezTo>
                    <a:pt x="79744" y="668035"/>
                    <a:pt x="76664" y="661805"/>
                    <a:pt x="67734" y="703478"/>
                  </a:cubicBezTo>
                  <a:cubicBezTo>
                    <a:pt x="61704" y="731620"/>
                    <a:pt x="50800" y="788144"/>
                    <a:pt x="50800" y="788144"/>
                  </a:cubicBezTo>
                  <a:cubicBezTo>
                    <a:pt x="47978" y="827655"/>
                    <a:pt x="46962" y="867337"/>
                    <a:pt x="42334" y="906678"/>
                  </a:cubicBezTo>
                  <a:cubicBezTo>
                    <a:pt x="41291" y="915542"/>
                    <a:pt x="34910" y="923214"/>
                    <a:pt x="33867" y="932078"/>
                  </a:cubicBezTo>
                  <a:cubicBezTo>
                    <a:pt x="13208" y="1107675"/>
                    <a:pt x="38345" y="998828"/>
                    <a:pt x="16934" y="1084478"/>
                  </a:cubicBezTo>
                  <a:cubicBezTo>
                    <a:pt x="14112" y="1129633"/>
                    <a:pt x="11809" y="1174824"/>
                    <a:pt x="8467" y="1219944"/>
                  </a:cubicBezTo>
                  <a:cubicBezTo>
                    <a:pt x="6164" y="1251032"/>
                    <a:pt x="0" y="1281905"/>
                    <a:pt x="0" y="1313078"/>
                  </a:cubicBezTo>
                  <a:cubicBezTo>
                    <a:pt x="0" y="1564272"/>
                    <a:pt x="4480" y="1815449"/>
                    <a:pt x="8467" y="2066611"/>
                  </a:cubicBezTo>
                  <a:cubicBezTo>
                    <a:pt x="10125" y="2171058"/>
                    <a:pt x="12759" y="2275501"/>
                    <a:pt x="16934" y="2379878"/>
                  </a:cubicBezTo>
                  <a:cubicBezTo>
                    <a:pt x="18486" y="2418675"/>
                    <a:pt x="29951" y="2540004"/>
                    <a:pt x="33867" y="2583078"/>
                  </a:cubicBezTo>
                  <a:cubicBezTo>
                    <a:pt x="36689" y="2662100"/>
                    <a:pt x="37823" y="2741200"/>
                    <a:pt x="42334" y="2820144"/>
                  </a:cubicBezTo>
                  <a:cubicBezTo>
                    <a:pt x="43472" y="2840068"/>
                    <a:pt x="36689" y="2865300"/>
                    <a:pt x="50800" y="2879411"/>
                  </a:cubicBezTo>
                  <a:cubicBezTo>
                    <a:pt x="60976" y="2889587"/>
                    <a:pt x="78793" y="2872139"/>
                    <a:pt x="93134" y="2870944"/>
                  </a:cubicBezTo>
                  <a:cubicBezTo>
                    <a:pt x="146645" y="2866485"/>
                    <a:pt x="200345" y="2864582"/>
                    <a:pt x="254000" y="2862478"/>
                  </a:cubicBezTo>
                  <a:lnTo>
                    <a:pt x="524934" y="2854011"/>
                  </a:lnTo>
                  <a:lnTo>
                    <a:pt x="2159000" y="2862478"/>
                  </a:lnTo>
                  <a:cubicBezTo>
                    <a:pt x="2276843" y="2863680"/>
                    <a:pt x="2029105" y="2896824"/>
                    <a:pt x="2235200" y="2862478"/>
                  </a:cubicBezTo>
                  <a:cubicBezTo>
                    <a:pt x="2273574" y="2708987"/>
                    <a:pt x="2253789" y="2800794"/>
                    <a:pt x="2235200" y="2447611"/>
                  </a:cubicBezTo>
                  <a:cubicBezTo>
                    <a:pt x="2233395" y="2413325"/>
                    <a:pt x="2218267" y="2346011"/>
                    <a:pt x="2218267" y="2346011"/>
                  </a:cubicBezTo>
                  <a:cubicBezTo>
                    <a:pt x="2215445" y="2272633"/>
                    <a:pt x="2214528" y="2199158"/>
                    <a:pt x="2209800" y="2125878"/>
                  </a:cubicBezTo>
                  <a:cubicBezTo>
                    <a:pt x="2208874" y="2111517"/>
                    <a:pt x="2203369" y="2097790"/>
                    <a:pt x="2201334" y="2083544"/>
                  </a:cubicBezTo>
                  <a:cubicBezTo>
                    <a:pt x="2197720" y="2058245"/>
                    <a:pt x="2196612" y="2032624"/>
                    <a:pt x="2192867" y="2007344"/>
                  </a:cubicBezTo>
                  <a:cubicBezTo>
                    <a:pt x="2185320" y="1956399"/>
                    <a:pt x="2167467" y="1854944"/>
                    <a:pt x="2167467" y="1854944"/>
                  </a:cubicBezTo>
                  <a:cubicBezTo>
                    <a:pt x="2164645" y="1812611"/>
                    <a:pt x="2163441" y="1770138"/>
                    <a:pt x="2159000" y="1727944"/>
                  </a:cubicBezTo>
                  <a:cubicBezTo>
                    <a:pt x="2157782" y="1716372"/>
                    <a:pt x="2152303" y="1705579"/>
                    <a:pt x="2150534" y="1694078"/>
                  </a:cubicBezTo>
                  <a:cubicBezTo>
                    <a:pt x="2146648" y="1668819"/>
                    <a:pt x="2144452" y="1643323"/>
                    <a:pt x="2142067" y="1617878"/>
                  </a:cubicBezTo>
                  <a:cubicBezTo>
                    <a:pt x="2135985" y="1553006"/>
                    <a:pt x="2132075" y="1487929"/>
                    <a:pt x="2125134" y="1423144"/>
                  </a:cubicBezTo>
                  <a:cubicBezTo>
                    <a:pt x="2119854" y="1373866"/>
                    <a:pt x="2115497" y="1385768"/>
                    <a:pt x="2099734" y="1338478"/>
                  </a:cubicBezTo>
                  <a:cubicBezTo>
                    <a:pt x="2069133" y="1246675"/>
                    <a:pt x="2098254" y="1310120"/>
                    <a:pt x="2065867" y="1245344"/>
                  </a:cubicBezTo>
                  <a:cubicBezTo>
                    <a:pt x="2063045" y="1222766"/>
                    <a:pt x="2060407" y="1200165"/>
                    <a:pt x="2057400" y="1177611"/>
                  </a:cubicBezTo>
                  <a:cubicBezTo>
                    <a:pt x="2054763" y="1157830"/>
                    <a:pt x="2051409" y="1138146"/>
                    <a:pt x="2048934" y="1118344"/>
                  </a:cubicBezTo>
                  <a:cubicBezTo>
                    <a:pt x="2036389" y="1017979"/>
                    <a:pt x="2045031" y="1068884"/>
                    <a:pt x="2032000" y="974411"/>
                  </a:cubicBezTo>
                  <a:cubicBezTo>
                    <a:pt x="2023820" y="915104"/>
                    <a:pt x="2033374" y="850159"/>
                    <a:pt x="2006600" y="796611"/>
                  </a:cubicBezTo>
                  <a:cubicBezTo>
                    <a:pt x="1931225" y="645861"/>
                    <a:pt x="2030665" y="852542"/>
                    <a:pt x="1964267" y="686544"/>
                  </a:cubicBezTo>
                  <a:cubicBezTo>
                    <a:pt x="1960488" y="677096"/>
                    <a:pt x="1951467" y="670443"/>
                    <a:pt x="1947334" y="661144"/>
                  </a:cubicBezTo>
                  <a:cubicBezTo>
                    <a:pt x="1896736" y="547299"/>
                    <a:pt x="1965822" y="669380"/>
                    <a:pt x="1905000" y="568011"/>
                  </a:cubicBezTo>
                  <a:cubicBezTo>
                    <a:pt x="1902178" y="551078"/>
                    <a:pt x="1901051" y="533773"/>
                    <a:pt x="1896534" y="517211"/>
                  </a:cubicBezTo>
                  <a:cubicBezTo>
                    <a:pt x="1892535" y="502548"/>
                    <a:pt x="1884936" y="489108"/>
                    <a:pt x="1879600" y="474878"/>
                  </a:cubicBezTo>
                  <a:cubicBezTo>
                    <a:pt x="1864576" y="434814"/>
                    <a:pt x="1879893" y="462617"/>
                    <a:pt x="1854200" y="424078"/>
                  </a:cubicBezTo>
                  <a:cubicBezTo>
                    <a:pt x="1832075" y="357697"/>
                    <a:pt x="1862005" y="434871"/>
                    <a:pt x="1828800" y="381744"/>
                  </a:cubicBezTo>
                  <a:cubicBezTo>
                    <a:pt x="1818766" y="365690"/>
                    <a:pt x="1813141" y="347178"/>
                    <a:pt x="1803400" y="330944"/>
                  </a:cubicBezTo>
                  <a:cubicBezTo>
                    <a:pt x="1796140" y="318844"/>
                    <a:pt x="1785479" y="309044"/>
                    <a:pt x="1778000" y="297078"/>
                  </a:cubicBezTo>
                  <a:cubicBezTo>
                    <a:pt x="1771311" y="286375"/>
                    <a:pt x="1767329" y="274170"/>
                    <a:pt x="1761067" y="263211"/>
                  </a:cubicBezTo>
                  <a:cubicBezTo>
                    <a:pt x="1749666" y="243258"/>
                    <a:pt x="1731713" y="222115"/>
                    <a:pt x="1718734" y="203944"/>
                  </a:cubicBezTo>
                  <a:cubicBezTo>
                    <a:pt x="1704847" y="184503"/>
                    <a:pt x="1693888" y="167230"/>
                    <a:pt x="1684867" y="144678"/>
                  </a:cubicBezTo>
                  <a:cubicBezTo>
                    <a:pt x="1678238" y="128105"/>
                    <a:pt x="1677835" y="108729"/>
                    <a:pt x="1667934" y="93878"/>
                  </a:cubicBezTo>
                  <a:cubicBezTo>
                    <a:pt x="1662289" y="85411"/>
                    <a:pt x="1657357" y="76424"/>
                    <a:pt x="1651000" y="68478"/>
                  </a:cubicBezTo>
                  <a:cubicBezTo>
                    <a:pt x="1638163" y="52431"/>
                    <a:pt x="1615574" y="37126"/>
                    <a:pt x="1600200" y="26144"/>
                  </a:cubicBezTo>
                  <a:cubicBezTo>
                    <a:pt x="1591920" y="20230"/>
                    <a:pt x="1583901" y="13762"/>
                    <a:pt x="1574800" y="9211"/>
                  </a:cubicBezTo>
                  <a:cubicBezTo>
                    <a:pt x="1548941" y="-3718"/>
                    <a:pt x="1537884" y="744"/>
                    <a:pt x="1507067" y="744"/>
                  </a:cubicBezTo>
                  <a:lnTo>
                    <a:pt x="1507067" y="744"/>
                  </a:lnTo>
                </a:path>
              </a:pathLst>
            </a:cu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7" name="Oval 16"/>
            <p:cNvSpPr/>
            <p:nvPr/>
          </p:nvSpPr>
          <p:spPr>
            <a:xfrm>
              <a:off x="3640666" y="1413935"/>
              <a:ext cx="1515534" cy="1346200"/>
            </a:xfrm>
            <a:prstGeom prst="ellipse">
              <a:avLst/>
            </a:prstGeom>
            <a:grp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8" name="Freeform 17"/>
            <p:cNvSpPr/>
            <p:nvPr/>
          </p:nvSpPr>
          <p:spPr>
            <a:xfrm>
              <a:off x="2985738" y="3107267"/>
              <a:ext cx="617631" cy="1161158"/>
            </a:xfrm>
            <a:custGeom>
              <a:avLst/>
              <a:gdLst>
                <a:gd name="connsiteX0" fmla="*/ 617631 w 617631"/>
                <a:gd name="connsiteY0" fmla="*/ 0 h 1161158"/>
                <a:gd name="connsiteX1" fmla="*/ 16498 w 617631"/>
                <a:gd name="connsiteY1" fmla="*/ 1092200 h 1161158"/>
                <a:gd name="connsiteX2" fmla="*/ 228165 w 617631"/>
                <a:gd name="connsiteY2" fmla="*/ 956733 h 1161158"/>
              </a:gdLst>
              <a:ahLst/>
              <a:cxnLst>
                <a:cxn ang="0">
                  <a:pos x="connsiteX0" y="connsiteY0"/>
                </a:cxn>
                <a:cxn ang="0">
                  <a:pos x="connsiteX1" y="connsiteY1"/>
                </a:cxn>
                <a:cxn ang="0">
                  <a:pos x="connsiteX2" y="connsiteY2"/>
                </a:cxn>
              </a:cxnLst>
              <a:rect l="l" t="t" r="r" b="b"/>
              <a:pathLst>
                <a:path w="617631" h="1161158">
                  <a:moveTo>
                    <a:pt x="617631" y="0"/>
                  </a:moveTo>
                  <a:cubicBezTo>
                    <a:pt x="349520" y="466372"/>
                    <a:pt x="81409" y="932745"/>
                    <a:pt x="16498" y="1092200"/>
                  </a:cubicBezTo>
                  <a:cubicBezTo>
                    <a:pt x="-48413" y="1251655"/>
                    <a:pt x="89876" y="1104194"/>
                    <a:pt x="228165" y="956733"/>
                  </a:cubicBezTo>
                </a:path>
              </a:pathLst>
            </a:custGeom>
            <a:grpFill/>
            <a:ln w="571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9" name="Freeform 18"/>
            <p:cNvSpPr/>
            <p:nvPr/>
          </p:nvSpPr>
          <p:spPr>
            <a:xfrm flipH="1">
              <a:off x="5351368" y="3048000"/>
              <a:ext cx="617631" cy="1161158"/>
            </a:xfrm>
            <a:custGeom>
              <a:avLst/>
              <a:gdLst>
                <a:gd name="connsiteX0" fmla="*/ 617631 w 617631"/>
                <a:gd name="connsiteY0" fmla="*/ 0 h 1161158"/>
                <a:gd name="connsiteX1" fmla="*/ 16498 w 617631"/>
                <a:gd name="connsiteY1" fmla="*/ 1092200 h 1161158"/>
                <a:gd name="connsiteX2" fmla="*/ 228165 w 617631"/>
                <a:gd name="connsiteY2" fmla="*/ 956733 h 1161158"/>
              </a:gdLst>
              <a:ahLst/>
              <a:cxnLst>
                <a:cxn ang="0">
                  <a:pos x="connsiteX0" y="connsiteY0"/>
                </a:cxn>
                <a:cxn ang="0">
                  <a:pos x="connsiteX1" y="connsiteY1"/>
                </a:cxn>
                <a:cxn ang="0">
                  <a:pos x="connsiteX2" y="connsiteY2"/>
                </a:cxn>
              </a:cxnLst>
              <a:rect l="l" t="t" r="r" b="b"/>
              <a:pathLst>
                <a:path w="617631" h="1161158">
                  <a:moveTo>
                    <a:pt x="617631" y="0"/>
                  </a:moveTo>
                  <a:cubicBezTo>
                    <a:pt x="349520" y="466372"/>
                    <a:pt x="81409" y="932745"/>
                    <a:pt x="16498" y="1092200"/>
                  </a:cubicBezTo>
                  <a:cubicBezTo>
                    <a:pt x="-48413" y="1251655"/>
                    <a:pt x="89876" y="1104194"/>
                    <a:pt x="228165" y="956733"/>
                  </a:cubicBezTo>
                </a:path>
              </a:pathLst>
            </a:custGeom>
            <a:grpFill/>
            <a:ln w="571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cxnSp>
          <p:nvCxnSpPr>
            <p:cNvPr id="20" name="Straight Connector 19"/>
            <p:cNvCxnSpPr/>
            <p:nvPr/>
          </p:nvCxnSpPr>
          <p:spPr>
            <a:xfrm>
              <a:off x="4301068" y="5419659"/>
              <a:ext cx="16933" cy="1227667"/>
            </a:xfrm>
            <a:prstGeom prst="line">
              <a:avLst/>
            </a:prstGeom>
            <a:grpFill/>
            <a:ln w="762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5105402" y="5419660"/>
              <a:ext cx="16933" cy="1227667"/>
            </a:xfrm>
            <a:prstGeom prst="line">
              <a:avLst/>
            </a:prstGeom>
            <a:grpFill/>
            <a:ln w="762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pic>
        <p:nvPicPr>
          <p:cNvPr id="24" name="Picture 2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595795" y="3218522"/>
            <a:ext cx="734203" cy="734203"/>
          </a:xfrm>
          <a:prstGeom prst="rect">
            <a:avLst/>
          </a:prstGeom>
        </p:spPr>
      </p:pic>
      <p:pic>
        <p:nvPicPr>
          <p:cNvPr id="26" name="Picture 25"/>
          <p:cNvPicPr>
            <a:picLocks noChangeAspect="1"/>
          </p:cNvPicPr>
          <p:nvPr/>
        </p:nvPicPr>
        <p:blipFill>
          <a:blip r:embed="rId5" cstate="print">
            <a:biLevel thresh="75000"/>
            <a:extLst>
              <a:ext uri="{28A0092B-C50C-407E-A947-70E740481C1C}">
                <a14:useLocalDpi xmlns:a14="http://schemas.microsoft.com/office/drawing/2010/main" val="0"/>
              </a:ext>
            </a:extLst>
          </a:blip>
          <a:stretch>
            <a:fillRect/>
          </a:stretch>
        </p:blipFill>
        <p:spPr>
          <a:xfrm>
            <a:off x="3763773" y="5291749"/>
            <a:ext cx="1321934" cy="1321934"/>
          </a:xfrm>
          <a:prstGeom prst="rect">
            <a:avLst/>
          </a:prstGeom>
        </p:spPr>
      </p:pic>
      <p:sp>
        <p:nvSpPr>
          <p:cNvPr id="27" name="Freeform 26"/>
          <p:cNvSpPr/>
          <p:nvPr/>
        </p:nvSpPr>
        <p:spPr>
          <a:xfrm>
            <a:off x="4174081" y="5929682"/>
            <a:ext cx="415770" cy="923411"/>
          </a:xfrm>
          <a:custGeom>
            <a:avLst/>
            <a:gdLst>
              <a:gd name="connsiteX0" fmla="*/ 1096096 w 2010496"/>
              <a:gd name="connsiteY0" fmla="*/ 0 h 1909402"/>
              <a:gd name="connsiteX1" fmla="*/ 991321 w 2010496"/>
              <a:gd name="connsiteY1" fmla="*/ 9525 h 1909402"/>
              <a:gd name="connsiteX2" fmla="*/ 915121 w 2010496"/>
              <a:gd name="connsiteY2" fmla="*/ 47625 h 1909402"/>
              <a:gd name="connsiteX3" fmla="*/ 867496 w 2010496"/>
              <a:gd name="connsiteY3" fmla="*/ 57150 h 1909402"/>
              <a:gd name="connsiteX4" fmla="*/ 838921 w 2010496"/>
              <a:gd name="connsiteY4" fmla="*/ 76200 h 1909402"/>
              <a:gd name="connsiteX5" fmla="*/ 810346 w 2010496"/>
              <a:gd name="connsiteY5" fmla="*/ 104775 h 1909402"/>
              <a:gd name="connsiteX6" fmla="*/ 724621 w 2010496"/>
              <a:gd name="connsiteY6" fmla="*/ 123825 h 1909402"/>
              <a:gd name="connsiteX7" fmla="*/ 686521 w 2010496"/>
              <a:gd name="connsiteY7" fmla="*/ 142875 h 1909402"/>
              <a:gd name="connsiteX8" fmla="*/ 648421 w 2010496"/>
              <a:gd name="connsiteY8" fmla="*/ 171450 h 1909402"/>
              <a:gd name="connsiteX9" fmla="*/ 610321 w 2010496"/>
              <a:gd name="connsiteY9" fmla="*/ 180975 h 1909402"/>
              <a:gd name="connsiteX10" fmla="*/ 572221 w 2010496"/>
              <a:gd name="connsiteY10" fmla="*/ 219075 h 1909402"/>
              <a:gd name="connsiteX11" fmla="*/ 486496 w 2010496"/>
              <a:gd name="connsiteY11" fmla="*/ 276225 h 1909402"/>
              <a:gd name="connsiteX12" fmla="*/ 457921 w 2010496"/>
              <a:gd name="connsiteY12" fmla="*/ 285750 h 1909402"/>
              <a:gd name="connsiteX13" fmla="*/ 372196 w 2010496"/>
              <a:gd name="connsiteY13" fmla="*/ 352425 h 1909402"/>
              <a:gd name="connsiteX14" fmla="*/ 343621 w 2010496"/>
              <a:gd name="connsiteY14" fmla="*/ 361950 h 1909402"/>
              <a:gd name="connsiteX15" fmla="*/ 315046 w 2010496"/>
              <a:gd name="connsiteY15" fmla="*/ 381000 h 1909402"/>
              <a:gd name="connsiteX16" fmla="*/ 467446 w 2010496"/>
              <a:gd name="connsiteY16" fmla="*/ 428625 h 1909402"/>
              <a:gd name="connsiteX17" fmla="*/ 715096 w 2010496"/>
              <a:gd name="connsiteY17" fmla="*/ 457200 h 1909402"/>
              <a:gd name="connsiteX18" fmla="*/ 800821 w 2010496"/>
              <a:gd name="connsiteY18" fmla="*/ 485775 h 1909402"/>
              <a:gd name="connsiteX19" fmla="*/ 1029421 w 2010496"/>
              <a:gd name="connsiteY19" fmla="*/ 514350 h 1909402"/>
              <a:gd name="connsiteX20" fmla="*/ 1248496 w 2010496"/>
              <a:gd name="connsiteY20" fmla="*/ 561975 h 1909402"/>
              <a:gd name="connsiteX21" fmla="*/ 1343746 w 2010496"/>
              <a:gd name="connsiteY21" fmla="*/ 590550 h 1909402"/>
              <a:gd name="connsiteX22" fmla="*/ 1429471 w 2010496"/>
              <a:gd name="connsiteY22" fmla="*/ 600075 h 1909402"/>
              <a:gd name="connsiteX23" fmla="*/ 1724746 w 2010496"/>
              <a:gd name="connsiteY23" fmla="*/ 657225 h 1909402"/>
              <a:gd name="connsiteX24" fmla="*/ 1791421 w 2010496"/>
              <a:gd name="connsiteY24" fmla="*/ 676275 h 1909402"/>
              <a:gd name="connsiteX25" fmla="*/ 1829521 w 2010496"/>
              <a:gd name="connsiteY25" fmla="*/ 695325 h 1909402"/>
              <a:gd name="connsiteX26" fmla="*/ 1915246 w 2010496"/>
              <a:gd name="connsiteY26" fmla="*/ 704850 h 1909402"/>
              <a:gd name="connsiteX27" fmla="*/ 1800946 w 2010496"/>
              <a:gd name="connsiteY27" fmla="*/ 742950 h 1909402"/>
              <a:gd name="connsiteX28" fmla="*/ 1734271 w 2010496"/>
              <a:gd name="connsiteY28" fmla="*/ 752475 h 1909402"/>
              <a:gd name="connsiteX29" fmla="*/ 1658071 w 2010496"/>
              <a:gd name="connsiteY29" fmla="*/ 771525 h 1909402"/>
              <a:gd name="connsiteX30" fmla="*/ 1429471 w 2010496"/>
              <a:gd name="connsiteY30" fmla="*/ 781050 h 1909402"/>
              <a:gd name="connsiteX31" fmla="*/ 1210396 w 2010496"/>
              <a:gd name="connsiteY31" fmla="*/ 800100 h 1909402"/>
              <a:gd name="connsiteX32" fmla="*/ 953221 w 2010496"/>
              <a:gd name="connsiteY32" fmla="*/ 838200 h 1909402"/>
              <a:gd name="connsiteX33" fmla="*/ 829396 w 2010496"/>
              <a:gd name="connsiteY33" fmla="*/ 866775 h 1909402"/>
              <a:gd name="connsiteX34" fmla="*/ 619846 w 2010496"/>
              <a:gd name="connsiteY34" fmla="*/ 895350 h 1909402"/>
              <a:gd name="connsiteX35" fmla="*/ 476971 w 2010496"/>
              <a:gd name="connsiteY35" fmla="*/ 933450 h 1909402"/>
              <a:gd name="connsiteX36" fmla="*/ 429346 w 2010496"/>
              <a:gd name="connsiteY36" fmla="*/ 952500 h 1909402"/>
              <a:gd name="connsiteX37" fmla="*/ 391246 w 2010496"/>
              <a:gd name="connsiteY37" fmla="*/ 971550 h 1909402"/>
              <a:gd name="connsiteX38" fmla="*/ 334096 w 2010496"/>
              <a:gd name="connsiteY38" fmla="*/ 990600 h 1909402"/>
              <a:gd name="connsiteX39" fmla="*/ 962746 w 2010496"/>
              <a:gd name="connsiteY39" fmla="*/ 1000125 h 1909402"/>
              <a:gd name="connsiteX40" fmla="*/ 1791421 w 2010496"/>
              <a:gd name="connsiteY40" fmla="*/ 1019175 h 1909402"/>
              <a:gd name="connsiteX41" fmla="*/ 1924771 w 2010496"/>
              <a:gd name="connsiteY41" fmla="*/ 1038225 h 1909402"/>
              <a:gd name="connsiteX42" fmla="*/ 1981921 w 2010496"/>
              <a:gd name="connsiteY42" fmla="*/ 1066800 h 1909402"/>
              <a:gd name="connsiteX43" fmla="*/ 2010496 w 2010496"/>
              <a:gd name="connsiteY43" fmla="*/ 1076325 h 1909402"/>
              <a:gd name="connsiteX44" fmla="*/ 1953346 w 2010496"/>
              <a:gd name="connsiteY44" fmla="*/ 1114425 h 1909402"/>
              <a:gd name="connsiteX45" fmla="*/ 1800946 w 2010496"/>
              <a:gd name="connsiteY45" fmla="*/ 1171575 h 1909402"/>
              <a:gd name="connsiteX46" fmla="*/ 1696171 w 2010496"/>
              <a:gd name="connsiteY46" fmla="*/ 1209675 h 1909402"/>
              <a:gd name="connsiteX47" fmla="*/ 1572346 w 2010496"/>
              <a:gd name="connsiteY47" fmla="*/ 1247775 h 1909402"/>
              <a:gd name="connsiteX48" fmla="*/ 1458046 w 2010496"/>
              <a:gd name="connsiteY48" fmla="*/ 1295400 h 1909402"/>
              <a:gd name="connsiteX49" fmla="*/ 1153246 w 2010496"/>
              <a:gd name="connsiteY49" fmla="*/ 1371600 h 1909402"/>
              <a:gd name="connsiteX50" fmla="*/ 924646 w 2010496"/>
              <a:gd name="connsiteY50" fmla="*/ 1457325 h 1909402"/>
              <a:gd name="connsiteX51" fmla="*/ 819871 w 2010496"/>
              <a:gd name="connsiteY51" fmla="*/ 1485900 h 1909402"/>
              <a:gd name="connsiteX52" fmla="*/ 753196 w 2010496"/>
              <a:gd name="connsiteY52" fmla="*/ 1514475 h 1909402"/>
              <a:gd name="connsiteX53" fmla="*/ 667471 w 2010496"/>
              <a:gd name="connsiteY53" fmla="*/ 1543050 h 1909402"/>
              <a:gd name="connsiteX54" fmla="*/ 581746 w 2010496"/>
              <a:gd name="connsiteY54" fmla="*/ 1571625 h 1909402"/>
              <a:gd name="connsiteX55" fmla="*/ 543646 w 2010496"/>
              <a:gd name="connsiteY55" fmla="*/ 1600200 h 1909402"/>
              <a:gd name="connsiteX56" fmla="*/ 486496 w 2010496"/>
              <a:gd name="connsiteY56" fmla="*/ 1619250 h 1909402"/>
              <a:gd name="connsiteX57" fmla="*/ 657946 w 2010496"/>
              <a:gd name="connsiteY57" fmla="*/ 1657350 h 1909402"/>
              <a:gd name="connsiteX58" fmla="*/ 715096 w 2010496"/>
              <a:gd name="connsiteY58" fmla="*/ 1666875 h 1909402"/>
              <a:gd name="connsiteX59" fmla="*/ 800821 w 2010496"/>
              <a:gd name="connsiteY59" fmla="*/ 1695450 h 1909402"/>
              <a:gd name="connsiteX60" fmla="*/ 886546 w 2010496"/>
              <a:gd name="connsiteY60" fmla="*/ 1704975 h 1909402"/>
              <a:gd name="connsiteX61" fmla="*/ 1096096 w 2010496"/>
              <a:gd name="connsiteY61" fmla="*/ 1752600 h 1909402"/>
              <a:gd name="connsiteX62" fmla="*/ 1315171 w 2010496"/>
              <a:gd name="connsiteY62" fmla="*/ 1771650 h 1909402"/>
              <a:gd name="connsiteX63" fmla="*/ 1391371 w 2010496"/>
              <a:gd name="connsiteY63" fmla="*/ 1781175 h 1909402"/>
              <a:gd name="connsiteX64" fmla="*/ 1458046 w 2010496"/>
              <a:gd name="connsiteY64" fmla="*/ 1800225 h 1909402"/>
              <a:gd name="connsiteX65" fmla="*/ 1505671 w 2010496"/>
              <a:gd name="connsiteY65" fmla="*/ 1809750 h 1909402"/>
              <a:gd name="connsiteX66" fmla="*/ 1543771 w 2010496"/>
              <a:gd name="connsiteY66" fmla="*/ 1828800 h 1909402"/>
              <a:gd name="connsiteX67" fmla="*/ 1600921 w 2010496"/>
              <a:gd name="connsiteY67" fmla="*/ 1857375 h 1909402"/>
              <a:gd name="connsiteX68" fmla="*/ 981796 w 2010496"/>
              <a:gd name="connsiteY68" fmla="*/ 1866900 h 1909402"/>
              <a:gd name="connsiteX69" fmla="*/ 877021 w 2010496"/>
              <a:gd name="connsiteY69" fmla="*/ 1828800 h 1909402"/>
              <a:gd name="connsiteX70" fmla="*/ 762721 w 2010496"/>
              <a:gd name="connsiteY70" fmla="*/ 1819275 h 1909402"/>
              <a:gd name="connsiteX71" fmla="*/ 524596 w 2010496"/>
              <a:gd name="connsiteY71" fmla="*/ 1781175 h 1909402"/>
              <a:gd name="connsiteX72" fmla="*/ 410296 w 2010496"/>
              <a:gd name="connsiteY72" fmla="*/ 1752600 h 1909402"/>
              <a:gd name="connsiteX73" fmla="*/ 86446 w 2010496"/>
              <a:gd name="connsiteY73" fmla="*/ 1724025 h 1909402"/>
              <a:gd name="connsiteX74" fmla="*/ 29296 w 2010496"/>
              <a:gd name="connsiteY74" fmla="*/ 1714500 h 1909402"/>
              <a:gd name="connsiteX75" fmla="*/ 721 w 2010496"/>
              <a:gd name="connsiteY75" fmla="*/ 1704975 h 1909402"/>
              <a:gd name="connsiteX76" fmla="*/ 115021 w 2010496"/>
              <a:gd name="connsiteY76" fmla="*/ 1647825 h 1909402"/>
              <a:gd name="connsiteX77" fmla="*/ 400771 w 2010496"/>
              <a:gd name="connsiteY77" fmla="*/ 1524000 h 1909402"/>
              <a:gd name="connsiteX78" fmla="*/ 534121 w 2010496"/>
              <a:gd name="connsiteY78" fmla="*/ 1466850 h 1909402"/>
              <a:gd name="connsiteX79" fmla="*/ 657946 w 2010496"/>
              <a:gd name="connsiteY79" fmla="*/ 1400175 h 1909402"/>
              <a:gd name="connsiteX80" fmla="*/ 762721 w 2010496"/>
              <a:gd name="connsiteY80" fmla="*/ 1371600 h 1909402"/>
              <a:gd name="connsiteX81" fmla="*/ 886546 w 2010496"/>
              <a:gd name="connsiteY81" fmla="*/ 1314450 h 1909402"/>
              <a:gd name="connsiteX82" fmla="*/ 991321 w 2010496"/>
              <a:gd name="connsiteY82" fmla="*/ 1295400 h 1909402"/>
              <a:gd name="connsiteX83" fmla="*/ 1172296 w 2010496"/>
              <a:gd name="connsiteY83" fmla="*/ 1257300 h 1909402"/>
              <a:gd name="connsiteX84" fmla="*/ 1248496 w 2010496"/>
              <a:gd name="connsiteY84" fmla="*/ 1238250 h 1909402"/>
              <a:gd name="connsiteX85" fmla="*/ 1391371 w 2010496"/>
              <a:gd name="connsiteY85" fmla="*/ 1228725 h 1909402"/>
              <a:gd name="connsiteX86" fmla="*/ 1486621 w 2010496"/>
              <a:gd name="connsiteY86" fmla="*/ 1219200 h 1909402"/>
              <a:gd name="connsiteX87" fmla="*/ 1124671 w 2010496"/>
              <a:gd name="connsiteY87" fmla="*/ 1200150 h 1909402"/>
              <a:gd name="connsiteX88" fmla="*/ 1038946 w 2010496"/>
              <a:gd name="connsiteY88" fmla="*/ 1190625 h 1909402"/>
              <a:gd name="connsiteX89" fmla="*/ 934171 w 2010496"/>
              <a:gd name="connsiteY89" fmla="*/ 1162050 h 1909402"/>
              <a:gd name="connsiteX90" fmla="*/ 829396 w 2010496"/>
              <a:gd name="connsiteY90" fmla="*/ 1152525 h 1909402"/>
              <a:gd name="connsiteX91" fmla="*/ 581746 w 2010496"/>
              <a:gd name="connsiteY91" fmla="*/ 1066800 h 1909402"/>
              <a:gd name="connsiteX92" fmla="*/ 486496 w 2010496"/>
              <a:gd name="connsiteY92" fmla="*/ 1047750 h 1909402"/>
              <a:gd name="connsiteX93" fmla="*/ 381721 w 2010496"/>
              <a:gd name="connsiteY93" fmla="*/ 1009650 h 1909402"/>
              <a:gd name="connsiteX94" fmla="*/ 248371 w 2010496"/>
              <a:gd name="connsiteY94" fmla="*/ 971550 h 1909402"/>
              <a:gd name="connsiteX95" fmla="*/ 181696 w 2010496"/>
              <a:gd name="connsiteY95" fmla="*/ 923925 h 1909402"/>
              <a:gd name="connsiteX96" fmla="*/ 229321 w 2010496"/>
              <a:gd name="connsiteY96" fmla="*/ 895350 h 1909402"/>
              <a:gd name="connsiteX97" fmla="*/ 762721 w 2010496"/>
              <a:gd name="connsiteY97" fmla="*/ 762000 h 1909402"/>
              <a:gd name="connsiteX98" fmla="*/ 886546 w 2010496"/>
              <a:gd name="connsiteY98" fmla="*/ 733425 h 1909402"/>
              <a:gd name="connsiteX99" fmla="*/ 1115146 w 2010496"/>
              <a:gd name="connsiteY99" fmla="*/ 704850 h 1909402"/>
              <a:gd name="connsiteX100" fmla="*/ 1286596 w 2010496"/>
              <a:gd name="connsiteY100" fmla="*/ 657225 h 1909402"/>
              <a:gd name="connsiteX101" fmla="*/ 1419946 w 2010496"/>
              <a:gd name="connsiteY101" fmla="*/ 638175 h 1909402"/>
              <a:gd name="connsiteX102" fmla="*/ 1391371 w 2010496"/>
              <a:gd name="connsiteY102" fmla="*/ 609600 h 1909402"/>
              <a:gd name="connsiteX103" fmla="*/ 1172296 w 2010496"/>
              <a:gd name="connsiteY103" fmla="*/ 523875 h 1909402"/>
              <a:gd name="connsiteX104" fmla="*/ 1077046 w 2010496"/>
              <a:gd name="connsiteY104" fmla="*/ 476250 h 1909402"/>
              <a:gd name="connsiteX105" fmla="*/ 972271 w 2010496"/>
              <a:gd name="connsiteY105" fmla="*/ 447675 h 1909402"/>
              <a:gd name="connsiteX106" fmla="*/ 753196 w 2010496"/>
              <a:gd name="connsiteY106" fmla="*/ 390525 h 1909402"/>
              <a:gd name="connsiteX107" fmla="*/ 619846 w 2010496"/>
              <a:gd name="connsiteY107" fmla="*/ 371475 h 1909402"/>
              <a:gd name="connsiteX108" fmla="*/ 372196 w 2010496"/>
              <a:gd name="connsiteY108" fmla="*/ 352425 h 1909402"/>
              <a:gd name="connsiteX109" fmla="*/ 276946 w 2010496"/>
              <a:gd name="connsiteY109" fmla="*/ 342900 h 1909402"/>
              <a:gd name="connsiteX110" fmla="*/ 210271 w 2010496"/>
              <a:gd name="connsiteY110" fmla="*/ 333375 h 1909402"/>
              <a:gd name="connsiteX111" fmla="*/ 48346 w 2010496"/>
              <a:gd name="connsiteY111" fmla="*/ 323850 h 1909402"/>
              <a:gd name="connsiteX112" fmla="*/ 238846 w 2010496"/>
              <a:gd name="connsiteY112" fmla="*/ 304800 h 1909402"/>
              <a:gd name="connsiteX113" fmla="*/ 419821 w 2010496"/>
              <a:gd name="connsiteY113" fmla="*/ 285750 h 1909402"/>
              <a:gd name="connsiteX114" fmla="*/ 524596 w 2010496"/>
              <a:gd name="connsiteY114" fmla="*/ 266700 h 1909402"/>
              <a:gd name="connsiteX115" fmla="*/ 762721 w 2010496"/>
              <a:gd name="connsiteY115" fmla="*/ 247650 h 1909402"/>
              <a:gd name="connsiteX116" fmla="*/ 857971 w 2010496"/>
              <a:gd name="connsiteY116" fmla="*/ 219075 h 1909402"/>
              <a:gd name="connsiteX117" fmla="*/ 943696 w 2010496"/>
              <a:gd name="connsiteY117" fmla="*/ 200025 h 1909402"/>
              <a:gd name="connsiteX118" fmla="*/ 857971 w 2010496"/>
              <a:gd name="connsiteY118" fmla="*/ 161925 h 1909402"/>
              <a:gd name="connsiteX119" fmla="*/ 819871 w 2010496"/>
              <a:gd name="connsiteY119" fmla="*/ 152400 h 1909402"/>
              <a:gd name="connsiteX120" fmla="*/ 762721 w 2010496"/>
              <a:gd name="connsiteY120" fmla="*/ 123825 h 1909402"/>
              <a:gd name="connsiteX121" fmla="*/ 667471 w 2010496"/>
              <a:gd name="connsiteY121" fmla="*/ 104775 h 1909402"/>
              <a:gd name="connsiteX122" fmla="*/ 638896 w 2010496"/>
              <a:gd name="connsiteY122" fmla="*/ 95250 h 1909402"/>
              <a:gd name="connsiteX123" fmla="*/ 572221 w 2010496"/>
              <a:gd name="connsiteY123" fmla="*/ 76200 h 1909402"/>
              <a:gd name="connsiteX124" fmla="*/ 734146 w 2010496"/>
              <a:gd name="connsiteY124" fmla="*/ 57150 h 1909402"/>
              <a:gd name="connsiteX125" fmla="*/ 886546 w 2010496"/>
              <a:gd name="connsiteY125" fmla="*/ 38100 h 1909402"/>
              <a:gd name="connsiteX126" fmla="*/ 943696 w 2010496"/>
              <a:gd name="connsiteY126" fmla="*/ 28575 h 1909402"/>
              <a:gd name="connsiteX127" fmla="*/ 1267546 w 2010496"/>
              <a:gd name="connsiteY127" fmla="*/ 28575 h 1909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Lst>
            <a:rect l="l" t="t" r="r" b="b"/>
            <a:pathLst>
              <a:path w="2010496" h="1909402">
                <a:moveTo>
                  <a:pt x="1096096" y="0"/>
                </a:moveTo>
                <a:cubicBezTo>
                  <a:pt x="1061171" y="3175"/>
                  <a:pt x="1025789" y="3062"/>
                  <a:pt x="991321" y="9525"/>
                </a:cubicBezTo>
                <a:cubicBezTo>
                  <a:pt x="899646" y="26714"/>
                  <a:pt x="980299" y="23183"/>
                  <a:pt x="915121" y="47625"/>
                </a:cubicBezTo>
                <a:cubicBezTo>
                  <a:pt x="899962" y="53309"/>
                  <a:pt x="883371" y="53975"/>
                  <a:pt x="867496" y="57150"/>
                </a:cubicBezTo>
                <a:cubicBezTo>
                  <a:pt x="857971" y="63500"/>
                  <a:pt x="847715" y="68871"/>
                  <a:pt x="838921" y="76200"/>
                </a:cubicBezTo>
                <a:cubicBezTo>
                  <a:pt x="828573" y="84824"/>
                  <a:pt x="822780" y="99594"/>
                  <a:pt x="810346" y="104775"/>
                </a:cubicBezTo>
                <a:cubicBezTo>
                  <a:pt x="783326" y="116033"/>
                  <a:pt x="753196" y="117475"/>
                  <a:pt x="724621" y="123825"/>
                </a:cubicBezTo>
                <a:cubicBezTo>
                  <a:pt x="711921" y="130175"/>
                  <a:pt x="698562" y="135350"/>
                  <a:pt x="686521" y="142875"/>
                </a:cubicBezTo>
                <a:cubicBezTo>
                  <a:pt x="673059" y="151289"/>
                  <a:pt x="662620" y="164350"/>
                  <a:pt x="648421" y="171450"/>
                </a:cubicBezTo>
                <a:cubicBezTo>
                  <a:pt x="636712" y="177304"/>
                  <a:pt x="623021" y="177800"/>
                  <a:pt x="610321" y="180975"/>
                </a:cubicBezTo>
                <a:cubicBezTo>
                  <a:pt x="597621" y="193675"/>
                  <a:pt x="585738" y="207248"/>
                  <a:pt x="572221" y="219075"/>
                </a:cubicBezTo>
                <a:cubicBezTo>
                  <a:pt x="550950" y="237687"/>
                  <a:pt x="510836" y="264055"/>
                  <a:pt x="486496" y="276225"/>
                </a:cubicBezTo>
                <a:cubicBezTo>
                  <a:pt x="477516" y="280715"/>
                  <a:pt x="466901" y="281260"/>
                  <a:pt x="457921" y="285750"/>
                </a:cubicBezTo>
                <a:cubicBezTo>
                  <a:pt x="427478" y="300971"/>
                  <a:pt x="397492" y="335561"/>
                  <a:pt x="372196" y="352425"/>
                </a:cubicBezTo>
                <a:cubicBezTo>
                  <a:pt x="363842" y="357994"/>
                  <a:pt x="352601" y="357460"/>
                  <a:pt x="343621" y="361950"/>
                </a:cubicBezTo>
                <a:cubicBezTo>
                  <a:pt x="333382" y="367070"/>
                  <a:pt x="324571" y="374650"/>
                  <a:pt x="315046" y="381000"/>
                </a:cubicBezTo>
                <a:cubicBezTo>
                  <a:pt x="335299" y="387751"/>
                  <a:pt x="438879" y="423657"/>
                  <a:pt x="467446" y="428625"/>
                </a:cubicBezTo>
                <a:cubicBezTo>
                  <a:pt x="529702" y="439452"/>
                  <a:pt x="644822" y="450173"/>
                  <a:pt x="715096" y="457200"/>
                </a:cubicBezTo>
                <a:cubicBezTo>
                  <a:pt x="743671" y="466725"/>
                  <a:pt x="771519" y="478798"/>
                  <a:pt x="800821" y="485775"/>
                </a:cubicBezTo>
                <a:cubicBezTo>
                  <a:pt x="882674" y="505264"/>
                  <a:pt x="946073" y="507404"/>
                  <a:pt x="1029421" y="514350"/>
                </a:cubicBezTo>
                <a:cubicBezTo>
                  <a:pt x="1139225" y="534314"/>
                  <a:pt x="1136943" y="531551"/>
                  <a:pt x="1248496" y="561975"/>
                </a:cubicBezTo>
                <a:cubicBezTo>
                  <a:pt x="1280476" y="570697"/>
                  <a:pt x="1311309" y="583721"/>
                  <a:pt x="1343746" y="590550"/>
                </a:cubicBezTo>
                <a:cubicBezTo>
                  <a:pt x="1371880" y="596473"/>
                  <a:pt x="1400896" y="596900"/>
                  <a:pt x="1429471" y="600075"/>
                </a:cubicBezTo>
                <a:cubicBezTo>
                  <a:pt x="1882094" y="706574"/>
                  <a:pt x="1336497" y="583273"/>
                  <a:pt x="1724746" y="657225"/>
                </a:cubicBezTo>
                <a:cubicBezTo>
                  <a:pt x="1747452" y="661550"/>
                  <a:pt x="1769698" y="668376"/>
                  <a:pt x="1791421" y="676275"/>
                </a:cubicBezTo>
                <a:cubicBezTo>
                  <a:pt x="1804765" y="681127"/>
                  <a:pt x="1815686" y="692132"/>
                  <a:pt x="1829521" y="695325"/>
                </a:cubicBezTo>
                <a:cubicBezTo>
                  <a:pt x="1857536" y="701790"/>
                  <a:pt x="1886671" y="701675"/>
                  <a:pt x="1915246" y="704850"/>
                </a:cubicBezTo>
                <a:cubicBezTo>
                  <a:pt x="1869806" y="723026"/>
                  <a:pt x="1852094" y="731990"/>
                  <a:pt x="1800946" y="742950"/>
                </a:cubicBezTo>
                <a:cubicBezTo>
                  <a:pt x="1778994" y="747654"/>
                  <a:pt x="1756286" y="748072"/>
                  <a:pt x="1734271" y="752475"/>
                </a:cubicBezTo>
                <a:cubicBezTo>
                  <a:pt x="1708598" y="757610"/>
                  <a:pt x="1684138" y="769081"/>
                  <a:pt x="1658071" y="771525"/>
                </a:cubicBezTo>
                <a:cubicBezTo>
                  <a:pt x="1582138" y="778644"/>
                  <a:pt x="1505671" y="777875"/>
                  <a:pt x="1429471" y="781050"/>
                </a:cubicBezTo>
                <a:cubicBezTo>
                  <a:pt x="1356446" y="787400"/>
                  <a:pt x="1283070" y="790538"/>
                  <a:pt x="1210396" y="800100"/>
                </a:cubicBezTo>
                <a:cubicBezTo>
                  <a:pt x="774242" y="857489"/>
                  <a:pt x="1317275" y="807862"/>
                  <a:pt x="953221" y="838200"/>
                </a:cubicBezTo>
                <a:cubicBezTo>
                  <a:pt x="911946" y="847725"/>
                  <a:pt x="870933" y="858468"/>
                  <a:pt x="829396" y="866775"/>
                </a:cubicBezTo>
                <a:cubicBezTo>
                  <a:pt x="732213" y="886212"/>
                  <a:pt x="713389" y="885996"/>
                  <a:pt x="619846" y="895350"/>
                </a:cubicBezTo>
                <a:cubicBezTo>
                  <a:pt x="580672" y="905143"/>
                  <a:pt x="516335" y="920329"/>
                  <a:pt x="476971" y="933450"/>
                </a:cubicBezTo>
                <a:cubicBezTo>
                  <a:pt x="460751" y="938857"/>
                  <a:pt x="444970" y="945556"/>
                  <a:pt x="429346" y="952500"/>
                </a:cubicBezTo>
                <a:cubicBezTo>
                  <a:pt x="416371" y="958267"/>
                  <a:pt x="404429" y="966277"/>
                  <a:pt x="391246" y="971550"/>
                </a:cubicBezTo>
                <a:cubicBezTo>
                  <a:pt x="372602" y="979008"/>
                  <a:pt x="334096" y="990600"/>
                  <a:pt x="334096" y="990600"/>
                </a:cubicBezTo>
                <a:lnTo>
                  <a:pt x="962746" y="1000125"/>
                </a:lnTo>
                <a:lnTo>
                  <a:pt x="1791421" y="1019175"/>
                </a:lnTo>
                <a:cubicBezTo>
                  <a:pt x="1808227" y="1019706"/>
                  <a:pt x="1901641" y="1033085"/>
                  <a:pt x="1924771" y="1038225"/>
                </a:cubicBezTo>
                <a:cubicBezTo>
                  <a:pt x="1967865" y="1047802"/>
                  <a:pt x="1940820" y="1046249"/>
                  <a:pt x="1981921" y="1066800"/>
                </a:cubicBezTo>
                <a:cubicBezTo>
                  <a:pt x="1990901" y="1071290"/>
                  <a:pt x="2000971" y="1073150"/>
                  <a:pt x="2010496" y="1076325"/>
                </a:cubicBezTo>
                <a:cubicBezTo>
                  <a:pt x="1991446" y="1089025"/>
                  <a:pt x="1974783" y="1106386"/>
                  <a:pt x="1953346" y="1114425"/>
                </a:cubicBezTo>
                <a:lnTo>
                  <a:pt x="1800946" y="1171575"/>
                </a:lnTo>
                <a:cubicBezTo>
                  <a:pt x="1766097" y="1184482"/>
                  <a:pt x="1731690" y="1198746"/>
                  <a:pt x="1696171" y="1209675"/>
                </a:cubicBezTo>
                <a:cubicBezTo>
                  <a:pt x="1654896" y="1222375"/>
                  <a:pt x="1612978" y="1233148"/>
                  <a:pt x="1572346" y="1247775"/>
                </a:cubicBezTo>
                <a:cubicBezTo>
                  <a:pt x="1533511" y="1261756"/>
                  <a:pt x="1497629" y="1283705"/>
                  <a:pt x="1458046" y="1295400"/>
                </a:cubicBezTo>
                <a:cubicBezTo>
                  <a:pt x="1357611" y="1325074"/>
                  <a:pt x="1249917" y="1331320"/>
                  <a:pt x="1153246" y="1371600"/>
                </a:cubicBezTo>
                <a:cubicBezTo>
                  <a:pt x="1042575" y="1417713"/>
                  <a:pt x="1038501" y="1422673"/>
                  <a:pt x="924646" y="1457325"/>
                </a:cubicBezTo>
                <a:cubicBezTo>
                  <a:pt x="890014" y="1467865"/>
                  <a:pt x="854214" y="1474452"/>
                  <a:pt x="819871" y="1485900"/>
                </a:cubicBezTo>
                <a:cubicBezTo>
                  <a:pt x="796932" y="1493546"/>
                  <a:pt x="775837" y="1505985"/>
                  <a:pt x="753196" y="1514475"/>
                </a:cubicBezTo>
                <a:cubicBezTo>
                  <a:pt x="724993" y="1525051"/>
                  <a:pt x="695584" y="1532237"/>
                  <a:pt x="667471" y="1543050"/>
                </a:cubicBezTo>
                <a:cubicBezTo>
                  <a:pt x="582028" y="1575913"/>
                  <a:pt x="680763" y="1551822"/>
                  <a:pt x="581746" y="1571625"/>
                </a:cubicBezTo>
                <a:cubicBezTo>
                  <a:pt x="569046" y="1581150"/>
                  <a:pt x="557845" y="1593100"/>
                  <a:pt x="543646" y="1600200"/>
                </a:cubicBezTo>
                <a:cubicBezTo>
                  <a:pt x="525685" y="1609180"/>
                  <a:pt x="486496" y="1619250"/>
                  <a:pt x="486496" y="1619250"/>
                </a:cubicBezTo>
                <a:cubicBezTo>
                  <a:pt x="648384" y="1637238"/>
                  <a:pt x="496517" y="1614302"/>
                  <a:pt x="657946" y="1657350"/>
                </a:cubicBezTo>
                <a:cubicBezTo>
                  <a:pt x="676607" y="1662326"/>
                  <a:pt x="696435" y="1661899"/>
                  <a:pt x="715096" y="1666875"/>
                </a:cubicBezTo>
                <a:cubicBezTo>
                  <a:pt x="744200" y="1674636"/>
                  <a:pt x="771418" y="1688916"/>
                  <a:pt x="800821" y="1695450"/>
                </a:cubicBezTo>
                <a:cubicBezTo>
                  <a:pt x="828887" y="1701687"/>
                  <a:pt x="857971" y="1701800"/>
                  <a:pt x="886546" y="1704975"/>
                </a:cubicBezTo>
                <a:cubicBezTo>
                  <a:pt x="967362" y="1725179"/>
                  <a:pt x="1015840" y="1739224"/>
                  <a:pt x="1096096" y="1752600"/>
                </a:cubicBezTo>
                <a:cubicBezTo>
                  <a:pt x="1178059" y="1766261"/>
                  <a:pt x="1224322" y="1763750"/>
                  <a:pt x="1315171" y="1771650"/>
                </a:cubicBezTo>
                <a:cubicBezTo>
                  <a:pt x="1340672" y="1773868"/>
                  <a:pt x="1365971" y="1778000"/>
                  <a:pt x="1391371" y="1781175"/>
                </a:cubicBezTo>
                <a:cubicBezTo>
                  <a:pt x="1413596" y="1787525"/>
                  <a:pt x="1435622" y="1794619"/>
                  <a:pt x="1458046" y="1800225"/>
                </a:cubicBezTo>
                <a:cubicBezTo>
                  <a:pt x="1473752" y="1804152"/>
                  <a:pt x="1490312" y="1804630"/>
                  <a:pt x="1505671" y="1809750"/>
                </a:cubicBezTo>
                <a:cubicBezTo>
                  <a:pt x="1519141" y="1814240"/>
                  <a:pt x="1530720" y="1823207"/>
                  <a:pt x="1543771" y="1828800"/>
                </a:cubicBezTo>
                <a:cubicBezTo>
                  <a:pt x="1598980" y="1852461"/>
                  <a:pt x="1546007" y="1820766"/>
                  <a:pt x="1600921" y="1857375"/>
                </a:cubicBezTo>
                <a:cubicBezTo>
                  <a:pt x="1382433" y="1944770"/>
                  <a:pt x="1503132" y="1903614"/>
                  <a:pt x="981796" y="1866900"/>
                </a:cubicBezTo>
                <a:cubicBezTo>
                  <a:pt x="944725" y="1864289"/>
                  <a:pt x="913335" y="1836694"/>
                  <a:pt x="877021" y="1828800"/>
                </a:cubicBezTo>
                <a:cubicBezTo>
                  <a:pt x="839662" y="1820678"/>
                  <a:pt x="800609" y="1824395"/>
                  <a:pt x="762721" y="1819275"/>
                </a:cubicBezTo>
                <a:cubicBezTo>
                  <a:pt x="683060" y="1808510"/>
                  <a:pt x="602580" y="1800671"/>
                  <a:pt x="524596" y="1781175"/>
                </a:cubicBezTo>
                <a:cubicBezTo>
                  <a:pt x="486496" y="1771650"/>
                  <a:pt x="449068" y="1758853"/>
                  <a:pt x="410296" y="1752600"/>
                </a:cubicBezTo>
                <a:cubicBezTo>
                  <a:pt x="317115" y="1737571"/>
                  <a:pt x="183410" y="1730489"/>
                  <a:pt x="86446" y="1724025"/>
                </a:cubicBezTo>
                <a:cubicBezTo>
                  <a:pt x="67396" y="1720850"/>
                  <a:pt x="48149" y="1718690"/>
                  <a:pt x="29296" y="1714500"/>
                </a:cubicBezTo>
                <a:cubicBezTo>
                  <a:pt x="19495" y="1712322"/>
                  <a:pt x="-4445" y="1713584"/>
                  <a:pt x="721" y="1704975"/>
                </a:cubicBezTo>
                <a:cubicBezTo>
                  <a:pt x="21488" y="1670364"/>
                  <a:pt x="82715" y="1661286"/>
                  <a:pt x="115021" y="1647825"/>
                </a:cubicBezTo>
                <a:cubicBezTo>
                  <a:pt x="210844" y="1607899"/>
                  <a:pt x="305468" y="1565153"/>
                  <a:pt x="400771" y="1524000"/>
                </a:cubicBezTo>
                <a:cubicBezTo>
                  <a:pt x="445169" y="1504828"/>
                  <a:pt x="491541" y="1489778"/>
                  <a:pt x="534121" y="1466850"/>
                </a:cubicBezTo>
                <a:cubicBezTo>
                  <a:pt x="575396" y="1444625"/>
                  <a:pt x="614674" y="1418205"/>
                  <a:pt x="657946" y="1400175"/>
                </a:cubicBezTo>
                <a:cubicBezTo>
                  <a:pt x="691362" y="1386252"/>
                  <a:pt x="728825" y="1384311"/>
                  <a:pt x="762721" y="1371600"/>
                </a:cubicBezTo>
                <a:cubicBezTo>
                  <a:pt x="805286" y="1355638"/>
                  <a:pt x="843420" y="1328825"/>
                  <a:pt x="886546" y="1314450"/>
                </a:cubicBezTo>
                <a:cubicBezTo>
                  <a:pt x="920222" y="1303225"/>
                  <a:pt x="956789" y="1303622"/>
                  <a:pt x="991321" y="1295400"/>
                </a:cubicBezTo>
                <a:cubicBezTo>
                  <a:pt x="1173969" y="1251912"/>
                  <a:pt x="1001707" y="1276254"/>
                  <a:pt x="1172296" y="1257300"/>
                </a:cubicBezTo>
                <a:cubicBezTo>
                  <a:pt x="1197696" y="1250950"/>
                  <a:pt x="1222534" y="1241636"/>
                  <a:pt x="1248496" y="1238250"/>
                </a:cubicBezTo>
                <a:cubicBezTo>
                  <a:pt x="1295826" y="1232077"/>
                  <a:pt x="1343792" y="1232531"/>
                  <a:pt x="1391371" y="1228725"/>
                </a:cubicBezTo>
                <a:cubicBezTo>
                  <a:pt x="1423178" y="1226180"/>
                  <a:pt x="1454871" y="1222375"/>
                  <a:pt x="1486621" y="1219200"/>
                </a:cubicBezTo>
                <a:lnTo>
                  <a:pt x="1124671" y="1200150"/>
                </a:lnTo>
                <a:cubicBezTo>
                  <a:pt x="1095999" y="1198026"/>
                  <a:pt x="1067521" y="1193800"/>
                  <a:pt x="1038946" y="1190625"/>
                </a:cubicBezTo>
                <a:cubicBezTo>
                  <a:pt x="1004021" y="1181100"/>
                  <a:pt x="969788" y="1168526"/>
                  <a:pt x="934171" y="1162050"/>
                </a:cubicBezTo>
                <a:cubicBezTo>
                  <a:pt x="899668" y="1155777"/>
                  <a:pt x="863250" y="1161675"/>
                  <a:pt x="829396" y="1152525"/>
                </a:cubicBezTo>
                <a:cubicBezTo>
                  <a:pt x="745066" y="1129733"/>
                  <a:pt x="667405" y="1083932"/>
                  <a:pt x="581746" y="1066800"/>
                </a:cubicBezTo>
                <a:cubicBezTo>
                  <a:pt x="549996" y="1060450"/>
                  <a:pt x="517629" y="1056645"/>
                  <a:pt x="486496" y="1047750"/>
                </a:cubicBezTo>
                <a:cubicBezTo>
                  <a:pt x="450763" y="1037541"/>
                  <a:pt x="417115" y="1020976"/>
                  <a:pt x="381721" y="1009650"/>
                </a:cubicBezTo>
                <a:cubicBezTo>
                  <a:pt x="337692" y="995561"/>
                  <a:pt x="248371" y="971550"/>
                  <a:pt x="248371" y="971550"/>
                </a:cubicBezTo>
                <a:cubicBezTo>
                  <a:pt x="241091" y="966697"/>
                  <a:pt x="181105" y="927469"/>
                  <a:pt x="181696" y="923925"/>
                </a:cubicBezTo>
                <a:cubicBezTo>
                  <a:pt x="184740" y="905664"/>
                  <a:pt x="211589" y="900670"/>
                  <a:pt x="229321" y="895350"/>
                </a:cubicBezTo>
                <a:cubicBezTo>
                  <a:pt x="825449" y="716512"/>
                  <a:pt x="480486" y="820799"/>
                  <a:pt x="762721" y="762000"/>
                </a:cubicBezTo>
                <a:cubicBezTo>
                  <a:pt x="804190" y="753361"/>
                  <a:pt x="844732" y="740206"/>
                  <a:pt x="886546" y="733425"/>
                </a:cubicBezTo>
                <a:cubicBezTo>
                  <a:pt x="962349" y="721133"/>
                  <a:pt x="1038946" y="714375"/>
                  <a:pt x="1115146" y="704850"/>
                </a:cubicBezTo>
                <a:cubicBezTo>
                  <a:pt x="1172296" y="688975"/>
                  <a:pt x="1227878" y="665613"/>
                  <a:pt x="1286596" y="657225"/>
                </a:cubicBezTo>
                <a:lnTo>
                  <a:pt x="1419946" y="638175"/>
                </a:lnTo>
                <a:cubicBezTo>
                  <a:pt x="1410421" y="628650"/>
                  <a:pt x="1403276" y="615903"/>
                  <a:pt x="1391371" y="609600"/>
                </a:cubicBezTo>
                <a:cubicBezTo>
                  <a:pt x="1209148" y="513129"/>
                  <a:pt x="1317096" y="584843"/>
                  <a:pt x="1172296" y="523875"/>
                </a:cubicBezTo>
                <a:cubicBezTo>
                  <a:pt x="1139580" y="510100"/>
                  <a:pt x="1110218" y="488887"/>
                  <a:pt x="1077046" y="476250"/>
                </a:cubicBezTo>
                <a:cubicBezTo>
                  <a:pt x="1043217" y="463363"/>
                  <a:pt x="1007079" y="457620"/>
                  <a:pt x="972271" y="447675"/>
                </a:cubicBezTo>
                <a:cubicBezTo>
                  <a:pt x="872544" y="419182"/>
                  <a:pt x="863192" y="410895"/>
                  <a:pt x="753196" y="390525"/>
                </a:cubicBezTo>
                <a:cubicBezTo>
                  <a:pt x="709045" y="382349"/>
                  <a:pt x="664451" y="376622"/>
                  <a:pt x="619846" y="371475"/>
                </a:cubicBezTo>
                <a:cubicBezTo>
                  <a:pt x="565201" y="365170"/>
                  <a:pt x="422384" y="356607"/>
                  <a:pt x="372196" y="352425"/>
                </a:cubicBezTo>
                <a:cubicBezTo>
                  <a:pt x="340398" y="349775"/>
                  <a:pt x="308636" y="346628"/>
                  <a:pt x="276946" y="342900"/>
                </a:cubicBezTo>
                <a:cubicBezTo>
                  <a:pt x="254649" y="340277"/>
                  <a:pt x="232644" y="335239"/>
                  <a:pt x="210271" y="333375"/>
                </a:cubicBezTo>
                <a:cubicBezTo>
                  <a:pt x="156389" y="328885"/>
                  <a:pt x="102321" y="327025"/>
                  <a:pt x="48346" y="323850"/>
                </a:cubicBezTo>
                <a:cubicBezTo>
                  <a:pt x="273391" y="305096"/>
                  <a:pt x="67641" y="323823"/>
                  <a:pt x="238846" y="304800"/>
                </a:cubicBezTo>
                <a:cubicBezTo>
                  <a:pt x="299133" y="298101"/>
                  <a:pt x="359695" y="293767"/>
                  <a:pt x="419821" y="285750"/>
                </a:cubicBezTo>
                <a:cubicBezTo>
                  <a:pt x="455007" y="281059"/>
                  <a:pt x="489455" y="271720"/>
                  <a:pt x="524596" y="266700"/>
                </a:cubicBezTo>
                <a:cubicBezTo>
                  <a:pt x="587046" y="257779"/>
                  <a:pt x="708117" y="251290"/>
                  <a:pt x="762721" y="247650"/>
                </a:cubicBezTo>
                <a:cubicBezTo>
                  <a:pt x="799168" y="235501"/>
                  <a:pt x="821983" y="226273"/>
                  <a:pt x="857971" y="219075"/>
                </a:cubicBezTo>
                <a:cubicBezTo>
                  <a:pt x="941788" y="202312"/>
                  <a:pt x="888084" y="218562"/>
                  <a:pt x="943696" y="200025"/>
                </a:cubicBezTo>
                <a:cubicBezTo>
                  <a:pt x="910503" y="183428"/>
                  <a:pt x="894456" y="174087"/>
                  <a:pt x="857971" y="161925"/>
                </a:cubicBezTo>
                <a:cubicBezTo>
                  <a:pt x="845552" y="157785"/>
                  <a:pt x="832026" y="157262"/>
                  <a:pt x="819871" y="152400"/>
                </a:cubicBezTo>
                <a:cubicBezTo>
                  <a:pt x="800096" y="144490"/>
                  <a:pt x="783050" y="130178"/>
                  <a:pt x="762721" y="123825"/>
                </a:cubicBezTo>
                <a:cubicBezTo>
                  <a:pt x="731816" y="114167"/>
                  <a:pt x="699021" y="112056"/>
                  <a:pt x="667471" y="104775"/>
                </a:cubicBezTo>
                <a:cubicBezTo>
                  <a:pt x="657688" y="102517"/>
                  <a:pt x="648550" y="98008"/>
                  <a:pt x="638896" y="95250"/>
                </a:cubicBezTo>
                <a:cubicBezTo>
                  <a:pt x="555175" y="71330"/>
                  <a:pt x="640734" y="99038"/>
                  <a:pt x="572221" y="76200"/>
                </a:cubicBezTo>
                <a:cubicBezTo>
                  <a:pt x="645108" y="51904"/>
                  <a:pt x="581746" y="70402"/>
                  <a:pt x="734146" y="57150"/>
                </a:cubicBezTo>
                <a:cubicBezTo>
                  <a:pt x="783155" y="52888"/>
                  <a:pt x="837503" y="45645"/>
                  <a:pt x="886546" y="38100"/>
                </a:cubicBezTo>
                <a:cubicBezTo>
                  <a:pt x="905634" y="35163"/>
                  <a:pt x="924389" y="29058"/>
                  <a:pt x="943696" y="28575"/>
                </a:cubicBezTo>
                <a:cubicBezTo>
                  <a:pt x="1051612" y="25877"/>
                  <a:pt x="1159596" y="28575"/>
                  <a:pt x="1267546" y="28575"/>
                </a:cubicBezTo>
              </a:path>
            </a:pathLst>
          </a:custGeom>
          <a:solidFill>
            <a:schemeClr val="bg2">
              <a:lumMod val="2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grpSp>
        <p:nvGrpSpPr>
          <p:cNvPr id="34" name="Group 33"/>
          <p:cNvGrpSpPr/>
          <p:nvPr/>
        </p:nvGrpSpPr>
        <p:grpSpPr>
          <a:xfrm>
            <a:off x="4546362" y="2456418"/>
            <a:ext cx="960323" cy="830179"/>
            <a:chOff x="4092230" y="2769611"/>
            <a:chExt cx="1280430" cy="1106905"/>
          </a:xfrm>
        </p:grpSpPr>
        <p:sp>
          <p:nvSpPr>
            <p:cNvPr id="29" name="Freeform 28"/>
            <p:cNvSpPr/>
            <p:nvPr/>
          </p:nvSpPr>
          <p:spPr>
            <a:xfrm>
              <a:off x="5281503" y="3307777"/>
              <a:ext cx="91157" cy="133738"/>
            </a:xfrm>
            <a:custGeom>
              <a:avLst/>
              <a:gdLst>
                <a:gd name="connsiteX0" fmla="*/ 53838 w 270896"/>
                <a:gd name="connsiteY0" fmla="*/ 0 h 264695"/>
                <a:gd name="connsiteX1" fmla="*/ 5712 w 270896"/>
                <a:gd name="connsiteY1" fmla="*/ 60158 h 264695"/>
                <a:gd name="connsiteX2" fmla="*/ 53838 w 270896"/>
                <a:gd name="connsiteY2" fmla="*/ 216569 h 264695"/>
                <a:gd name="connsiteX3" fmla="*/ 89933 w 270896"/>
                <a:gd name="connsiteY3" fmla="*/ 228600 h 264695"/>
                <a:gd name="connsiteX4" fmla="*/ 162122 w 270896"/>
                <a:gd name="connsiteY4" fmla="*/ 264695 h 264695"/>
                <a:gd name="connsiteX5" fmla="*/ 234312 w 270896"/>
                <a:gd name="connsiteY5" fmla="*/ 252663 h 264695"/>
                <a:gd name="connsiteX6" fmla="*/ 258375 w 270896"/>
                <a:gd name="connsiteY6" fmla="*/ 216569 h 264695"/>
                <a:gd name="connsiteX7" fmla="*/ 258375 w 270896"/>
                <a:gd name="connsiteY7" fmla="*/ 36095 h 264695"/>
                <a:gd name="connsiteX8" fmla="*/ 186185 w 270896"/>
                <a:gd name="connsiteY8" fmla="*/ 0 h 264695"/>
                <a:gd name="connsiteX9" fmla="*/ 53838 w 270896"/>
                <a:gd name="connsiteY9" fmla="*/ 0 h 264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0896" h="264695">
                  <a:moveTo>
                    <a:pt x="53838" y="0"/>
                  </a:moveTo>
                  <a:cubicBezTo>
                    <a:pt x="37796" y="20053"/>
                    <a:pt x="10748" y="34977"/>
                    <a:pt x="5712" y="60158"/>
                  </a:cubicBezTo>
                  <a:cubicBezTo>
                    <a:pt x="-7893" y="128181"/>
                    <a:pt x="780" y="181197"/>
                    <a:pt x="53838" y="216569"/>
                  </a:cubicBezTo>
                  <a:cubicBezTo>
                    <a:pt x="64390" y="223604"/>
                    <a:pt x="77901" y="224590"/>
                    <a:pt x="89933" y="228600"/>
                  </a:cubicBezTo>
                  <a:cubicBezTo>
                    <a:pt x="108182" y="240766"/>
                    <a:pt x="137216" y="264695"/>
                    <a:pt x="162122" y="264695"/>
                  </a:cubicBezTo>
                  <a:cubicBezTo>
                    <a:pt x="186517" y="264695"/>
                    <a:pt x="210249" y="256674"/>
                    <a:pt x="234312" y="252663"/>
                  </a:cubicBezTo>
                  <a:cubicBezTo>
                    <a:pt x="242333" y="240632"/>
                    <a:pt x="253802" y="230287"/>
                    <a:pt x="258375" y="216569"/>
                  </a:cubicBezTo>
                  <a:cubicBezTo>
                    <a:pt x="275017" y="166642"/>
                    <a:pt x="275123" y="82153"/>
                    <a:pt x="258375" y="36095"/>
                  </a:cubicBezTo>
                  <a:cubicBezTo>
                    <a:pt x="251941" y="18402"/>
                    <a:pt x="200728" y="4848"/>
                    <a:pt x="186185" y="0"/>
                  </a:cubicBezTo>
                  <a:lnTo>
                    <a:pt x="53838" y="0"/>
                  </a:ln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33" name="Freeform 32"/>
            <p:cNvSpPr/>
            <p:nvPr/>
          </p:nvSpPr>
          <p:spPr>
            <a:xfrm>
              <a:off x="4092230" y="2769611"/>
              <a:ext cx="1082877" cy="1106905"/>
            </a:xfrm>
            <a:custGeom>
              <a:avLst/>
              <a:gdLst>
                <a:gd name="connsiteX0" fmla="*/ 962526 w 1082877"/>
                <a:gd name="connsiteY0" fmla="*/ 613610 h 1106905"/>
                <a:gd name="connsiteX1" fmla="*/ 974558 w 1082877"/>
                <a:gd name="connsiteY1" fmla="*/ 445168 h 1106905"/>
                <a:gd name="connsiteX2" fmla="*/ 962526 w 1082877"/>
                <a:gd name="connsiteY2" fmla="*/ 553452 h 1106905"/>
                <a:gd name="connsiteX3" fmla="*/ 950495 w 1082877"/>
                <a:gd name="connsiteY3" fmla="*/ 601579 h 1106905"/>
                <a:gd name="connsiteX4" fmla="*/ 878305 w 1082877"/>
                <a:gd name="connsiteY4" fmla="*/ 589547 h 1106905"/>
                <a:gd name="connsiteX5" fmla="*/ 902368 w 1082877"/>
                <a:gd name="connsiteY5" fmla="*/ 421105 h 1106905"/>
                <a:gd name="connsiteX6" fmla="*/ 926432 w 1082877"/>
                <a:gd name="connsiteY6" fmla="*/ 397042 h 1106905"/>
                <a:gd name="connsiteX7" fmla="*/ 926432 w 1082877"/>
                <a:gd name="connsiteY7" fmla="*/ 613610 h 1106905"/>
                <a:gd name="connsiteX8" fmla="*/ 938463 w 1082877"/>
                <a:gd name="connsiteY8" fmla="*/ 649705 h 1106905"/>
                <a:gd name="connsiteX9" fmla="*/ 866274 w 1082877"/>
                <a:gd name="connsiteY9" fmla="*/ 613610 h 1106905"/>
                <a:gd name="connsiteX10" fmla="*/ 878305 w 1082877"/>
                <a:gd name="connsiteY10" fmla="*/ 457200 h 1106905"/>
                <a:gd name="connsiteX11" fmla="*/ 842210 w 1082877"/>
                <a:gd name="connsiteY11" fmla="*/ 577515 h 1106905"/>
                <a:gd name="connsiteX12" fmla="*/ 854242 w 1082877"/>
                <a:gd name="connsiteY12" fmla="*/ 673768 h 1106905"/>
                <a:gd name="connsiteX13" fmla="*/ 866274 w 1082877"/>
                <a:gd name="connsiteY13" fmla="*/ 372979 h 1106905"/>
                <a:gd name="connsiteX14" fmla="*/ 878305 w 1082877"/>
                <a:gd name="connsiteY14" fmla="*/ 336884 h 1106905"/>
                <a:gd name="connsiteX15" fmla="*/ 866274 w 1082877"/>
                <a:gd name="connsiteY15" fmla="*/ 397042 h 1106905"/>
                <a:gd name="connsiteX16" fmla="*/ 842210 w 1082877"/>
                <a:gd name="connsiteY16" fmla="*/ 469231 h 1106905"/>
                <a:gd name="connsiteX17" fmla="*/ 830179 w 1082877"/>
                <a:gd name="connsiteY17" fmla="*/ 685800 h 1106905"/>
                <a:gd name="connsiteX18" fmla="*/ 806116 w 1082877"/>
                <a:gd name="connsiteY18" fmla="*/ 372979 h 1106905"/>
                <a:gd name="connsiteX19" fmla="*/ 782053 w 1082877"/>
                <a:gd name="connsiteY19" fmla="*/ 421105 h 1106905"/>
                <a:gd name="connsiteX20" fmla="*/ 745958 w 1082877"/>
                <a:gd name="connsiteY20" fmla="*/ 529389 h 1106905"/>
                <a:gd name="connsiteX21" fmla="*/ 733926 w 1082877"/>
                <a:gd name="connsiteY21" fmla="*/ 565484 h 1106905"/>
                <a:gd name="connsiteX22" fmla="*/ 745958 w 1082877"/>
                <a:gd name="connsiteY22" fmla="*/ 697831 h 1106905"/>
                <a:gd name="connsiteX23" fmla="*/ 770021 w 1082877"/>
                <a:gd name="connsiteY23" fmla="*/ 649705 h 1106905"/>
                <a:gd name="connsiteX24" fmla="*/ 782053 w 1082877"/>
                <a:gd name="connsiteY24" fmla="*/ 445168 h 1106905"/>
                <a:gd name="connsiteX25" fmla="*/ 818147 w 1082877"/>
                <a:gd name="connsiteY25" fmla="*/ 300789 h 1106905"/>
                <a:gd name="connsiteX26" fmla="*/ 854242 w 1082877"/>
                <a:gd name="connsiteY26" fmla="*/ 276726 h 1106905"/>
                <a:gd name="connsiteX27" fmla="*/ 842210 w 1082877"/>
                <a:gd name="connsiteY27" fmla="*/ 312821 h 1106905"/>
                <a:gd name="connsiteX28" fmla="*/ 782053 w 1082877"/>
                <a:gd name="connsiteY28" fmla="*/ 385010 h 1106905"/>
                <a:gd name="connsiteX29" fmla="*/ 757989 w 1082877"/>
                <a:gd name="connsiteY29" fmla="*/ 445168 h 1106905"/>
                <a:gd name="connsiteX30" fmla="*/ 733926 w 1082877"/>
                <a:gd name="connsiteY30" fmla="*/ 493294 h 1106905"/>
                <a:gd name="connsiteX31" fmla="*/ 721895 w 1082877"/>
                <a:gd name="connsiteY31" fmla="*/ 529389 h 1106905"/>
                <a:gd name="connsiteX32" fmla="*/ 685800 w 1082877"/>
                <a:gd name="connsiteY32" fmla="*/ 613610 h 1106905"/>
                <a:gd name="connsiteX33" fmla="*/ 685800 w 1082877"/>
                <a:gd name="connsiteY33" fmla="*/ 818147 h 1106905"/>
                <a:gd name="connsiteX34" fmla="*/ 697832 w 1082877"/>
                <a:gd name="connsiteY34" fmla="*/ 782052 h 1106905"/>
                <a:gd name="connsiteX35" fmla="*/ 709863 w 1082877"/>
                <a:gd name="connsiteY35" fmla="*/ 372979 h 1106905"/>
                <a:gd name="connsiteX36" fmla="*/ 721895 w 1082877"/>
                <a:gd name="connsiteY36" fmla="*/ 324852 h 1106905"/>
                <a:gd name="connsiteX37" fmla="*/ 697832 w 1082877"/>
                <a:gd name="connsiteY37" fmla="*/ 397042 h 1106905"/>
                <a:gd name="connsiteX38" fmla="*/ 673768 w 1082877"/>
                <a:gd name="connsiteY38" fmla="*/ 481263 h 1106905"/>
                <a:gd name="connsiteX39" fmla="*/ 661737 w 1082877"/>
                <a:gd name="connsiteY39" fmla="*/ 553452 h 1106905"/>
                <a:gd name="connsiteX40" fmla="*/ 649705 w 1082877"/>
                <a:gd name="connsiteY40" fmla="*/ 733926 h 1106905"/>
                <a:gd name="connsiteX41" fmla="*/ 661737 w 1082877"/>
                <a:gd name="connsiteY41" fmla="*/ 457200 h 1106905"/>
                <a:gd name="connsiteX42" fmla="*/ 649705 w 1082877"/>
                <a:gd name="connsiteY42" fmla="*/ 409073 h 1106905"/>
                <a:gd name="connsiteX43" fmla="*/ 613610 w 1082877"/>
                <a:gd name="connsiteY43" fmla="*/ 469231 h 1106905"/>
                <a:gd name="connsiteX44" fmla="*/ 565484 w 1082877"/>
                <a:gd name="connsiteY44" fmla="*/ 565484 h 1106905"/>
                <a:gd name="connsiteX45" fmla="*/ 577516 w 1082877"/>
                <a:gd name="connsiteY45" fmla="*/ 300789 h 1106905"/>
                <a:gd name="connsiteX46" fmla="*/ 589547 w 1082877"/>
                <a:gd name="connsiteY46" fmla="*/ 264694 h 1106905"/>
                <a:gd name="connsiteX47" fmla="*/ 625642 w 1082877"/>
                <a:gd name="connsiteY47" fmla="*/ 228600 h 1106905"/>
                <a:gd name="connsiteX48" fmla="*/ 697832 w 1082877"/>
                <a:gd name="connsiteY48" fmla="*/ 180473 h 1106905"/>
                <a:gd name="connsiteX49" fmla="*/ 637674 w 1082877"/>
                <a:gd name="connsiteY49" fmla="*/ 264694 h 1106905"/>
                <a:gd name="connsiteX50" fmla="*/ 577516 w 1082877"/>
                <a:gd name="connsiteY50" fmla="*/ 324852 h 1106905"/>
                <a:gd name="connsiteX51" fmla="*/ 517358 w 1082877"/>
                <a:gd name="connsiteY51" fmla="*/ 433136 h 1106905"/>
                <a:gd name="connsiteX52" fmla="*/ 481263 w 1082877"/>
                <a:gd name="connsiteY52" fmla="*/ 481263 h 1106905"/>
                <a:gd name="connsiteX53" fmla="*/ 457200 w 1082877"/>
                <a:gd name="connsiteY53" fmla="*/ 577515 h 1106905"/>
                <a:gd name="connsiteX54" fmla="*/ 445168 w 1082877"/>
                <a:gd name="connsiteY54" fmla="*/ 613610 h 1106905"/>
                <a:gd name="connsiteX55" fmla="*/ 493295 w 1082877"/>
                <a:gd name="connsiteY55" fmla="*/ 324852 h 1106905"/>
                <a:gd name="connsiteX56" fmla="*/ 529389 w 1082877"/>
                <a:gd name="connsiteY56" fmla="*/ 312821 h 1106905"/>
                <a:gd name="connsiteX57" fmla="*/ 493295 w 1082877"/>
                <a:gd name="connsiteY57" fmla="*/ 397042 h 1106905"/>
                <a:gd name="connsiteX58" fmla="*/ 469232 w 1082877"/>
                <a:gd name="connsiteY58" fmla="*/ 469231 h 1106905"/>
                <a:gd name="connsiteX59" fmla="*/ 445168 w 1082877"/>
                <a:gd name="connsiteY59" fmla="*/ 517358 h 1106905"/>
                <a:gd name="connsiteX60" fmla="*/ 409074 w 1082877"/>
                <a:gd name="connsiteY60" fmla="*/ 613610 h 1106905"/>
                <a:gd name="connsiteX61" fmla="*/ 421105 w 1082877"/>
                <a:gd name="connsiteY61" fmla="*/ 505326 h 1106905"/>
                <a:gd name="connsiteX62" fmla="*/ 433137 w 1082877"/>
                <a:gd name="connsiteY62" fmla="*/ 469231 h 1106905"/>
                <a:gd name="connsiteX63" fmla="*/ 445168 w 1082877"/>
                <a:gd name="connsiteY63" fmla="*/ 372979 h 1106905"/>
                <a:gd name="connsiteX64" fmla="*/ 553453 w 1082877"/>
                <a:gd name="connsiteY64" fmla="*/ 240631 h 1106905"/>
                <a:gd name="connsiteX65" fmla="*/ 577516 w 1082877"/>
                <a:gd name="connsiteY65" fmla="*/ 204536 h 1106905"/>
                <a:gd name="connsiteX66" fmla="*/ 649705 w 1082877"/>
                <a:gd name="connsiteY66" fmla="*/ 168442 h 1106905"/>
                <a:gd name="connsiteX67" fmla="*/ 529389 w 1082877"/>
                <a:gd name="connsiteY67" fmla="*/ 216568 h 1106905"/>
                <a:gd name="connsiteX68" fmla="*/ 469232 w 1082877"/>
                <a:gd name="connsiteY68" fmla="*/ 252663 h 1106905"/>
                <a:gd name="connsiteX69" fmla="*/ 397042 w 1082877"/>
                <a:gd name="connsiteY69" fmla="*/ 312821 h 1106905"/>
                <a:gd name="connsiteX70" fmla="*/ 372979 w 1082877"/>
                <a:gd name="connsiteY70" fmla="*/ 348915 h 1106905"/>
                <a:gd name="connsiteX71" fmla="*/ 348916 w 1082877"/>
                <a:gd name="connsiteY71" fmla="*/ 372979 h 1106905"/>
                <a:gd name="connsiteX72" fmla="*/ 288758 w 1082877"/>
                <a:gd name="connsiteY72" fmla="*/ 469231 h 1106905"/>
                <a:gd name="connsiteX73" fmla="*/ 264695 w 1082877"/>
                <a:gd name="connsiteY73" fmla="*/ 589547 h 1106905"/>
                <a:gd name="connsiteX74" fmla="*/ 276726 w 1082877"/>
                <a:gd name="connsiteY74" fmla="*/ 733926 h 1106905"/>
                <a:gd name="connsiteX75" fmla="*/ 288758 w 1082877"/>
                <a:gd name="connsiteY75" fmla="*/ 770021 h 1106905"/>
                <a:gd name="connsiteX76" fmla="*/ 300789 w 1082877"/>
                <a:gd name="connsiteY76" fmla="*/ 733926 h 1106905"/>
                <a:gd name="connsiteX77" fmla="*/ 312821 w 1082877"/>
                <a:gd name="connsiteY77" fmla="*/ 565484 h 1106905"/>
                <a:gd name="connsiteX78" fmla="*/ 336884 w 1082877"/>
                <a:gd name="connsiteY78" fmla="*/ 481263 h 1106905"/>
                <a:gd name="connsiteX79" fmla="*/ 372979 w 1082877"/>
                <a:gd name="connsiteY79" fmla="*/ 312821 h 1106905"/>
                <a:gd name="connsiteX80" fmla="*/ 433137 w 1082877"/>
                <a:gd name="connsiteY80" fmla="*/ 204536 h 1106905"/>
                <a:gd name="connsiteX81" fmla="*/ 553453 w 1082877"/>
                <a:gd name="connsiteY81" fmla="*/ 192505 h 1106905"/>
                <a:gd name="connsiteX82" fmla="*/ 481263 w 1082877"/>
                <a:gd name="connsiteY82" fmla="*/ 276726 h 1106905"/>
                <a:gd name="connsiteX83" fmla="*/ 445168 w 1082877"/>
                <a:gd name="connsiteY83" fmla="*/ 336884 h 1106905"/>
                <a:gd name="connsiteX84" fmla="*/ 385010 w 1082877"/>
                <a:gd name="connsiteY84" fmla="*/ 409073 h 1106905"/>
                <a:gd name="connsiteX85" fmla="*/ 360947 w 1082877"/>
                <a:gd name="connsiteY85" fmla="*/ 469231 h 1106905"/>
                <a:gd name="connsiteX86" fmla="*/ 336884 w 1082877"/>
                <a:gd name="connsiteY86" fmla="*/ 517358 h 1106905"/>
                <a:gd name="connsiteX87" fmla="*/ 312821 w 1082877"/>
                <a:gd name="connsiteY87" fmla="*/ 637673 h 1106905"/>
                <a:gd name="connsiteX88" fmla="*/ 324853 w 1082877"/>
                <a:gd name="connsiteY88" fmla="*/ 902368 h 1106905"/>
                <a:gd name="connsiteX89" fmla="*/ 336884 w 1082877"/>
                <a:gd name="connsiteY89" fmla="*/ 950494 h 1106905"/>
                <a:gd name="connsiteX90" fmla="*/ 348916 w 1082877"/>
                <a:gd name="connsiteY90" fmla="*/ 866273 h 1106905"/>
                <a:gd name="connsiteX91" fmla="*/ 360947 w 1082877"/>
                <a:gd name="connsiteY91" fmla="*/ 565484 h 1106905"/>
                <a:gd name="connsiteX92" fmla="*/ 372979 w 1082877"/>
                <a:gd name="connsiteY92" fmla="*/ 493294 h 1106905"/>
                <a:gd name="connsiteX93" fmla="*/ 397042 w 1082877"/>
                <a:gd name="connsiteY93" fmla="*/ 288758 h 1106905"/>
                <a:gd name="connsiteX94" fmla="*/ 409074 w 1082877"/>
                <a:gd name="connsiteY94" fmla="*/ 252663 h 1106905"/>
                <a:gd name="connsiteX95" fmla="*/ 445168 w 1082877"/>
                <a:gd name="connsiteY95" fmla="*/ 228600 h 1106905"/>
                <a:gd name="connsiteX96" fmla="*/ 505326 w 1082877"/>
                <a:gd name="connsiteY96" fmla="*/ 192505 h 1106905"/>
                <a:gd name="connsiteX97" fmla="*/ 601579 w 1082877"/>
                <a:gd name="connsiteY97" fmla="*/ 204536 h 1106905"/>
                <a:gd name="connsiteX98" fmla="*/ 541421 w 1082877"/>
                <a:gd name="connsiteY98" fmla="*/ 264694 h 1106905"/>
                <a:gd name="connsiteX99" fmla="*/ 481263 w 1082877"/>
                <a:gd name="connsiteY99" fmla="*/ 348915 h 1106905"/>
                <a:gd name="connsiteX100" fmla="*/ 469232 w 1082877"/>
                <a:gd name="connsiteY100" fmla="*/ 385010 h 1106905"/>
                <a:gd name="connsiteX101" fmla="*/ 397042 w 1082877"/>
                <a:gd name="connsiteY101" fmla="*/ 481263 h 1106905"/>
                <a:gd name="connsiteX102" fmla="*/ 348916 w 1082877"/>
                <a:gd name="connsiteY102" fmla="*/ 577515 h 1106905"/>
                <a:gd name="connsiteX103" fmla="*/ 336884 w 1082877"/>
                <a:gd name="connsiteY103" fmla="*/ 637673 h 1106905"/>
                <a:gd name="connsiteX104" fmla="*/ 312821 w 1082877"/>
                <a:gd name="connsiteY104" fmla="*/ 709863 h 1106905"/>
                <a:gd name="connsiteX105" fmla="*/ 300789 w 1082877"/>
                <a:gd name="connsiteY105" fmla="*/ 878305 h 1106905"/>
                <a:gd name="connsiteX106" fmla="*/ 312821 w 1082877"/>
                <a:gd name="connsiteY106" fmla="*/ 96252 h 1106905"/>
                <a:gd name="connsiteX107" fmla="*/ 348916 w 1082877"/>
                <a:gd name="connsiteY107" fmla="*/ 60158 h 1106905"/>
                <a:gd name="connsiteX108" fmla="*/ 397042 w 1082877"/>
                <a:gd name="connsiteY108" fmla="*/ 36094 h 1106905"/>
                <a:gd name="connsiteX109" fmla="*/ 469232 w 1082877"/>
                <a:gd name="connsiteY109" fmla="*/ 0 h 1106905"/>
                <a:gd name="connsiteX110" fmla="*/ 505326 w 1082877"/>
                <a:gd name="connsiteY110" fmla="*/ 24063 h 1106905"/>
                <a:gd name="connsiteX111" fmla="*/ 457200 w 1082877"/>
                <a:gd name="connsiteY111" fmla="*/ 168442 h 1106905"/>
                <a:gd name="connsiteX112" fmla="*/ 433137 w 1082877"/>
                <a:gd name="connsiteY112" fmla="*/ 300789 h 1106905"/>
                <a:gd name="connsiteX113" fmla="*/ 409074 w 1082877"/>
                <a:gd name="connsiteY113" fmla="*/ 336884 h 1106905"/>
                <a:gd name="connsiteX114" fmla="*/ 397042 w 1082877"/>
                <a:gd name="connsiteY114" fmla="*/ 397042 h 1106905"/>
                <a:gd name="connsiteX115" fmla="*/ 385010 w 1082877"/>
                <a:gd name="connsiteY115" fmla="*/ 481263 h 1106905"/>
                <a:gd name="connsiteX116" fmla="*/ 360947 w 1082877"/>
                <a:gd name="connsiteY116" fmla="*/ 553452 h 1106905"/>
                <a:gd name="connsiteX117" fmla="*/ 336884 w 1082877"/>
                <a:gd name="connsiteY117" fmla="*/ 649705 h 1106905"/>
                <a:gd name="connsiteX118" fmla="*/ 348916 w 1082877"/>
                <a:gd name="connsiteY118" fmla="*/ 733926 h 1106905"/>
                <a:gd name="connsiteX119" fmla="*/ 360947 w 1082877"/>
                <a:gd name="connsiteY119" fmla="*/ 697831 h 1106905"/>
                <a:gd name="connsiteX120" fmla="*/ 385010 w 1082877"/>
                <a:gd name="connsiteY120" fmla="*/ 649705 h 1106905"/>
                <a:gd name="connsiteX121" fmla="*/ 409074 w 1082877"/>
                <a:gd name="connsiteY121" fmla="*/ 529389 h 1106905"/>
                <a:gd name="connsiteX122" fmla="*/ 421105 w 1082877"/>
                <a:gd name="connsiteY122" fmla="*/ 481263 h 1106905"/>
                <a:gd name="connsiteX123" fmla="*/ 457200 w 1082877"/>
                <a:gd name="connsiteY123" fmla="*/ 348915 h 1106905"/>
                <a:gd name="connsiteX124" fmla="*/ 517358 w 1082877"/>
                <a:gd name="connsiteY124" fmla="*/ 276726 h 1106905"/>
                <a:gd name="connsiteX125" fmla="*/ 541421 w 1082877"/>
                <a:gd name="connsiteY125" fmla="*/ 240631 h 1106905"/>
                <a:gd name="connsiteX126" fmla="*/ 493295 w 1082877"/>
                <a:gd name="connsiteY126" fmla="*/ 264694 h 1106905"/>
                <a:gd name="connsiteX127" fmla="*/ 469232 w 1082877"/>
                <a:gd name="connsiteY127" fmla="*/ 300789 h 1106905"/>
                <a:gd name="connsiteX128" fmla="*/ 409074 w 1082877"/>
                <a:gd name="connsiteY128" fmla="*/ 372979 h 1106905"/>
                <a:gd name="connsiteX129" fmla="*/ 385010 w 1082877"/>
                <a:gd name="connsiteY129" fmla="*/ 421105 h 1106905"/>
                <a:gd name="connsiteX130" fmla="*/ 360947 w 1082877"/>
                <a:gd name="connsiteY130" fmla="*/ 457200 h 1106905"/>
                <a:gd name="connsiteX131" fmla="*/ 348916 w 1082877"/>
                <a:gd name="connsiteY131" fmla="*/ 505326 h 1106905"/>
                <a:gd name="connsiteX132" fmla="*/ 312821 w 1082877"/>
                <a:gd name="connsiteY132" fmla="*/ 625642 h 1106905"/>
                <a:gd name="connsiteX133" fmla="*/ 300789 w 1082877"/>
                <a:gd name="connsiteY133" fmla="*/ 709863 h 1106905"/>
                <a:gd name="connsiteX134" fmla="*/ 312821 w 1082877"/>
                <a:gd name="connsiteY134" fmla="*/ 216568 h 1106905"/>
                <a:gd name="connsiteX135" fmla="*/ 348916 w 1082877"/>
                <a:gd name="connsiteY135" fmla="*/ 144379 h 1106905"/>
                <a:gd name="connsiteX136" fmla="*/ 372979 w 1082877"/>
                <a:gd name="connsiteY136" fmla="*/ 120315 h 1106905"/>
                <a:gd name="connsiteX137" fmla="*/ 445168 w 1082877"/>
                <a:gd name="connsiteY137" fmla="*/ 96252 h 1106905"/>
                <a:gd name="connsiteX138" fmla="*/ 421105 w 1082877"/>
                <a:gd name="connsiteY138" fmla="*/ 156410 h 1106905"/>
                <a:gd name="connsiteX139" fmla="*/ 360947 w 1082877"/>
                <a:gd name="connsiteY139" fmla="*/ 228600 h 1106905"/>
                <a:gd name="connsiteX140" fmla="*/ 336884 w 1082877"/>
                <a:gd name="connsiteY140" fmla="*/ 288758 h 1106905"/>
                <a:gd name="connsiteX141" fmla="*/ 312821 w 1082877"/>
                <a:gd name="connsiteY141" fmla="*/ 324852 h 1106905"/>
                <a:gd name="connsiteX142" fmla="*/ 216568 w 1082877"/>
                <a:gd name="connsiteY142" fmla="*/ 433136 h 1106905"/>
                <a:gd name="connsiteX143" fmla="*/ 180474 w 1082877"/>
                <a:gd name="connsiteY143" fmla="*/ 505326 h 1106905"/>
                <a:gd name="connsiteX144" fmla="*/ 120316 w 1082877"/>
                <a:gd name="connsiteY144" fmla="*/ 613610 h 1106905"/>
                <a:gd name="connsiteX145" fmla="*/ 96253 w 1082877"/>
                <a:gd name="connsiteY145" fmla="*/ 697831 h 1106905"/>
                <a:gd name="connsiteX146" fmla="*/ 108284 w 1082877"/>
                <a:gd name="connsiteY146" fmla="*/ 757989 h 1106905"/>
                <a:gd name="connsiteX147" fmla="*/ 120316 w 1082877"/>
                <a:gd name="connsiteY147" fmla="*/ 505326 h 1106905"/>
                <a:gd name="connsiteX148" fmla="*/ 132347 w 1082877"/>
                <a:gd name="connsiteY148" fmla="*/ 457200 h 1106905"/>
                <a:gd name="connsiteX149" fmla="*/ 144379 w 1082877"/>
                <a:gd name="connsiteY149" fmla="*/ 372979 h 1106905"/>
                <a:gd name="connsiteX150" fmla="*/ 156410 w 1082877"/>
                <a:gd name="connsiteY150" fmla="*/ 276726 h 1106905"/>
                <a:gd name="connsiteX151" fmla="*/ 204537 w 1082877"/>
                <a:gd name="connsiteY151" fmla="*/ 204536 h 1106905"/>
                <a:gd name="connsiteX152" fmla="*/ 216568 w 1082877"/>
                <a:gd name="connsiteY152" fmla="*/ 168442 h 1106905"/>
                <a:gd name="connsiteX153" fmla="*/ 288758 w 1082877"/>
                <a:gd name="connsiteY153" fmla="*/ 132347 h 1106905"/>
                <a:gd name="connsiteX154" fmla="*/ 372979 w 1082877"/>
                <a:gd name="connsiteY154" fmla="*/ 96252 h 1106905"/>
                <a:gd name="connsiteX155" fmla="*/ 348916 w 1082877"/>
                <a:gd name="connsiteY155" fmla="*/ 156410 h 1106905"/>
                <a:gd name="connsiteX156" fmla="*/ 324853 w 1082877"/>
                <a:gd name="connsiteY156" fmla="*/ 192505 h 1106905"/>
                <a:gd name="connsiteX157" fmla="*/ 300789 w 1082877"/>
                <a:gd name="connsiteY157" fmla="*/ 240631 h 1106905"/>
                <a:gd name="connsiteX158" fmla="*/ 288758 w 1082877"/>
                <a:gd name="connsiteY158" fmla="*/ 288758 h 1106905"/>
                <a:gd name="connsiteX159" fmla="*/ 252663 w 1082877"/>
                <a:gd name="connsiteY159" fmla="*/ 312821 h 1106905"/>
                <a:gd name="connsiteX160" fmla="*/ 192505 w 1082877"/>
                <a:gd name="connsiteY160" fmla="*/ 469231 h 1106905"/>
                <a:gd name="connsiteX161" fmla="*/ 168442 w 1082877"/>
                <a:gd name="connsiteY161" fmla="*/ 529389 h 1106905"/>
                <a:gd name="connsiteX162" fmla="*/ 180474 w 1082877"/>
                <a:gd name="connsiteY162" fmla="*/ 842210 h 1106905"/>
                <a:gd name="connsiteX163" fmla="*/ 228600 w 1082877"/>
                <a:gd name="connsiteY163" fmla="*/ 914400 h 1106905"/>
                <a:gd name="connsiteX164" fmla="*/ 252663 w 1082877"/>
                <a:gd name="connsiteY164" fmla="*/ 950494 h 1106905"/>
                <a:gd name="connsiteX165" fmla="*/ 240632 w 1082877"/>
                <a:gd name="connsiteY165" fmla="*/ 914400 h 1106905"/>
                <a:gd name="connsiteX166" fmla="*/ 228600 w 1082877"/>
                <a:gd name="connsiteY166" fmla="*/ 866273 h 1106905"/>
                <a:gd name="connsiteX167" fmla="*/ 192505 w 1082877"/>
                <a:gd name="connsiteY167" fmla="*/ 745958 h 1106905"/>
                <a:gd name="connsiteX168" fmla="*/ 228600 w 1082877"/>
                <a:gd name="connsiteY168" fmla="*/ 336884 h 1106905"/>
                <a:gd name="connsiteX169" fmla="*/ 240632 w 1082877"/>
                <a:gd name="connsiteY169" fmla="*/ 300789 h 1106905"/>
                <a:gd name="connsiteX170" fmla="*/ 336884 w 1082877"/>
                <a:gd name="connsiteY170" fmla="*/ 192505 h 1106905"/>
                <a:gd name="connsiteX171" fmla="*/ 372979 w 1082877"/>
                <a:gd name="connsiteY171" fmla="*/ 156410 h 1106905"/>
                <a:gd name="connsiteX172" fmla="*/ 300789 w 1082877"/>
                <a:gd name="connsiteY172" fmla="*/ 312821 h 1106905"/>
                <a:gd name="connsiteX173" fmla="*/ 264695 w 1082877"/>
                <a:gd name="connsiteY173" fmla="*/ 336884 h 1106905"/>
                <a:gd name="connsiteX174" fmla="*/ 240632 w 1082877"/>
                <a:gd name="connsiteY174" fmla="*/ 385010 h 1106905"/>
                <a:gd name="connsiteX175" fmla="*/ 168442 w 1082877"/>
                <a:gd name="connsiteY175" fmla="*/ 445168 h 1106905"/>
                <a:gd name="connsiteX176" fmla="*/ 132347 w 1082877"/>
                <a:gd name="connsiteY176" fmla="*/ 541421 h 1106905"/>
                <a:gd name="connsiteX177" fmla="*/ 108284 w 1082877"/>
                <a:gd name="connsiteY177" fmla="*/ 685800 h 1106905"/>
                <a:gd name="connsiteX178" fmla="*/ 120316 w 1082877"/>
                <a:gd name="connsiteY178" fmla="*/ 854242 h 1106905"/>
                <a:gd name="connsiteX179" fmla="*/ 132347 w 1082877"/>
                <a:gd name="connsiteY179" fmla="*/ 902368 h 1106905"/>
                <a:gd name="connsiteX180" fmla="*/ 168442 w 1082877"/>
                <a:gd name="connsiteY180" fmla="*/ 938463 h 1106905"/>
                <a:gd name="connsiteX181" fmla="*/ 204537 w 1082877"/>
                <a:gd name="connsiteY181" fmla="*/ 1010652 h 1106905"/>
                <a:gd name="connsiteX182" fmla="*/ 216568 w 1082877"/>
                <a:gd name="connsiteY182" fmla="*/ 974558 h 1106905"/>
                <a:gd name="connsiteX183" fmla="*/ 216568 w 1082877"/>
                <a:gd name="connsiteY183" fmla="*/ 312821 h 1106905"/>
                <a:gd name="connsiteX184" fmla="*/ 240632 w 1082877"/>
                <a:gd name="connsiteY184" fmla="*/ 276726 h 1106905"/>
                <a:gd name="connsiteX185" fmla="*/ 252663 w 1082877"/>
                <a:gd name="connsiteY185" fmla="*/ 240631 h 1106905"/>
                <a:gd name="connsiteX186" fmla="*/ 324853 w 1082877"/>
                <a:gd name="connsiteY186" fmla="*/ 204536 h 1106905"/>
                <a:gd name="connsiteX187" fmla="*/ 372979 w 1082877"/>
                <a:gd name="connsiteY187" fmla="*/ 180473 h 1106905"/>
                <a:gd name="connsiteX188" fmla="*/ 409074 w 1082877"/>
                <a:gd name="connsiteY188" fmla="*/ 156410 h 1106905"/>
                <a:gd name="connsiteX189" fmla="*/ 385010 w 1082877"/>
                <a:gd name="connsiteY189" fmla="*/ 180473 h 1106905"/>
                <a:gd name="connsiteX190" fmla="*/ 348916 w 1082877"/>
                <a:gd name="connsiteY190" fmla="*/ 192505 h 1106905"/>
                <a:gd name="connsiteX191" fmla="*/ 276726 w 1082877"/>
                <a:gd name="connsiteY191" fmla="*/ 228600 h 1106905"/>
                <a:gd name="connsiteX192" fmla="*/ 228600 w 1082877"/>
                <a:gd name="connsiteY192" fmla="*/ 300789 h 1106905"/>
                <a:gd name="connsiteX193" fmla="*/ 204537 w 1082877"/>
                <a:gd name="connsiteY193" fmla="*/ 336884 h 1106905"/>
                <a:gd name="connsiteX194" fmla="*/ 192505 w 1082877"/>
                <a:gd name="connsiteY194" fmla="*/ 385010 h 1106905"/>
                <a:gd name="connsiteX195" fmla="*/ 168442 w 1082877"/>
                <a:gd name="connsiteY195" fmla="*/ 433136 h 1106905"/>
                <a:gd name="connsiteX196" fmla="*/ 132347 w 1082877"/>
                <a:gd name="connsiteY196" fmla="*/ 541421 h 1106905"/>
                <a:gd name="connsiteX197" fmla="*/ 144379 w 1082877"/>
                <a:gd name="connsiteY197" fmla="*/ 974558 h 1106905"/>
                <a:gd name="connsiteX198" fmla="*/ 156410 w 1082877"/>
                <a:gd name="connsiteY198" fmla="*/ 1010652 h 1106905"/>
                <a:gd name="connsiteX199" fmla="*/ 144379 w 1082877"/>
                <a:gd name="connsiteY199" fmla="*/ 854242 h 1106905"/>
                <a:gd name="connsiteX200" fmla="*/ 120316 w 1082877"/>
                <a:gd name="connsiteY200" fmla="*/ 757989 h 1106905"/>
                <a:gd name="connsiteX201" fmla="*/ 108284 w 1082877"/>
                <a:gd name="connsiteY201" fmla="*/ 709863 h 1106905"/>
                <a:gd name="connsiteX202" fmla="*/ 108284 w 1082877"/>
                <a:gd name="connsiteY202" fmla="*/ 288758 h 1106905"/>
                <a:gd name="connsiteX203" fmla="*/ 132347 w 1082877"/>
                <a:gd name="connsiteY203" fmla="*/ 264694 h 1106905"/>
                <a:gd name="connsiteX204" fmla="*/ 180474 w 1082877"/>
                <a:gd name="connsiteY204" fmla="*/ 204536 h 1106905"/>
                <a:gd name="connsiteX205" fmla="*/ 252663 w 1082877"/>
                <a:gd name="connsiteY205" fmla="*/ 108284 h 1106905"/>
                <a:gd name="connsiteX206" fmla="*/ 312821 w 1082877"/>
                <a:gd name="connsiteY206" fmla="*/ 60158 h 1106905"/>
                <a:gd name="connsiteX207" fmla="*/ 336884 w 1082877"/>
                <a:gd name="connsiteY207" fmla="*/ 84221 h 1106905"/>
                <a:gd name="connsiteX208" fmla="*/ 228600 w 1082877"/>
                <a:gd name="connsiteY208" fmla="*/ 132347 h 1106905"/>
                <a:gd name="connsiteX209" fmla="*/ 192505 w 1082877"/>
                <a:gd name="connsiteY209" fmla="*/ 180473 h 1106905"/>
                <a:gd name="connsiteX210" fmla="*/ 156410 w 1082877"/>
                <a:gd name="connsiteY210" fmla="*/ 192505 h 1106905"/>
                <a:gd name="connsiteX211" fmla="*/ 144379 w 1082877"/>
                <a:gd name="connsiteY211" fmla="*/ 228600 h 1106905"/>
                <a:gd name="connsiteX212" fmla="*/ 120316 w 1082877"/>
                <a:gd name="connsiteY212" fmla="*/ 276726 h 1106905"/>
                <a:gd name="connsiteX213" fmla="*/ 84221 w 1082877"/>
                <a:gd name="connsiteY213" fmla="*/ 324852 h 1106905"/>
                <a:gd name="connsiteX214" fmla="*/ 60158 w 1082877"/>
                <a:gd name="connsiteY214" fmla="*/ 385010 h 1106905"/>
                <a:gd name="connsiteX215" fmla="*/ 0 w 1082877"/>
                <a:gd name="connsiteY215" fmla="*/ 517358 h 1106905"/>
                <a:gd name="connsiteX216" fmla="*/ 12032 w 1082877"/>
                <a:gd name="connsiteY216" fmla="*/ 878305 h 1106905"/>
                <a:gd name="connsiteX217" fmla="*/ 48126 w 1082877"/>
                <a:gd name="connsiteY217" fmla="*/ 950494 h 1106905"/>
                <a:gd name="connsiteX218" fmla="*/ 60158 w 1082877"/>
                <a:gd name="connsiteY218" fmla="*/ 986589 h 1106905"/>
                <a:gd name="connsiteX219" fmla="*/ 84221 w 1082877"/>
                <a:gd name="connsiteY219" fmla="*/ 553452 h 1106905"/>
                <a:gd name="connsiteX220" fmla="*/ 96253 w 1082877"/>
                <a:gd name="connsiteY220" fmla="*/ 481263 h 1106905"/>
                <a:gd name="connsiteX221" fmla="*/ 120316 w 1082877"/>
                <a:gd name="connsiteY221" fmla="*/ 336884 h 1106905"/>
                <a:gd name="connsiteX222" fmla="*/ 144379 w 1082877"/>
                <a:gd name="connsiteY222" fmla="*/ 252663 h 1106905"/>
                <a:gd name="connsiteX223" fmla="*/ 156410 w 1082877"/>
                <a:gd name="connsiteY223" fmla="*/ 204536 h 1106905"/>
                <a:gd name="connsiteX224" fmla="*/ 180474 w 1082877"/>
                <a:gd name="connsiteY224" fmla="*/ 180473 h 1106905"/>
                <a:gd name="connsiteX225" fmla="*/ 216568 w 1082877"/>
                <a:gd name="connsiteY225" fmla="*/ 132347 h 1106905"/>
                <a:gd name="connsiteX226" fmla="*/ 240632 w 1082877"/>
                <a:gd name="connsiteY226" fmla="*/ 96252 h 1106905"/>
                <a:gd name="connsiteX227" fmla="*/ 276726 w 1082877"/>
                <a:gd name="connsiteY227" fmla="*/ 84221 h 1106905"/>
                <a:gd name="connsiteX228" fmla="*/ 372979 w 1082877"/>
                <a:gd name="connsiteY228" fmla="*/ 48126 h 1106905"/>
                <a:gd name="connsiteX229" fmla="*/ 288758 w 1082877"/>
                <a:gd name="connsiteY229" fmla="*/ 144379 h 1106905"/>
                <a:gd name="connsiteX230" fmla="*/ 180474 w 1082877"/>
                <a:gd name="connsiteY230" fmla="*/ 216568 h 1106905"/>
                <a:gd name="connsiteX231" fmla="*/ 156410 w 1082877"/>
                <a:gd name="connsiteY231" fmla="*/ 252663 h 1106905"/>
                <a:gd name="connsiteX232" fmla="*/ 120316 w 1082877"/>
                <a:gd name="connsiteY232" fmla="*/ 288758 h 1106905"/>
                <a:gd name="connsiteX233" fmla="*/ 108284 w 1082877"/>
                <a:gd name="connsiteY233" fmla="*/ 336884 h 1106905"/>
                <a:gd name="connsiteX234" fmla="*/ 84221 w 1082877"/>
                <a:gd name="connsiteY234" fmla="*/ 385010 h 1106905"/>
                <a:gd name="connsiteX235" fmla="*/ 60158 w 1082877"/>
                <a:gd name="connsiteY235" fmla="*/ 445168 h 1106905"/>
                <a:gd name="connsiteX236" fmla="*/ 24063 w 1082877"/>
                <a:gd name="connsiteY236" fmla="*/ 529389 h 1106905"/>
                <a:gd name="connsiteX237" fmla="*/ 12032 w 1082877"/>
                <a:gd name="connsiteY237" fmla="*/ 577515 h 1106905"/>
                <a:gd name="connsiteX238" fmla="*/ 0 w 1082877"/>
                <a:gd name="connsiteY238" fmla="*/ 613610 h 1106905"/>
                <a:gd name="connsiteX239" fmla="*/ 12032 w 1082877"/>
                <a:gd name="connsiteY239" fmla="*/ 842210 h 1106905"/>
                <a:gd name="connsiteX240" fmla="*/ 24063 w 1082877"/>
                <a:gd name="connsiteY240" fmla="*/ 878305 h 1106905"/>
                <a:gd name="connsiteX241" fmla="*/ 72189 w 1082877"/>
                <a:gd name="connsiteY241" fmla="*/ 950494 h 1106905"/>
                <a:gd name="connsiteX242" fmla="*/ 96253 w 1082877"/>
                <a:gd name="connsiteY242" fmla="*/ 998621 h 1106905"/>
                <a:gd name="connsiteX243" fmla="*/ 108284 w 1082877"/>
                <a:gd name="connsiteY243" fmla="*/ 1034715 h 1106905"/>
                <a:gd name="connsiteX244" fmla="*/ 168442 w 1082877"/>
                <a:gd name="connsiteY244" fmla="*/ 1106905 h 1106905"/>
                <a:gd name="connsiteX245" fmla="*/ 192505 w 1082877"/>
                <a:gd name="connsiteY245" fmla="*/ 529389 h 1106905"/>
                <a:gd name="connsiteX246" fmla="*/ 216568 w 1082877"/>
                <a:gd name="connsiteY246" fmla="*/ 457200 h 1106905"/>
                <a:gd name="connsiteX247" fmla="*/ 264695 w 1082877"/>
                <a:gd name="connsiteY247" fmla="*/ 385010 h 1106905"/>
                <a:gd name="connsiteX248" fmla="*/ 276726 w 1082877"/>
                <a:gd name="connsiteY248" fmla="*/ 336884 h 1106905"/>
                <a:gd name="connsiteX249" fmla="*/ 324853 w 1082877"/>
                <a:gd name="connsiteY249" fmla="*/ 276726 h 1106905"/>
                <a:gd name="connsiteX250" fmla="*/ 348916 w 1082877"/>
                <a:gd name="connsiteY250" fmla="*/ 240631 h 1106905"/>
                <a:gd name="connsiteX251" fmla="*/ 385010 w 1082877"/>
                <a:gd name="connsiteY251" fmla="*/ 204536 h 1106905"/>
                <a:gd name="connsiteX252" fmla="*/ 469232 w 1082877"/>
                <a:gd name="connsiteY252" fmla="*/ 156410 h 1106905"/>
                <a:gd name="connsiteX253" fmla="*/ 505326 w 1082877"/>
                <a:gd name="connsiteY253" fmla="*/ 144379 h 1106905"/>
                <a:gd name="connsiteX254" fmla="*/ 457200 w 1082877"/>
                <a:gd name="connsiteY254" fmla="*/ 216568 h 1106905"/>
                <a:gd name="connsiteX255" fmla="*/ 445168 w 1082877"/>
                <a:gd name="connsiteY255" fmla="*/ 252663 h 1106905"/>
                <a:gd name="connsiteX256" fmla="*/ 421105 w 1082877"/>
                <a:gd name="connsiteY256" fmla="*/ 288758 h 1106905"/>
                <a:gd name="connsiteX257" fmla="*/ 397042 w 1082877"/>
                <a:gd name="connsiteY257" fmla="*/ 336884 h 1106905"/>
                <a:gd name="connsiteX258" fmla="*/ 385010 w 1082877"/>
                <a:gd name="connsiteY258" fmla="*/ 433136 h 1106905"/>
                <a:gd name="connsiteX259" fmla="*/ 372979 w 1082877"/>
                <a:gd name="connsiteY259" fmla="*/ 493294 h 1106905"/>
                <a:gd name="connsiteX260" fmla="*/ 385010 w 1082877"/>
                <a:gd name="connsiteY260" fmla="*/ 806115 h 1106905"/>
                <a:gd name="connsiteX261" fmla="*/ 397042 w 1082877"/>
                <a:gd name="connsiteY261" fmla="*/ 842210 h 1106905"/>
                <a:gd name="connsiteX262" fmla="*/ 421105 w 1082877"/>
                <a:gd name="connsiteY262" fmla="*/ 878305 h 1106905"/>
                <a:gd name="connsiteX263" fmla="*/ 421105 w 1082877"/>
                <a:gd name="connsiteY263" fmla="*/ 625642 h 1106905"/>
                <a:gd name="connsiteX264" fmla="*/ 433137 w 1082877"/>
                <a:gd name="connsiteY264" fmla="*/ 324852 h 1106905"/>
                <a:gd name="connsiteX265" fmla="*/ 445168 w 1082877"/>
                <a:gd name="connsiteY265" fmla="*/ 288758 h 1106905"/>
                <a:gd name="connsiteX266" fmla="*/ 469232 w 1082877"/>
                <a:gd name="connsiteY266" fmla="*/ 252663 h 1106905"/>
                <a:gd name="connsiteX267" fmla="*/ 481263 w 1082877"/>
                <a:gd name="connsiteY267" fmla="*/ 216568 h 1106905"/>
                <a:gd name="connsiteX268" fmla="*/ 457200 w 1082877"/>
                <a:gd name="connsiteY268" fmla="*/ 433136 h 1106905"/>
                <a:gd name="connsiteX269" fmla="*/ 469232 w 1082877"/>
                <a:gd name="connsiteY269" fmla="*/ 770021 h 1106905"/>
                <a:gd name="connsiteX270" fmla="*/ 493295 w 1082877"/>
                <a:gd name="connsiteY270" fmla="*/ 806115 h 1106905"/>
                <a:gd name="connsiteX271" fmla="*/ 505326 w 1082877"/>
                <a:gd name="connsiteY271" fmla="*/ 842210 h 1106905"/>
                <a:gd name="connsiteX272" fmla="*/ 553453 w 1082877"/>
                <a:gd name="connsiteY272" fmla="*/ 854242 h 1106905"/>
                <a:gd name="connsiteX273" fmla="*/ 589547 w 1082877"/>
                <a:gd name="connsiteY273" fmla="*/ 312821 h 1106905"/>
                <a:gd name="connsiteX274" fmla="*/ 601579 w 1082877"/>
                <a:gd name="connsiteY274" fmla="*/ 216568 h 1106905"/>
                <a:gd name="connsiteX275" fmla="*/ 613610 w 1082877"/>
                <a:gd name="connsiteY275" fmla="*/ 264694 h 1106905"/>
                <a:gd name="connsiteX276" fmla="*/ 577516 w 1082877"/>
                <a:gd name="connsiteY276" fmla="*/ 348915 h 1106905"/>
                <a:gd name="connsiteX277" fmla="*/ 553453 w 1082877"/>
                <a:gd name="connsiteY277" fmla="*/ 481263 h 1106905"/>
                <a:gd name="connsiteX278" fmla="*/ 565484 w 1082877"/>
                <a:gd name="connsiteY278" fmla="*/ 709863 h 1106905"/>
                <a:gd name="connsiteX279" fmla="*/ 589547 w 1082877"/>
                <a:gd name="connsiteY279" fmla="*/ 745958 h 1106905"/>
                <a:gd name="connsiteX280" fmla="*/ 661737 w 1082877"/>
                <a:gd name="connsiteY280" fmla="*/ 818147 h 1106905"/>
                <a:gd name="connsiteX281" fmla="*/ 673768 w 1082877"/>
                <a:gd name="connsiteY281" fmla="*/ 481263 h 1106905"/>
                <a:gd name="connsiteX282" fmla="*/ 661737 w 1082877"/>
                <a:gd name="connsiteY282" fmla="*/ 433136 h 1106905"/>
                <a:gd name="connsiteX283" fmla="*/ 673768 w 1082877"/>
                <a:gd name="connsiteY283" fmla="*/ 493294 h 1106905"/>
                <a:gd name="connsiteX284" fmla="*/ 721895 w 1082877"/>
                <a:gd name="connsiteY284" fmla="*/ 625642 h 1106905"/>
                <a:gd name="connsiteX285" fmla="*/ 770021 w 1082877"/>
                <a:gd name="connsiteY285" fmla="*/ 661736 h 1106905"/>
                <a:gd name="connsiteX286" fmla="*/ 830179 w 1082877"/>
                <a:gd name="connsiteY286" fmla="*/ 733926 h 1106905"/>
                <a:gd name="connsiteX287" fmla="*/ 914400 w 1082877"/>
                <a:gd name="connsiteY287" fmla="*/ 782052 h 1106905"/>
                <a:gd name="connsiteX288" fmla="*/ 974558 w 1082877"/>
                <a:gd name="connsiteY288" fmla="*/ 757989 h 1106905"/>
                <a:gd name="connsiteX289" fmla="*/ 962526 w 1082877"/>
                <a:gd name="connsiteY289" fmla="*/ 697831 h 1106905"/>
                <a:gd name="connsiteX290" fmla="*/ 938463 w 1082877"/>
                <a:gd name="connsiteY290" fmla="*/ 553452 h 1106905"/>
                <a:gd name="connsiteX291" fmla="*/ 914400 w 1082877"/>
                <a:gd name="connsiteY291" fmla="*/ 457200 h 1106905"/>
                <a:gd name="connsiteX292" fmla="*/ 902368 w 1082877"/>
                <a:gd name="connsiteY292" fmla="*/ 336884 h 1106905"/>
                <a:gd name="connsiteX293" fmla="*/ 926432 w 1082877"/>
                <a:gd name="connsiteY293" fmla="*/ 625642 h 1106905"/>
                <a:gd name="connsiteX294" fmla="*/ 962526 w 1082877"/>
                <a:gd name="connsiteY294" fmla="*/ 613610 h 1106905"/>
                <a:gd name="connsiteX295" fmla="*/ 974558 w 1082877"/>
                <a:gd name="connsiteY295" fmla="*/ 577515 h 1106905"/>
                <a:gd name="connsiteX296" fmla="*/ 986589 w 1082877"/>
                <a:gd name="connsiteY296" fmla="*/ 457200 h 1106905"/>
                <a:gd name="connsiteX297" fmla="*/ 1010653 w 1082877"/>
                <a:gd name="connsiteY297" fmla="*/ 505326 h 1106905"/>
                <a:gd name="connsiteX298" fmla="*/ 1034716 w 1082877"/>
                <a:gd name="connsiteY298" fmla="*/ 541421 h 1106905"/>
                <a:gd name="connsiteX299" fmla="*/ 1070810 w 1082877"/>
                <a:gd name="connsiteY299" fmla="*/ 601579 h 1106905"/>
                <a:gd name="connsiteX300" fmla="*/ 1082842 w 1082877"/>
                <a:gd name="connsiteY300" fmla="*/ 553452 h 1106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Lst>
              <a:rect l="l" t="t" r="r" b="b"/>
              <a:pathLst>
                <a:path w="1082877" h="1106905">
                  <a:moveTo>
                    <a:pt x="962526" y="613610"/>
                  </a:moveTo>
                  <a:cubicBezTo>
                    <a:pt x="966537" y="557463"/>
                    <a:pt x="974558" y="501458"/>
                    <a:pt x="974558" y="445168"/>
                  </a:cubicBezTo>
                  <a:cubicBezTo>
                    <a:pt x="974558" y="408851"/>
                    <a:pt x="968048" y="517557"/>
                    <a:pt x="962526" y="553452"/>
                  </a:cubicBezTo>
                  <a:cubicBezTo>
                    <a:pt x="960012" y="569796"/>
                    <a:pt x="954505" y="585537"/>
                    <a:pt x="950495" y="601579"/>
                  </a:cubicBezTo>
                  <a:lnTo>
                    <a:pt x="878305" y="589547"/>
                  </a:lnTo>
                  <a:cubicBezTo>
                    <a:pt x="877879" y="588526"/>
                    <a:pt x="880225" y="458010"/>
                    <a:pt x="902368" y="421105"/>
                  </a:cubicBezTo>
                  <a:cubicBezTo>
                    <a:pt x="908204" y="411378"/>
                    <a:pt x="918411" y="405063"/>
                    <a:pt x="926432" y="397042"/>
                  </a:cubicBezTo>
                  <a:cubicBezTo>
                    <a:pt x="908827" y="502666"/>
                    <a:pt x="907688" y="473032"/>
                    <a:pt x="926432" y="613610"/>
                  </a:cubicBezTo>
                  <a:cubicBezTo>
                    <a:pt x="928108" y="626181"/>
                    <a:pt x="947431" y="640737"/>
                    <a:pt x="938463" y="649705"/>
                  </a:cubicBezTo>
                  <a:cubicBezTo>
                    <a:pt x="928500" y="659667"/>
                    <a:pt x="867486" y="614418"/>
                    <a:pt x="866274" y="613610"/>
                  </a:cubicBezTo>
                  <a:cubicBezTo>
                    <a:pt x="870284" y="561473"/>
                    <a:pt x="885700" y="508965"/>
                    <a:pt x="878305" y="457200"/>
                  </a:cubicBezTo>
                  <a:cubicBezTo>
                    <a:pt x="875642" y="438563"/>
                    <a:pt x="843034" y="574220"/>
                    <a:pt x="842210" y="577515"/>
                  </a:cubicBezTo>
                  <a:cubicBezTo>
                    <a:pt x="846221" y="609599"/>
                    <a:pt x="850464" y="705881"/>
                    <a:pt x="854242" y="673768"/>
                  </a:cubicBezTo>
                  <a:cubicBezTo>
                    <a:pt x="865967" y="574112"/>
                    <a:pt x="859125" y="473067"/>
                    <a:pt x="866274" y="372979"/>
                  </a:cubicBezTo>
                  <a:cubicBezTo>
                    <a:pt x="867178" y="360329"/>
                    <a:pt x="878305" y="324202"/>
                    <a:pt x="878305" y="336884"/>
                  </a:cubicBezTo>
                  <a:cubicBezTo>
                    <a:pt x="878305" y="357334"/>
                    <a:pt x="871655" y="377313"/>
                    <a:pt x="866274" y="397042"/>
                  </a:cubicBezTo>
                  <a:cubicBezTo>
                    <a:pt x="859600" y="421513"/>
                    <a:pt x="842210" y="469231"/>
                    <a:pt x="842210" y="469231"/>
                  </a:cubicBezTo>
                  <a:cubicBezTo>
                    <a:pt x="838200" y="541421"/>
                    <a:pt x="855565" y="753498"/>
                    <a:pt x="830179" y="685800"/>
                  </a:cubicBezTo>
                  <a:cubicBezTo>
                    <a:pt x="793458" y="587877"/>
                    <a:pt x="824824" y="475874"/>
                    <a:pt x="806116" y="372979"/>
                  </a:cubicBezTo>
                  <a:cubicBezTo>
                    <a:pt x="802908" y="355333"/>
                    <a:pt x="788714" y="404452"/>
                    <a:pt x="782053" y="421105"/>
                  </a:cubicBezTo>
                  <a:cubicBezTo>
                    <a:pt x="782034" y="421153"/>
                    <a:pt x="751982" y="511317"/>
                    <a:pt x="745958" y="529389"/>
                  </a:cubicBezTo>
                  <a:lnTo>
                    <a:pt x="733926" y="565484"/>
                  </a:lnTo>
                  <a:cubicBezTo>
                    <a:pt x="737937" y="609600"/>
                    <a:pt x="728508" y="657115"/>
                    <a:pt x="745958" y="697831"/>
                  </a:cubicBezTo>
                  <a:cubicBezTo>
                    <a:pt x="753023" y="714316"/>
                    <a:pt x="767485" y="667460"/>
                    <a:pt x="770021" y="649705"/>
                  </a:cubicBezTo>
                  <a:cubicBezTo>
                    <a:pt x="779680" y="582095"/>
                    <a:pt x="776137" y="513208"/>
                    <a:pt x="782053" y="445168"/>
                  </a:cubicBezTo>
                  <a:cubicBezTo>
                    <a:pt x="783446" y="429143"/>
                    <a:pt x="801766" y="311710"/>
                    <a:pt x="818147" y="300789"/>
                  </a:cubicBezTo>
                  <a:lnTo>
                    <a:pt x="854242" y="276726"/>
                  </a:lnTo>
                  <a:cubicBezTo>
                    <a:pt x="850231" y="288758"/>
                    <a:pt x="849245" y="302269"/>
                    <a:pt x="842210" y="312821"/>
                  </a:cubicBezTo>
                  <a:cubicBezTo>
                    <a:pt x="788988" y="392654"/>
                    <a:pt x="821420" y="306276"/>
                    <a:pt x="782053" y="385010"/>
                  </a:cubicBezTo>
                  <a:cubicBezTo>
                    <a:pt x="772394" y="404327"/>
                    <a:pt x="766761" y="425432"/>
                    <a:pt x="757989" y="445168"/>
                  </a:cubicBezTo>
                  <a:cubicBezTo>
                    <a:pt x="750705" y="461558"/>
                    <a:pt x="740991" y="476809"/>
                    <a:pt x="733926" y="493294"/>
                  </a:cubicBezTo>
                  <a:cubicBezTo>
                    <a:pt x="728930" y="504951"/>
                    <a:pt x="726891" y="517732"/>
                    <a:pt x="721895" y="529389"/>
                  </a:cubicBezTo>
                  <a:cubicBezTo>
                    <a:pt x="677288" y="633474"/>
                    <a:pt x="714020" y="528951"/>
                    <a:pt x="685800" y="613610"/>
                  </a:cubicBezTo>
                  <a:cubicBezTo>
                    <a:pt x="679080" y="674085"/>
                    <a:pt x="661354" y="757035"/>
                    <a:pt x="685800" y="818147"/>
                  </a:cubicBezTo>
                  <a:cubicBezTo>
                    <a:pt x="690510" y="829922"/>
                    <a:pt x="693821" y="794084"/>
                    <a:pt x="697832" y="782052"/>
                  </a:cubicBezTo>
                  <a:cubicBezTo>
                    <a:pt x="701842" y="645694"/>
                    <a:pt x="702693" y="509207"/>
                    <a:pt x="709863" y="372979"/>
                  </a:cubicBezTo>
                  <a:cubicBezTo>
                    <a:pt x="710732" y="356466"/>
                    <a:pt x="729290" y="310062"/>
                    <a:pt x="721895" y="324852"/>
                  </a:cubicBezTo>
                  <a:cubicBezTo>
                    <a:pt x="710552" y="347539"/>
                    <a:pt x="705853" y="372979"/>
                    <a:pt x="697832" y="397042"/>
                  </a:cubicBezTo>
                  <a:cubicBezTo>
                    <a:pt x="686363" y="431448"/>
                    <a:pt x="681323" y="443488"/>
                    <a:pt x="673768" y="481263"/>
                  </a:cubicBezTo>
                  <a:cubicBezTo>
                    <a:pt x="668984" y="505184"/>
                    <a:pt x="665747" y="529389"/>
                    <a:pt x="661737" y="553452"/>
                  </a:cubicBezTo>
                  <a:cubicBezTo>
                    <a:pt x="657726" y="613610"/>
                    <a:pt x="649705" y="794218"/>
                    <a:pt x="649705" y="733926"/>
                  </a:cubicBezTo>
                  <a:cubicBezTo>
                    <a:pt x="649705" y="641597"/>
                    <a:pt x="655793" y="549338"/>
                    <a:pt x="661737" y="457200"/>
                  </a:cubicBezTo>
                  <a:cubicBezTo>
                    <a:pt x="669203" y="341481"/>
                    <a:pt x="691994" y="332952"/>
                    <a:pt x="649705" y="409073"/>
                  </a:cubicBezTo>
                  <a:cubicBezTo>
                    <a:pt x="638348" y="429515"/>
                    <a:pt x="624068" y="448315"/>
                    <a:pt x="613610" y="469231"/>
                  </a:cubicBezTo>
                  <a:cubicBezTo>
                    <a:pt x="554741" y="586969"/>
                    <a:pt x="621235" y="481856"/>
                    <a:pt x="565484" y="565484"/>
                  </a:cubicBezTo>
                  <a:cubicBezTo>
                    <a:pt x="535531" y="715257"/>
                    <a:pt x="534041" y="735546"/>
                    <a:pt x="577516" y="300789"/>
                  </a:cubicBezTo>
                  <a:cubicBezTo>
                    <a:pt x="578778" y="288170"/>
                    <a:pt x="582512" y="275246"/>
                    <a:pt x="589547" y="264694"/>
                  </a:cubicBezTo>
                  <a:cubicBezTo>
                    <a:pt x="598985" y="250537"/>
                    <a:pt x="612211" y="239046"/>
                    <a:pt x="625642" y="228600"/>
                  </a:cubicBezTo>
                  <a:cubicBezTo>
                    <a:pt x="648471" y="210845"/>
                    <a:pt x="697832" y="180473"/>
                    <a:pt x="697832" y="180473"/>
                  </a:cubicBezTo>
                  <a:cubicBezTo>
                    <a:pt x="670646" y="262029"/>
                    <a:pt x="709042" y="164779"/>
                    <a:pt x="637674" y="264694"/>
                  </a:cubicBezTo>
                  <a:cubicBezTo>
                    <a:pt x="588498" y="333540"/>
                    <a:pt x="681493" y="272863"/>
                    <a:pt x="577516" y="324852"/>
                  </a:cubicBezTo>
                  <a:cubicBezTo>
                    <a:pt x="554579" y="370726"/>
                    <a:pt x="547577" y="387808"/>
                    <a:pt x="517358" y="433136"/>
                  </a:cubicBezTo>
                  <a:cubicBezTo>
                    <a:pt x="506235" y="449821"/>
                    <a:pt x="493295" y="465221"/>
                    <a:pt x="481263" y="481263"/>
                  </a:cubicBezTo>
                  <a:cubicBezTo>
                    <a:pt x="473242" y="513347"/>
                    <a:pt x="465902" y="545609"/>
                    <a:pt x="457200" y="577515"/>
                  </a:cubicBezTo>
                  <a:cubicBezTo>
                    <a:pt x="453863" y="589751"/>
                    <a:pt x="445168" y="626293"/>
                    <a:pt x="445168" y="613610"/>
                  </a:cubicBezTo>
                  <a:cubicBezTo>
                    <a:pt x="445168" y="452369"/>
                    <a:pt x="385788" y="378605"/>
                    <a:pt x="493295" y="324852"/>
                  </a:cubicBezTo>
                  <a:cubicBezTo>
                    <a:pt x="504638" y="319180"/>
                    <a:pt x="517358" y="316831"/>
                    <a:pt x="529389" y="312821"/>
                  </a:cubicBezTo>
                  <a:cubicBezTo>
                    <a:pt x="517358" y="340895"/>
                    <a:pt x="504259" y="368535"/>
                    <a:pt x="493295" y="397042"/>
                  </a:cubicBezTo>
                  <a:cubicBezTo>
                    <a:pt x="484190" y="420716"/>
                    <a:pt x="478652" y="445681"/>
                    <a:pt x="469232" y="469231"/>
                  </a:cubicBezTo>
                  <a:cubicBezTo>
                    <a:pt x="462571" y="485884"/>
                    <a:pt x="452453" y="500968"/>
                    <a:pt x="445168" y="517358"/>
                  </a:cubicBezTo>
                  <a:cubicBezTo>
                    <a:pt x="425984" y="560522"/>
                    <a:pt x="422303" y="573920"/>
                    <a:pt x="409074" y="613610"/>
                  </a:cubicBezTo>
                  <a:cubicBezTo>
                    <a:pt x="413084" y="577515"/>
                    <a:pt x="415135" y="541149"/>
                    <a:pt x="421105" y="505326"/>
                  </a:cubicBezTo>
                  <a:cubicBezTo>
                    <a:pt x="423190" y="492816"/>
                    <a:pt x="430868" y="481709"/>
                    <a:pt x="433137" y="469231"/>
                  </a:cubicBezTo>
                  <a:cubicBezTo>
                    <a:pt x="438921" y="437419"/>
                    <a:pt x="434293" y="403429"/>
                    <a:pt x="445168" y="372979"/>
                  </a:cubicBezTo>
                  <a:cubicBezTo>
                    <a:pt x="476786" y="284450"/>
                    <a:pt x="504459" y="314123"/>
                    <a:pt x="553453" y="240631"/>
                  </a:cubicBezTo>
                  <a:cubicBezTo>
                    <a:pt x="561474" y="228599"/>
                    <a:pt x="567291" y="214761"/>
                    <a:pt x="577516" y="204536"/>
                  </a:cubicBezTo>
                  <a:cubicBezTo>
                    <a:pt x="600840" y="181212"/>
                    <a:pt x="620348" y="178227"/>
                    <a:pt x="649705" y="168442"/>
                  </a:cubicBezTo>
                  <a:cubicBezTo>
                    <a:pt x="543521" y="248079"/>
                    <a:pt x="668247" y="166073"/>
                    <a:pt x="529389" y="216568"/>
                  </a:cubicBezTo>
                  <a:cubicBezTo>
                    <a:pt x="507412" y="224560"/>
                    <a:pt x="489062" y="240269"/>
                    <a:pt x="469232" y="252663"/>
                  </a:cubicBezTo>
                  <a:cubicBezTo>
                    <a:pt x="436311" y="273239"/>
                    <a:pt x="422967" y="281711"/>
                    <a:pt x="397042" y="312821"/>
                  </a:cubicBezTo>
                  <a:cubicBezTo>
                    <a:pt x="387785" y="323929"/>
                    <a:pt x="382012" y="337624"/>
                    <a:pt x="372979" y="348915"/>
                  </a:cubicBezTo>
                  <a:cubicBezTo>
                    <a:pt x="365893" y="357773"/>
                    <a:pt x="356178" y="364265"/>
                    <a:pt x="348916" y="372979"/>
                  </a:cubicBezTo>
                  <a:cubicBezTo>
                    <a:pt x="323105" y="403953"/>
                    <a:pt x="302966" y="431344"/>
                    <a:pt x="288758" y="469231"/>
                  </a:cubicBezTo>
                  <a:cubicBezTo>
                    <a:pt x="277988" y="497951"/>
                    <a:pt x="268854" y="564591"/>
                    <a:pt x="264695" y="589547"/>
                  </a:cubicBezTo>
                  <a:cubicBezTo>
                    <a:pt x="268705" y="637673"/>
                    <a:pt x="270343" y="686056"/>
                    <a:pt x="276726" y="733926"/>
                  </a:cubicBezTo>
                  <a:cubicBezTo>
                    <a:pt x="278402" y="746497"/>
                    <a:pt x="276075" y="770021"/>
                    <a:pt x="288758" y="770021"/>
                  </a:cubicBezTo>
                  <a:cubicBezTo>
                    <a:pt x="301440" y="770021"/>
                    <a:pt x="296779" y="745958"/>
                    <a:pt x="300789" y="733926"/>
                  </a:cubicBezTo>
                  <a:cubicBezTo>
                    <a:pt x="304800" y="677779"/>
                    <a:pt x="304860" y="621209"/>
                    <a:pt x="312821" y="565484"/>
                  </a:cubicBezTo>
                  <a:cubicBezTo>
                    <a:pt x="316950" y="536580"/>
                    <a:pt x="331503" y="509960"/>
                    <a:pt x="336884" y="481263"/>
                  </a:cubicBezTo>
                  <a:cubicBezTo>
                    <a:pt x="375072" y="277598"/>
                    <a:pt x="321292" y="450656"/>
                    <a:pt x="372979" y="312821"/>
                  </a:cubicBezTo>
                  <a:cubicBezTo>
                    <a:pt x="383712" y="284199"/>
                    <a:pt x="401789" y="207671"/>
                    <a:pt x="433137" y="204536"/>
                  </a:cubicBezTo>
                  <a:lnTo>
                    <a:pt x="553453" y="192505"/>
                  </a:lnTo>
                  <a:cubicBezTo>
                    <a:pt x="527302" y="270955"/>
                    <a:pt x="563469" y="184245"/>
                    <a:pt x="481263" y="276726"/>
                  </a:cubicBezTo>
                  <a:cubicBezTo>
                    <a:pt x="465727" y="294204"/>
                    <a:pt x="458923" y="317972"/>
                    <a:pt x="445168" y="336884"/>
                  </a:cubicBezTo>
                  <a:cubicBezTo>
                    <a:pt x="426745" y="362216"/>
                    <a:pt x="405063" y="385010"/>
                    <a:pt x="385010" y="409073"/>
                  </a:cubicBezTo>
                  <a:cubicBezTo>
                    <a:pt x="376989" y="429126"/>
                    <a:pt x="369718" y="449495"/>
                    <a:pt x="360947" y="469231"/>
                  </a:cubicBezTo>
                  <a:cubicBezTo>
                    <a:pt x="353663" y="485621"/>
                    <a:pt x="341811" y="500112"/>
                    <a:pt x="336884" y="517358"/>
                  </a:cubicBezTo>
                  <a:cubicBezTo>
                    <a:pt x="325648" y="556684"/>
                    <a:pt x="312821" y="637673"/>
                    <a:pt x="312821" y="637673"/>
                  </a:cubicBezTo>
                  <a:cubicBezTo>
                    <a:pt x="316832" y="725905"/>
                    <a:pt x="318079" y="814305"/>
                    <a:pt x="324853" y="902368"/>
                  </a:cubicBezTo>
                  <a:cubicBezTo>
                    <a:pt x="326121" y="918855"/>
                    <a:pt x="327712" y="964253"/>
                    <a:pt x="336884" y="950494"/>
                  </a:cubicBezTo>
                  <a:cubicBezTo>
                    <a:pt x="352614" y="926898"/>
                    <a:pt x="344905" y="894347"/>
                    <a:pt x="348916" y="866273"/>
                  </a:cubicBezTo>
                  <a:cubicBezTo>
                    <a:pt x="352926" y="766010"/>
                    <a:pt x="354487" y="665619"/>
                    <a:pt x="360947" y="565484"/>
                  </a:cubicBezTo>
                  <a:cubicBezTo>
                    <a:pt x="362518" y="541139"/>
                    <a:pt x="370129" y="517522"/>
                    <a:pt x="372979" y="493294"/>
                  </a:cubicBezTo>
                  <a:cubicBezTo>
                    <a:pt x="382968" y="408383"/>
                    <a:pt x="380068" y="365139"/>
                    <a:pt x="397042" y="288758"/>
                  </a:cubicBezTo>
                  <a:cubicBezTo>
                    <a:pt x="399793" y="276378"/>
                    <a:pt x="401151" y="262566"/>
                    <a:pt x="409074" y="252663"/>
                  </a:cubicBezTo>
                  <a:cubicBezTo>
                    <a:pt x="418107" y="241372"/>
                    <a:pt x="433877" y="237633"/>
                    <a:pt x="445168" y="228600"/>
                  </a:cubicBezTo>
                  <a:cubicBezTo>
                    <a:pt x="492355" y="190850"/>
                    <a:pt x="442645" y="213398"/>
                    <a:pt x="505326" y="192505"/>
                  </a:cubicBezTo>
                  <a:cubicBezTo>
                    <a:pt x="537410" y="196515"/>
                    <a:pt x="587119" y="175616"/>
                    <a:pt x="601579" y="204536"/>
                  </a:cubicBezTo>
                  <a:cubicBezTo>
                    <a:pt x="614262" y="229901"/>
                    <a:pt x="541421" y="264694"/>
                    <a:pt x="541421" y="264694"/>
                  </a:cubicBezTo>
                  <a:cubicBezTo>
                    <a:pt x="514234" y="346251"/>
                    <a:pt x="552632" y="248997"/>
                    <a:pt x="481263" y="348915"/>
                  </a:cubicBezTo>
                  <a:cubicBezTo>
                    <a:pt x="473892" y="359235"/>
                    <a:pt x="474904" y="373666"/>
                    <a:pt x="469232" y="385010"/>
                  </a:cubicBezTo>
                  <a:cubicBezTo>
                    <a:pt x="439333" y="444808"/>
                    <a:pt x="438795" y="439510"/>
                    <a:pt x="397042" y="481263"/>
                  </a:cubicBezTo>
                  <a:cubicBezTo>
                    <a:pt x="360268" y="628352"/>
                    <a:pt x="419037" y="419742"/>
                    <a:pt x="348916" y="577515"/>
                  </a:cubicBezTo>
                  <a:cubicBezTo>
                    <a:pt x="340611" y="596202"/>
                    <a:pt x="342265" y="617944"/>
                    <a:pt x="336884" y="637673"/>
                  </a:cubicBezTo>
                  <a:cubicBezTo>
                    <a:pt x="330210" y="662144"/>
                    <a:pt x="312821" y="709863"/>
                    <a:pt x="312821" y="709863"/>
                  </a:cubicBezTo>
                  <a:cubicBezTo>
                    <a:pt x="308810" y="766010"/>
                    <a:pt x="300789" y="934595"/>
                    <a:pt x="300789" y="878305"/>
                  </a:cubicBezTo>
                  <a:cubicBezTo>
                    <a:pt x="300789" y="617590"/>
                    <a:pt x="297511" y="356517"/>
                    <a:pt x="312821" y="96252"/>
                  </a:cubicBezTo>
                  <a:cubicBezTo>
                    <a:pt x="313820" y="79266"/>
                    <a:pt x="335070" y="70048"/>
                    <a:pt x="348916" y="60158"/>
                  </a:cubicBezTo>
                  <a:cubicBezTo>
                    <a:pt x="363511" y="49733"/>
                    <a:pt x="381470" y="44993"/>
                    <a:pt x="397042" y="36094"/>
                  </a:cubicBezTo>
                  <a:cubicBezTo>
                    <a:pt x="462343" y="-1221"/>
                    <a:pt x="403059" y="22057"/>
                    <a:pt x="469232" y="0"/>
                  </a:cubicBezTo>
                  <a:cubicBezTo>
                    <a:pt x="481263" y="8021"/>
                    <a:pt x="503887" y="9675"/>
                    <a:pt x="505326" y="24063"/>
                  </a:cubicBezTo>
                  <a:cubicBezTo>
                    <a:pt x="512087" y="91675"/>
                    <a:pt x="476977" y="115704"/>
                    <a:pt x="457200" y="168442"/>
                  </a:cubicBezTo>
                  <a:cubicBezTo>
                    <a:pt x="430021" y="240920"/>
                    <a:pt x="461688" y="205618"/>
                    <a:pt x="433137" y="300789"/>
                  </a:cubicBezTo>
                  <a:cubicBezTo>
                    <a:pt x="428982" y="314639"/>
                    <a:pt x="417095" y="324852"/>
                    <a:pt x="409074" y="336884"/>
                  </a:cubicBezTo>
                  <a:cubicBezTo>
                    <a:pt x="405063" y="356937"/>
                    <a:pt x="400404" y="376870"/>
                    <a:pt x="397042" y="397042"/>
                  </a:cubicBezTo>
                  <a:cubicBezTo>
                    <a:pt x="392380" y="425015"/>
                    <a:pt x="391387" y="453631"/>
                    <a:pt x="385010" y="481263"/>
                  </a:cubicBezTo>
                  <a:cubicBezTo>
                    <a:pt x="379306" y="505978"/>
                    <a:pt x="367099" y="528845"/>
                    <a:pt x="360947" y="553452"/>
                  </a:cubicBezTo>
                  <a:lnTo>
                    <a:pt x="336884" y="649705"/>
                  </a:lnTo>
                  <a:cubicBezTo>
                    <a:pt x="340895" y="677779"/>
                    <a:pt x="336234" y="708561"/>
                    <a:pt x="348916" y="733926"/>
                  </a:cubicBezTo>
                  <a:cubicBezTo>
                    <a:pt x="354588" y="745270"/>
                    <a:pt x="355951" y="709488"/>
                    <a:pt x="360947" y="697831"/>
                  </a:cubicBezTo>
                  <a:cubicBezTo>
                    <a:pt x="368012" y="681346"/>
                    <a:pt x="378712" y="666499"/>
                    <a:pt x="385010" y="649705"/>
                  </a:cubicBezTo>
                  <a:cubicBezTo>
                    <a:pt x="396988" y="617765"/>
                    <a:pt x="403133" y="559095"/>
                    <a:pt x="409074" y="529389"/>
                  </a:cubicBezTo>
                  <a:cubicBezTo>
                    <a:pt x="412317" y="513174"/>
                    <a:pt x="418147" y="497532"/>
                    <a:pt x="421105" y="481263"/>
                  </a:cubicBezTo>
                  <a:cubicBezTo>
                    <a:pt x="437626" y="390396"/>
                    <a:pt x="419220" y="415381"/>
                    <a:pt x="457200" y="348915"/>
                  </a:cubicBezTo>
                  <a:cubicBezTo>
                    <a:pt x="489786" y="291889"/>
                    <a:pt x="472116" y="331017"/>
                    <a:pt x="517358" y="276726"/>
                  </a:cubicBezTo>
                  <a:cubicBezTo>
                    <a:pt x="526615" y="265617"/>
                    <a:pt x="554354" y="247098"/>
                    <a:pt x="541421" y="240631"/>
                  </a:cubicBezTo>
                  <a:lnTo>
                    <a:pt x="493295" y="264694"/>
                  </a:lnTo>
                  <a:cubicBezTo>
                    <a:pt x="485274" y="276726"/>
                    <a:pt x="478265" y="289498"/>
                    <a:pt x="469232" y="300789"/>
                  </a:cubicBezTo>
                  <a:cubicBezTo>
                    <a:pt x="422156" y="359633"/>
                    <a:pt x="467587" y="279358"/>
                    <a:pt x="409074" y="372979"/>
                  </a:cubicBezTo>
                  <a:cubicBezTo>
                    <a:pt x="399568" y="388188"/>
                    <a:pt x="393909" y="405533"/>
                    <a:pt x="385010" y="421105"/>
                  </a:cubicBezTo>
                  <a:cubicBezTo>
                    <a:pt x="377836" y="433660"/>
                    <a:pt x="368968" y="445168"/>
                    <a:pt x="360947" y="457200"/>
                  </a:cubicBezTo>
                  <a:cubicBezTo>
                    <a:pt x="356937" y="473242"/>
                    <a:pt x="353667" y="489488"/>
                    <a:pt x="348916" y="505326"/>
                  </a:cubicBezTo>
                  <a:cubicBezTo>
                    <a:pt x="334427" y="553623"/>
                    <a:pt x="321354" y="578711"/>
                    <a:pt x="312821" y="625642"/>
                  </a:cubicBezTo>
                  <a:cubicBezTo>
                    <a:pt x="307748" y="653543"/>
                    <a:pt x="304800" y="681789"/>
                    <a:pt x="300789" y="709863"/>
                  </a:cubicBezTo>
                  <a:cubicBezTo>
                    <a:pt x="304800" y="545431"/>
                    <a:pt x="305352" y="380879"/>
                    <a:pt x="312821" y="216568"/>
                  </a:cubicBezTo>
                  <a:cubicBezTo>
                    <a:pt x="313893" y="192990"/>
                    <a:pt x="335528" y="161114"/>
                    <a:pt x="348916" y="144379"/>
                  </a:cubicBezTo>
                  <a:cubicBezTo>
                    <a:pt x="356002" y="135521"/>
                    <a:pt x="362833" y="125388"/>
                    <a:pt x="372979" y="120315"/>
                  </a:cubicBezTo>
                  <a:cubicBezTo>
                    <a:pt x="395666" y="108971"/>
                    <a:pt x="445168" y="96252"/>
                    <a:pt x="445168" y="96252"/>
                  </a:cubicBezTo>
                  <a:cubicBezTo>
                    <a:pt x="437147" y="116305"/>
                    <a:pt x="430764" y="137093"/>
                    <a:pt x="421105" y="156410"/>
                  </a:cubicBezTo>
                  <a:cubicBezTo>
                    <a:pt x="404354" y="189912"/>
                    <a:pt x="387557" y="201990"/>
                    <a:pt x="360947" y="228600"/>
                  </a:cubicBezTo>
                  <a:cubicBezTo>
                    <a:pt x="352926" y="248653"/>
                    <a:pt x="346543" y="269441"/>
                    <a:pt x="336884" y="288758"/>
                  </a:cubicBezTo>
                  <a:cubicBezTo>
                    <a:pt x="330417" y="301691"/>
                    <a:pt x="321226" y="313085"/>
                    <a:pt x="312821" y="324852"/>
                  </a:cubicBezTo>
                  <a:cubicBezTo>
                    <a:pt x="268561" y="386816"/>
                    <a:pt x="278390" y="371315"/>
                    <a:pt x="216568" y="433136"/>
                  </a:cubicBezTo>
                  <a:cubicBezTo>
                    <a:pt x="204537" y="457199"/>
                    <a:pt x="193357" y="481707"/>
                    <a:pt x="180474" y="505326"/>
                  </a:cubicBezTo>
                  <a:cubicBezTo>
                    <a:pt x="150047" y="561109"/>
                    <a:pt x="143412" y="559719"/>
                    <a:pt x="120316" y="613610"/>
                  </a:cubicBezTo>
                  <a:cubicBezTo>
                    <a:pt x="109958" y="637779"/>
                    <a:pt x="102360" y="673404"/>
                    <a:pt x="96253" y="697831"/>
                  </a:cubicBezTo>
                  <a:cubicBezTo>
                    <a:pt x="100263" y="717884"/>
                    <a:pt x="105748" y="778281"/>
                    <a:pt x="108284" y="757989"/>
                  </a:cubicBezTo>
                  <a:cubicBezTo>
                    <a:pt x="118742" y="674324"/>
                    <a:pt x="113592" y="589374"/>
                    <a:pt x="120316" y="505326"/>
                  </a:cubicBezTo>
                  <a:cubicBezTo>
                    <a:pt x="121635" y="488843"/>
                    <a:pt x="129389" y="473469"/>
                    <a:pt x="132347" y="457200"/>
                  </a:cubicBezTo>
                  <a:cubicBezTo>
                    <a:pt x="137420" y="429299"/>
                    <a:pt x="140631" y="401089"/>
                    <a:pt x="144379" y="372979"/>
                  </a:cubicBezTo>
                  <a:cubicBezTo>
                    <a:pt x="148652" y="340929"/>
                    <a:pt x="145535" y="307176"/>
                    <a:pt x="156410" y="276726"/>
                  </a:cubicBezTo>
                  <a:cubicBezTo>
                    <a:pt x="166137" y="249490"/>
                    <a:pt x="204537" y="204536"/>
                    <a:pt x="204537" y="204536"/>
                  </a:cubicBezTo>
                  <a:cubicBezTo>
                    <a:pt x="208547" y="192505"/>
                    <a:pt x="208646" y="178345"/>
                    <a:pt x="216568" y="168442"/>
                  </a:cubicBezTo>
                  <a:cubicBezTo>
                    <a:pt x="236673" y="143311"/>
                    <a:pt x="262224" y="143719"/>
                    <a:pt x="288758" y="132347"/>
                  </a:cubicBezTo>
                  <a:cubicBezTo>
                    <a:pt x="392830" y="87744"/>
                    <a:pt x="288329" y="124469"/>
                    <a:pt x="372979" y="96252"/>
                  </a:cubicBezTo>
                  <a:cubicBezTo>
                    <a:pt x="364958" y="116305"/>
                    <a:pt x="358575" y="137093"/>
                    <a:pt x="348916" y="156410"/>
                  </a:cubicBezTo>
                  <a:cubicBezTo>
                    <a:pt x="342449" y="169344"/>
                    <a:pt x="332027" y="179950"/>
                    <a:pt x="324853" y="192505"/>
                  </a:cubicBezTo>
                  <a:cubicBezTo>
                    <a:pt x="315954" y="208077"/>
                    <a:pt x="308810" y="224589"/>
                    <a:pt x="300789" y="240631"/>
                  </a:cubicBezTo>
                  <a:cubicBezTo>
                    <a:pt x="296779" y="256673"/>
                    <a:pt x="297930" y="274999"/>
                    <a:pt x="288758" y="288758"/>
                  </a:cubicBezTo>
                  <a:cubicBezTo>
                    <a:pt x="280737" y="300790"/>
                    <a:pt x="259949" y="300331"/>
                    <a:pt x="252663" y="312821"/>
                  </a:cubicBezTo>
                  <a:cubicBezTo>
                    <a:pt x="212799" y="381159"/>
                    <a:pt x="214388" y="410877"/>
                    <a:pt x="192505" y="469231"/>
                  </a:cubicBezTo>
                  <a:cubicBezTo>
                    <a:pt x="184922" y="489453"/>
                    <a:pt x="176463" y="509336"/>
                    <a:pt x="168442" y="529389"/>
                  </a:cubicBezTo>
                  <a:cubicBezTo>
                    <a:pt x="172453" y="633663"/>
                    <a:pt x="164365" y="739110"/>
                    <a:pt x="180474" y="842210"/>
                  </a:cubicBezTo>
                  <a:cubicBezTo>
                    <a:pt x="184939" y="870784"/>
                    <a:pt x="212558" y="890337"/>
                    <a:pt x="228600" y="914400"/>
                  </a:cubicBezTo>
                  <a:lnTo>
                    <a:pt x="252663" y="950494"/>
                  </a:lnTo>
                  <a:cubicBezTo>
                    <a:pt x="248653" y="938463"/>
                    <a:pt x="244116" y="926594"/>
                    <a:pt x="240632" y="914400"/>
                  </a:cubicBezTo>
                  <a:cubicBezTo>
                    <a:pt x="236089" y="898500"/>
                    <a:pt x="233829" y="881961"/>
                    <a:pt x="228600" y="866273"/>
                  </a:cubicBezTo>
                  <a:cubicBezTo>
                    <a:pt x="189027" y="747555"/>
                    <a:pt x="216267" y="864763"/>
                    <a:pt x="192505" y="745958"/>
                  </a:cubicBezTo>
                  <a:cubicBezTo>
                    <a:pt x="211434" y="178108"/>
                    <a:pt x="149762" y="520839"/>
                    <a:pt x="228600" y="336884"/>
                  </a:cubicBezTo>
                  <a:cubicBezTo>
                    <a:pt x="233596" y="325227"/>
                    <a:pt x="234960" y="312133"/>
                    <a:pt x="240632" y="300789"/>
                  </a:cubicBezTo>
                  <a:cubicBezTo>
                    <a:pt x="262103" y="257848"/>
                    <a:pt x="304994" y="224395"/>
                    <a:pt x="336884" y="192505"/>
                  </a:cubicBezTo>
                  <a:lnTo>
                    <a:pt x="372979" y="156410"/>
                  </a:lnTo>
                  <a:cubicBezTo>
                    <a:pt x="363943" y="177493"/>
                    <a:pt x="317373" y="290708"/>
                    <a:pt x="300789" y="312821"/>
                  </a:cubicBezTo>
                  <a:cubicBezTo>
                    <a:pt x="292113" y="324389"/>
                    <a:pt x="276726" y="328863"/>
                    <a:pt x="264695" y="336884"/>
                  </a:cubicBezTo>
                  <a:cubicBezTo>
                    <a:pt x="256674" y="352926"/>
                    <a:pt x="250581" y="370087"/>
                    <a:pt x="240632" y="385010"/>
                  </a:cubicBezTo>
                  <a:cubicBezTo>
                    <a:pt x="227886" y="404129"/>
                    <a:pt x="180570" y="436072"/>
                    <a:pt x="168442" y="445168"/>
                  </a:cubicBezTo>
                  <a:cubicBezTo>
                    <a:pt x="165366" y="452857"/>
                    <a:pt x="136119" y="522563"/>
                    <a:pt x="132347" y="541421"/>
                  </a:cubicBezTo>
                  <a:cubicBezTo>
                    <a:pt x="122778" y="589264"/>
                    <a:pt x="108284" y="685800"/>
                    <a:pt x="108284" y="685800"/>
                  </a:cubicBezTo>
                  <a:cubicBezTo>
                    <a:pt x="112295" y="741947"/>
                    <a:pt x="114100" y="798296"/>
                    <a:pt x="120316" y="854242"/>
                  </a:cubicBezTo>
                  <a:cubicBezTo>
                    <a:pt x="122142" y="870677"/>
                    <a:pt x="124143" y="888011"/>
                    <a:pt x="132347" y="902368"/>
                  </a:cubicBezTo>
                  <a:cubicBezTo>
                    <a:pt x="140789" y="917141"/>
                    <a:pt x="156410" y="926431"/>
                    <a:pt x="168442" y="938463"/>
                  </a:cubicBezTo>
                  <a:cubicBezTo>
                    <a:pt x="171409" y="947363"/>
                    <a:pt x="188988" y="1010652"/>
                    <a:pt x="204537" y="1010652"/>
                  </a:cubicBezTo>
                  <a:cubicBezTo>
                    <a:pt x="217219" y="1010652"/>
                    <a:pt x="212558" y="986589"/>
                    <a:pt x="216568" y="974558"/>
                  </a:cubicBezTo>
                  <a:cubicBezTo>
                    <a:pt x="167014" y="726776"/>
                    <a:pt x="186382" y="846109"/>
                    <a:pt x="216568" y="312821"/>
                  </a:cubicBezTo>
                  <a:cubicBezTo>
                    <a:pt x="217385" y="298384"/>
                    <a:pt x="232611" y="288758"/>
                    <a:pt x="240632" y="276726"/>
                  </a:cubicBezTo>
                  <a:cubicBezTo>
                    <a:pt x="244642" y="264694"/>
                    <a:pt x="244740" y="250534"/>
                    <a:pt x="252663" y="240631"/>
                  </a:cubicBezTo>
                  <a:cubicBezTo>
                    <a:pt x="272768" y="215500"/>
                    <a:pt x="298320" y="215908"/>
                    <a:pt x="324853" y="204536"/>
                  </a:cubicBezTo>
                  <a:cubicBezTo>
                    <a:pt x="341338" y="197471"/>
                    <a:pt x="357407" y="189371"/>
                    <a:pt x="372979" y="180473"/>
                  </a:cubicBezTo>
                  <a:cubicBezTo>
                    <a:pt x="385534" y="173299"/>
                    <a:pt x="394614" y="156410"/>
                    <a:pt x="409074" y="156410"/>
                  </a:cubicBezTo>
                  <a:cubicBezTo>
                    <a:pt x="420418" y="156410"/>
                    <a:pt x="394737" y="174637"/>
                    <a:pt x="385010" y="180473"/>
                  </a:cubicBezTo>
                  <a:cubicBezTo>
                    <a:pt x="374135" y="186998"/>
                    <a:pt x="360259" y="186833"/>
                    <a:pt x="348916" y="192505"/>
                  </a:cubicBezTo>
                  <a:cubicBezTo>
                    <a:pt x="255625" y="239151"/>
                    <a:pt x="367449" y="198358"/>
                    <a:pt x="276726" y="228600"/>
                  </a:cubicBezTo>
                  <a:lnTo>
                    <a:pt x="228600" y="300789"/>
                  </a:lnTo>
                  <a:lnTo>
                    <a:pt x="204537" y="336884"/>
                  </a:lnTo>
                  <a:cubicBezTo>
                    <a:pt x="200526" y="352926"/>
                    <a:pt x="198311" y="369527"/>
                    <a:pt x="192505" y="385010"/>
                  </a:cubicBezTo>
                  <a:cubicBezTo>
                    <a:pt x="186207" y="401804"/>
                    <a:pt x="173596" y="415957"/>
                    <a:pt x="168442" y="433136"/>
                  </a:cubicBezTo>
                  <a:cubicBezTo>
                    <a:pt x="133074" y="551027"/>
                    <a:pt x="182365" y="466393"/>
                    <a:pt x="132347" y="541421"/>
                  </a:cubicBezTo>
                  <a:cubicBezTo>
                    <a:pt x="136358" y="685800"/>
                    <a:pt x="136982" y="830313"/>
                    <a:pt x="144379" y="974558"/>
                  </a:cubicBezTo>
                  <a:cubicBezTo>
                    <a:pt x="145029" y="987223"/>
                    <a:pt x="156410" y="1023334"/>
                    <a:pt x="156410" y="1010652"/>
                  </a:cubicBezTo>
                  <a:cubicBezTo>
                    <a:pt x="156410" y="958361"/>
                    <a:pt x="151774" y="906007"/>
                    <a:pt x="144379" y="854242"/>
                  </a:cubicBezTo>
                  <a:cubicBezTo>
                    <a:pt x="139702" y="821503"/>
                    <a:pt x="128337" y="790073"/>
                    <a:pt x="120316" y="757989"/>
                  </a:cubicBezTo>
                  <a:lnTo>
                    <a:pt x="108284" y="709863"/>
                  </a:lnTo>
                  <a:cubicBezTo>
                    <a:pt x="92506" y="536297"/>
                    <a:pt x="83591" y="502769"/>
                    <a:pt x="108284" y="288758"/>
                  </a:cubicBezTo>
                  <a:cubicBezTo>
                    <a:pt x="109584" y="277489"/>
                    <a:pt x="125261" y="273552"/>
                    <a:pt x="132347" y="264694"/>
                  </a:cubicBezTo>
                  <a:cubicBezTo>
                    <a:pt x="193053" y="188811"/>
                    <a:pt x="122375" y="262635"/>
                    <a:pt x="180474" y="204536"/>
                  </a:cubicBezTo>
                  <a:cubicBezTo>
                    <a:pt x="203851" y="134404"/>
                    <a:pt x="178220" y="193362"/>
                    <a:pt x="252663" y="108284"/>
                  </a:cubicBezTo>
                  <a:cubicBezTo>
                    <a:pt x="297481" y="57064"/>
                    <a:pt x="250975" y="80772"/>
                    <a:pt x="312821" y="60158"/>
                  </a:cubicBezTo>
                  <a:cubicBezTo>
                    <a:pt x="321909" y="54099"/>
                    <a:pt x="399041" y="-9014"/>
                    <a:pt x="336884" y="84221"/>
                  </a:cubicBezTo>
                  <a:cubicBezTo>
                    <a:pt x="320542" y="108735"/>
                    <a:pt x="242839" y="127601"/>
                    <a:pt x="228600" y="132347"/>
                  </a:cubicBezTo>
                  <a:cubicBezTo>
                    <a:pt x="216568" y="148389"/>
                    <a:pt x="207910" y="167636"/>
                    <a:pt x="192505" y="180473"/>
                  </a:cubicBezTo>
                  <a:cubicBezTo>
                    <a:pt x="182762" y="188592"/>
                    <a:pt x="165378" y="183537"/>
                    <a:pt x="156410" y="192505"/>
                  </a:cubicBezTo>
                  <a:cubicBezTo>
                    <a:pt x="147442" y="201473"/>
                    <a:pt x="149375" y="216943"/>
                    <a:pt x="144379" y="228600"/>
                  </a:cubicBezTo>
                  <a:cubicBezTo>
                    <a:pt x="137314" y="245085"/>
                    <a:pt x="129822" y="261517"/>
                    <a:pt x="120316" y="276726"/>
                  </a:cubicBezTo>
                  <a:cubicBezTo>
                    <a:pt x="109688" y="293731"/>
                    <a:pt x="93959" y="307323"/>
                    <a:pt x="84221" y="324852"/>
                  </a:cubicBezTo>
                  <a:cubicBezTo>
                    <a:pt x="73732" y="343731"/>
                    <a:pt x="69208" y="365400"/>
                    <a:pt x="60158" y="385010"/>
                  </a:cubicBezTo>
                  <a:cubicBezTo>
                    <a:pt x="-4401" y="524888"/>
                    <a:pt x="27180" y="435819"/>
                    <a:pt x="0" y="517358"/>
                  </a:cubicBezTo>
                  <a:cubicBezTo>
                    <a:pt x="4011" y="637674"/>
                    <a:pt x="4749" y="758143"/>
                    <a:pt x="12032" y="878305"/>
                  </a:cubicBezTo>
                  <a:cubicBezTo>
                    <a:pt x="14118" y="912721"/>
                    <a:pt x="33580" y="921403"/>
                    <a:pt x="48126" y="950494"/>
                  </a:cubicBezTo>
                  <a:cubicBezTo>
                    <a:pt x="53798" y="961838"/>
                    <a:pt x="56147" y="974557"/>
                    <a:pt x="60158" y="986589"/>
                  </a:cubicBezTo>
                  <a:cubicBezTo>
                    <a:pt x="115031" y="821961"/>
                    <a:pt x="61646" y="993649"/>
                    <a:pt x="84221" y="553452"/>
                  </a:cubicBezTo>
                  <a:cubicBezTo>
                    <a:pt x="85470" y="529089"/>
                    <a:pt x="92803" y="505413"/>
                    <a:pt x="96253" y="481263"/>
                  </a:cubicBezTo>
                  <a:cubicBezTo>
                    <a:pt x="110676" y="380299"/>
                    <a:pt x="100267" y="410396"/>
                    <a:pt x="120316" y="336884"/>
                  </a:cubicBezTo>
                  <a:cubicBezTo>
                    <a:pt x="127998" y="308716"/>
                    <a:pt x="136697" y="280831"/>
                    <a:pt x="144379" y="252663"/>
                  </a:cubicBezTo>
                  <a:cubicBezTo>
                    <a:pt x="148730" y="236710"/>
                    <a:pt x="149015" y="219326"/>
                    <a:pt x="156410" y="204536"/>
                  </a:cubicBezTo>
                  <a:cubicBezTo>
                    <a:pt x="161483" y="194390"/>
                    <a:pt x="173212" y="189187"/>
                    <a:pt x="180474" y="180473"/>
                  </a:cubicBezTo>
                  <a:cubicBezTo>
                    <a:pt x="193311" y="165068"/>
                    <a:pt x="204913" y="148664"/>
                    <a:pt x="216568" y="132347"/>
                  </a:cubicBezTo>
                  <a:cubicBezTo>
                    <a:pt x="224973" y="120580"/>
                    <a:pt x="229340" y="105285"/>
                    <a:pt x="240632" y="96252"/>
                  </a:cubicBezTo>
                  <a:cubicBezTo>
                    <a:pt x="250535" y="88330"/>
                    <a:pt x="265069" y="89217"/>
                    <a:pt x="276726" y="84221"/>
                  </a:cubicBezTo>
                  <a:cubicBezTo>
                    <a:pt x="364812" y="46471"/>
                    <a:pt x="284249" y="70310"/>
                    <a:pt x="372979" y="48126"/>
                  </a:cubicBezTo>
                  <a:cubicBezTo>
                    <a:pt x="352505" y="109546"/>
                    <a:pt x="367075" y="86947"/>
                    <a:pt x="288758" y="144379"/>
                  </a:cubicBezTo>
                  <a:cubicBezTo>
                    <a:pt x="253776" y="170033"/>
                    <a:pt x="180474" y="216568"/>
                    <a:pt x="180474" y="216568"/>
                  </a:cubicBezTo>
                  <a:cubicBezTo>
                    <a:pt x="172453" y="228600"/>
                    <a:pt x="165667" y="241554"/>
                    <a:pt x="156410" y="252663"/>
                  </a:cubicBezTo>
                  <a:cubicBezTo>
                    <a:pt x="145517" y="265734"/>
                    <a:pt x="128758" y="273985"/>
                    <a:pt x="120316" y="288758"/>
                  </a:cubicBezTo>
                  <a:cubicBezTo>
                    <a:pt x="112112" y="303115"/>
                    <a:pt x="114090" y="321401"/>
                    <a:pt x="108284" y="336884"/>
                  </a:cubicBezTo>
                  <a:cubicBezTo>
                    <a:pt x="101986" y="353678"/>
                    <a:pt x="91505" y="368620"/>
                    <a:pt x="84221" y="385010"/>
                  </a:cubicBezTo>
                  <a:cubicBezTo>
                    <a:pt x="75450" y="404746"/>
                    <a:pt x="66988" y="424679"/>
                    <a:pt x="60158" y="445168"/>
                  </a:cubicBezTo>
                  <a:cubicBezTo>
                    <a:pt x="34260" y="522860"/>
                    <a:pt x="66357" y="465948"/>
                    <a:pt x="24063" y="529389"/>
                  </a:cubicBezTo>
                  <a:cubicBezTo>
                    <a:pt x="20053" y="545431"/>
                    <a:pt x="16575" y="561616"/>
                    <a:pt x="12032" y="577515"/>
                  </a:cubicBezTo>
                  <a:cubicBezTo>
                    <a:pt x="8548" y="589710"/>
                    <a:pt x="0" y="600927"/>
                    <a:pt x="0" y="613610"/>
                  </a:cubicBezTo>
                  <a:cubicBezTo>
                    <a:pt x="0" y="689915"/>
                    <a:pt x="5124" y="766218"/>
                    <a:pt x="12032" y="842210"/>
                  </a:cubicBezTo>
                  <a:cubicBezTo>
                    <a:pt x="13180" y="854840"/>
                    <a:pt x="17904" y="867219"/>
                    <a:pt x="24063" y="878305"/>
                  </a:cubicBezTo>
                  <a:cubicBezTo>
                    <a:pt x="38108" y="903586"/>
                    <a:pt x="59255" y="924627"/>
                    <a:pt x="72189" y="950494"/>
                  </a:cubicBezTo>
                  <a:cubicBezTo>
                    <a:pt x="80210" y="966536"/>
                    <a:pt x="89188" y="982135"/>
                    <a:pt x="96253" y="998621"/>
                  </a:cubicBezTo>
                  <a:cubicBezTo>
                    <a:pt x="101249" y="1010278"/>
                    <a:pt x="102612" y="1023372"/>
                    <a:pt x="108284" y="1034715"/>
                  </a:cubicBezTo>
                  <a:cubicBezTo>
                    <a:pt x="125035" y="1068217"/>
                    <a:pt x="141832" y="1080295"/>
                    <a:pt x="168442" y="1106905"/>
                  </a:cubicBezTo>
                  <a:cubicBezTo>
                    <a:pt x="239290" y="894366"/>
                    <a:pt x="155566" y="1157366"/>
                    <a:pt x="192505" y="529389"/>
                  </a:cubicBezTo>
                  <a:cubicBezTo>
                    <a:pt x="193994" y="504068"/>
                    <a:pt x="208547" y="481263"/>
                    <a:pt x="216568" y="457200"/>
                  </a:cubicBezTo>
                  <a:cubicBezTo>
                    <a:pt x="233980" y="404963"/>
                    <a:pt x="219633" y="430072"/>
                    <a:pt x="264695" y="385010"/>
                  </a:cubicBezTo>
                  <a:cubicBezTo>
                    <a:pt x="268705" y="368968"/>
                    <a:pt x="270212" y="352083"/>
                    <a:pt x="276726" y="336884"/>
                  </a:cubicBezTo>
                  <a:cubicBezTo>
                    <a:pt x="293819" y="297000"/>
                    <a:pt x="300968" y="306582"/>
                    <a:pt x="324853" y="276726"/>
                  </a:cubicBezTo>
                  <a:cubicBezTo>
                    <a:pt x="333886" y="265435"/>
                    <a:pt x="339659" y="251740"/>
                    <a:pt x="348916" y="240631"/>
                  </a:cubicBezTo>
                  <a:cubicBezTo>
                    <a:pt x="359809" y="227560"/>
                    <a:pt x="371939" y="215429"/>
                    <a:pt x="385010" y="204536"/>
                  </a:cubicBezTo>
                  <a:cubicBezTo>
                    <a:pt x="406333" y="186767"/>
                    <a:pt x="445005" y="166793"/>
                    <a:pt x="469232" y="156410"/>
                  </a:cubicBezTo>
                  <a:cubicBezTo>
                    <a:pt x="480889" y="151414"/>
                    <a:pt x="493295" y="148389"/>
                    <a:pt x="505326" y="144379"/>
                  </a:cubicBezTo>
                  <a:cubicBezTo>
                    <a:pt x="489284" y="168442"/>
                    <a:pt x="466346" y="189132"/>
                    <a:pt x="457200" y="216568"/>
                  </a:cubicBezTo>
                  <a:cubicBezTo>
                    <a:pt x="453189" y="228600"/>
                    <a:pt x="450840" y="241319"/>
                    <a:pt x="445168" y="252663"/>
                  </a:cubicBezTo>
                  <a:cubicBezTo>
                    <a:pt x="438701" y="265597"/>
                    <a:pt x="428279" y="276203"/>
                    <a:pt x="421105" y="288758"/>
                  </a:cubicBezTo>
                  <a:cubicBezTo>
                    <a:pt x="412207" y="304330"/>
                    <a:pt x="405063" y="320842"/>
                    <a:pt x="397042" y="336884"/>
                  </a:cubicBezTo>
                  <a:cubicBezTo>
                    <a:pt x="393031" y="368968"/>
                    <a:pt x="389927" y="401178"/>
                    <a:pt x="385010" y="433136"/>
                  </a:cubicBezTo>
                  <a:cubicBezTo>
                    <a:pt x="381900" y="453348"/>
                    <a:pt x="372979" y="472844"/>
                    <a:pt x="372979" y="493294"/>
                  </a:cubicBezTo>
                  <a:cubicBezTo>
                    <a:pt x="372979" y="597645"/>
                    <a:pt x="377831" y="702012"/>
                    <a:pt x="385010" y="806115"/>
                  </a:cubicBezTo>
                  <a:cubicBezTo>
                    <a:pt x="385883" y="818767"/>
                    <a:pt x="391370" y="830866"/>
                    <a:pt x="397042" y="842210"/>
                  </a:cubicBezTo>
                  <a:cubicBezTo>
                    <a:pt x="403509" y="855144"/>
                    <a:pt x="413084" y="866273"/>
                    <a:pt x="421105" y="878305"/>
                  </a:cubicBezTo>
                  <a:cubicBezTo>
                    <a:pt x="458235" y="766918"/>
                    <a:pt x="421105" y="893079"/>
                    <a:pt x="421105" y="625642"/>
                  </a:cubicBezTo>
                  <a:cubicBezTo>
                    <a:pt x="421105" y="525298"/>
                    <a:pt x="425988" y="424941"/>
                    <a:pt x="433137" y="324852"/>
                  </a:cubicBezTo>
                  <a:cubicBezTo>
                    <a:pt x="434041" y="312202"/>
                    <a:pt x="439496" y="300101"/>
                    <a:pt x="445168" y="288758"/>
                  </a:cubicBezTo>
                  <a:cubicBezTo>
                    <a:pt x="451635" y="275824"/>
                    <a:pt x="461211" y="264695"/>
                    <a:pt x="469232" y="252663"/>
                  </a:cubicBezTo>
                  <a:cubicBezTo>
                    <a:pt x="473242" y="240631"/>
                    <a:pt x="481263" y="203886"/>
                    <a:pt x="481263" y="216568"/>
                  </a:cubicBezTo>
                  <a:cubicBezTo>
                    <a:pt x="481263" y="325375"/>
                    <a:pt x="474169" y="348294"/>
                    <a:pt x="457200" y="433136"/>
                  </a:cubicBezTo>
                  <a:cubicBezTo>
                    <a:pt x="461211" y="545431"/>
                    <a:pt x="458408" y="658177"/>
                    <a:pt x="469232" y="770021"/>
                  </a:cubicBezTo>
                  <a:cubicBezTo>
                    <a:pt x="470625" y="784414"/>
                    <a:pt x="486828" y="793182"/>
                    <a:pt x="493295" y="806115"/>
                  </a:cubicBezTo>
                  <a:cubicBezTo>
                    <a:pt x="498967" y="817459"/>
                    <a:pt x="495423" y="834287"/>
                    <a:pt x="505326" y="842210"/>
                  </a:cubicBezTo>
                  <a:cubicBezTo>
                    <a:pt x="518238" y="852540"/>
                    <a:pt x="537411" y="850231"/>
                    <a:pt x="553453" y="854242"/>
                  </a:cubicBezTo>
                  <a:cubicBezTo>
                    <a:pt x="671745" y="676802"/>
                    <a:pt x="568219" y="846033"/>
                    <a:pt x="589547" y="312821"/>
                  </a:cubicBezTo>
                  <a:cubicBezTo>
                    <a:pt x="590839" y="280513"/>
                    <a:pt x="597568" y="248652"/>
                    <a:pt x="601579" y="216568"/>
                  </a:cubicBezTo>
                  <a:cubicBezTo>
                    <a:pt x="605589" y="232610"/>
                    <a:pt x="613610" y="248158"/>
                    <a:pt x="613610" y="264694"/>
                  </a:cubicBezTo>
                  <a:cubicBezTo>
                    <a:pt x="613610" y="303543"/>
                    <a:pt x="597165" y="319443"/>
                    <a:pt x="577516" y="348915"/>
                  </a:cubicBezTo>
                  <a:cubicBezTo>
                    <a:pt x="573603" y="368480"/>
                    <a:pt x="553453" y="465863"/>
                    <a:pt x="553453" y="481263"/>
                  </a:cubicBezTo>
                  <a:cubicBezTo>
                    <a:pt x="553453" y="557568"/>
                    <a:pt x="555174" y="634257"/>
                    <a:pt x="565484" y="709863"/>
                  </a:cubicBezTo>
                  <a:cubicBezTo>
                    <a:pt x="567438" y="724191"/>
                    <a:pt x="581142" y="734191"/>
                    <a:pt x="589547" y="745958"/>
                  </a:cubicBezTo>
                  <a:cubicBezTo>
                    <a:pt x="630247" y="802938"/>
                    <a:pt x="611893" y="784918"/>
                    <a:pt x="661737" y="818147"/>
                  </a:cubicBezTo>
                  <a:cubicBezTo>
                    <a:pt x="727396" y="686829"/>
                    <a:pt x="694533" y="771969"/>
                    <a:pt x="673768" y="481263"/>
                  </a:cubicBezTo>
                  <a:cubicBezTo>
                    <a:pt x="672590" y="464769"/>
                    <a:pt x="661737" y="416600"/>
                    <a:pt x="661737" y="433136"/>
                  </a:cubicBezTo>
                  <a:cubicBezTo>
                    <a:pt x="661737" y="453586"/>
                    <a:pt x="668387" y="473565"/>
                    <a:pt x="673768" y="493294"/>
                  </a:cubicBezTo>
                  <a:cubicBezTo>
                    <a:pt x="676171" y="502106"/>
                    <a:pt x="712670" y="613342"/>
                    <a:pt x="721895" y="625642"/>
                  </a:cubicBezTo>
                  <a:cubicBezTo>
                    <a:pt x="733926" y="641684"/>
                    <a:pt x="754796" y="648686"/>
                    <a:pt x="770021" y="661736"/>
                  </a:cubicBezTo>
                  <a:cubicBezTo>
                    <a:pt x="907996" y="779999"/>
                    <a:pt x="718787" y="622534"/>
                    <a:pt x="830179" y="733926"/>
                  </a:cubicBezTo>
                  <a:cubicBezTo>
                    <a:pt x="847184" y="750931"/>
                    <a:pt x="895528" y="772616"/>
                    <a:pt x="914400" y="782052"/>
                  </a:cubicBezTo>
                  <a:cubicBezTo>
                    <a:pt x="934453" y="774031"/>
                    <a:pt x="963843" y="776741"/>
                    <a:pt x="974558" y="757989"/>
                  </a:cubicBezTo>
                  <a:cubicBezTo>
                    <a:pt x="984704" y="740234"/>
                    <a:pt x="966080" y="717970"/>
                    <a:pt x="962526" y="697831"/>
                  </a:cubicBezTo>
                  <a:cubicBezTo>
                    <a:pt x="954047" y="649783"/>
                    <a:pt x="950296" y="600785"/>
                    <a:pt x="938463" y="553452"/>
                  </a:cubicBezTo>
                  <a:lnTo>
                    <a:pt x="914400" y="457200"/>
                  </a:lnTo>
                  <a:cubicBezTo>
                    <a:pt x="910389" y="417095"/>
                    <a:pt x="902368" y="296579"/>
                    <a:pt x="902368" y="336884"/>
                  </a:cubicBezTo>
                  <a:cubicBezTo>
                    <a:pt x="902368" y="367741"/>
                    <a:pt x="922737" y="584997"/>
                    <a:pt x="926432" y="625642"/>
                  </a:cubicBezTo>
                  <a:cubicBezTo>
                    <a:pt x="938463" y="621631"/>
                    <a:pt x="953558" y="622578"/>
                    <a:pt x="962526" y="613610"/>
                  </a:cubicBezTo>
                  <a:cubicBezTo>
                    <a:pt x="971494" y="604642"/>
                    <a:pt x="972630" y="590050"/>
                    <a:pt x="974558" y="577515"/>
                  </a:cubicBezTo>
                  <a:cubicBezTo>
                    <a:pt x="980687" y="537679"/>
                    <a:pt x="982579" y="497305"/>
                    <a:pt x="986589" y="457200"/>
                  </a:cubicBezTo>
                  <a:cubicBezTo>
                    <a:pt x="994610" y="473242"/>
                    <a:pt x="1001754" y="489754"/>
                    <a:pt x="1010653" y="505326"/>
                  </a:cubicBezTo>
                  <a:cubicBezTo>
                    <a:pt x="1017827" y="517881"/>
                    <a:pt x="1028249" y="528487"/>
                    <a:pt x="1034716" y="541421"/>
                  </a:cubicBezTo>
                  <a:cubicBezTo>
                    <a:pt x="1065953" y="603896"/>
                    <a:pt x="1023809" y="554576"/>
                    <a:pt x="1070810" y="601579"/>
                  </a:cubicBezTo>
                  <a:cubicBezTo>
                    <a:pt x="1084161" y="521477"/>
                    <a:pt x="1082842" y="504994"/>
                    <a:pt x="1082842" y="553452"/>
                  </a:cubicBezTo>
                </a:path>
              </a:pathLst>
            </a:custGeom>
            <a:no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grpSp>
      <p:sp>
        <p:nvSpPr>
          <p:cNvPr id="36" name="TextBox 35"/>
          <p:cNvSpPr txBox="1"/>
          <p:nvPr/>
        </p:nvSpPr>
        <p:spPr>
          <a:xfrm>
            <a:off x="8581973" y="1250530"/>
            <a:ext cx="2044534" cy="707886"/>
          </a:xfrm>
          <a:prstGeom prst="rect">
            <a:avLst/>
          </a:prstGeom>
          <a:noFill/>
        </p:spPr>
        <p:txBody>
          <a:bodyPr wrap="none" rtlCol="0">
            <a:spAutoFit/>
          </a:bodyPr>
          <a:lstStyle/>
          <a:p>
            <a:pPr algn="ctr"/>
            <a:r>
              <a:rPr lang="fr-FR" sz="2000" dirty="0">
                <a:solidFill>
                  <a:prstClr val="black"/>
                </a:solidFill>
                <a:latin typeface="Calibri" panose="020F0502020204030204"/>
              </a:rPr>
              <a:t>Manque de sécurité et de</a:t>
            </a:r>
          </a:p>
          <a:p>
            <a:pPr algn="ctr"/>
            <a:r>
              <a:rPr lang="fr-FR" sz="2000" dirty="0">
                <a:solidFill>
                  <a:prstClr val="black"/>
                </a:solidFill>
                <a:latin typeface="Calibri" panose="020F0502020204030204"/>
              </a:rPr>
              <a:t>confidentialité</a:t>
            </a:r>
          </a:p>
        </p:txBody>
      </p:sp>
      <p:sp>
        <p:nvSpPr>
          <p:cNvPr id="37" name="TextBox 36"/>
          <p:cNvSpPr txBox="1"/>
          <p:nvPr/>
        </p:nvSpPr>
        <p:spPr>
          <a:xfrm>
            <a:off x="3748741" y="3583019"/>
            <a:ext cx="1765620" cy="1015663"/>
          </a:xfrm>
          <a:prstGeom prst="rect">
            <a:avLst/>
          </a:prstGeom>
          <a:noFill/>
        </p:spPr>
        <p:txBody>
          <a:bodyPr wrap="square" rtlCol="0">
            <a:spAutoFit/>
          </a:bodyPr>
          <a:lstStyle/>
          <a:p>
            <a:pPr algn="ctr"/>
            <a:r>
              <a:rPr lang="fr-FR" sz="2000" dirty="0">
                <a:solidFill>
                  <a:prstClr val="black"/>
                </a:solidFill>
                <a:latin typeface="Calibri" panose="020F0502020204030204"/>
              </a:rPr>
              <a:t>Attitude de culpabilisation des victimes</a:t>
            </a:r>
          </a:p>
        </p:txBody>
      </p:sp>
      <p:sp>
        <p:nvSpPr>
          <p:cNvPr id="38" name="TextBox 37"/>
          <p:cNvSpPr txBox="1"/>
          <p:nvPr/>
        </p:nvSpPr>
        <p:spPr>
          <a:xfrm>
            <a:off x="5956580" y="340445"/>
            <a:ext cx="2887875" cy="1015663"/>
          </a:xfrm>
          <a:prstGeom prst="rect">
            <a:avLst/>
          </a:prstGeom>
          <a:noFill/>
        </p:spPr>
        <p:txBody>
          <a:bodyPr wrap="square" rtlCol="0">
            <a:spAutoFit/>
          </a:bodyPr>
          <a:lstStyle/>
          <a:p>
            <a:pPr algn="ctr"/>
            <a:r>
              <a:rPr lang="fr-FR" sz="2000" dirty="0">
                <a:solidFill>
                  <a:prstClr val="black"/>
                </a:solidFill>
                <a:latin typeface="Calibri" panose="020F0502020204030204"/>
              </a:rPr>
              <a:t>Absence d’équipement et de fournitures médicales adaptés</a:t>
            </a:r>
          </a:p>
        </p:txBody>
      </p:sp>
      <p:sp>
        <p:nvSpPr>
          <p:cNvPr id="39" name="TextBox 38"/>
          <p:cNvSpPr txBox="1"/>
          <p:nvPr/>
        </p:nvSpPr>
        <p:spPr>
          <a:xfrm>
            <a:off x="4952056" y="5666541"/>
            <a:ext cx="3151419" cy="1015663"/>
          </a:xfrm>
          <a:prstGeom prst="rect">
            <a:avLst/>
          </a:prstGeom>
          <a:noFill/>
        </p:spPr>
        <p:txBody>
          <a:bodyPr wrap="square" rtlCol="0">
            <a:spAutoFit/>
          </a:bodyPr>
          <a:lstStyle/>
          <a:p>
            <a:pPr algn="ctr"/>
            <a:r>
              <a:rPr lang="fr-FR" sz="2000" dirty="0">
                <a:solidFill>
                  <a:prstClr val="black"/>
                </a:solidFill>
                <a:latin typeface="Calibri" panose="020F0502020204030204"/>
              </a:rPr>
              <a:t>Existence d’une législation qui restreint le recours à la contraception d’urgence</a:t>
            </a:r>
          </a:p>
        </p:txBody>
      </p:sp>
      <p:sp>
        <p:nvSpPr>
          <p:cNvPr id="40" name="TextBox 39"/>
          <p:cNvSpPr txBox="1"/>
          <p:nvPr/>
        </p:nvSpPr>
        <p:spPr>
          <a:xfrm>
            <a:off x="1053906" y="5670334"/>
            <a:ext cx="2013957" cy="707886"/>
          </a:xfrm>
          <a:prstGeom prst="rect">
            <a:avLst/>
          </a:prstGeom>
          <a:noFill/>
        </p:spPr>
        <p:txBody>
          <a:bodyPr wrap="square" rtlCol="0">
            <a:spAutoFit/>
          </a:bodyPr>
          <a:lstStyle/>
          <a:p>
            <a:pPr algn="ctr"/>
            <a:r>
              <a:rPr lang="fr-FR" sz="2000" dirty="0">
                <a:solidFill>
                  <a:prstClr val="black"/>
                </a:solidFill>
                <a:latin typeface="Calibri" panose="020F0502020204030204"/>
              </a:rPr>
              <a:t>Manque d’interprètes qualifiés</a:t>
            </a:r>
          </a:p>
        </p:txBody>
      </p:sp>
      <p:sp>
        <p:nvSpPr>
          <p:cNvPr id="42" name="TextBox 41"/>
          <p:cNvSpPr txBox="1"/>
          <p:nvPr/>
        </p:nvSpPr>
        <p:spPr>
          <a:xfrm>
            <a:off x="7119670" y="4250170"/>
            <a:ext cx="2013957" cy="1323439"/>
          </a:xfrm>
          <a:prstGeom prst="rect">
            <a:avLst/>
          </a:prstGeom>
          <a:noFill/>
        </p:spPr>
        <p:txBody>
          <a:bodyPr wrap="square" rtlCol="0">
            <a:spAutoFit/>
          </a:bodyPr>
          <a:lstStyle/>
          <a:p>
            <a:pPr algn="ctr"/>
            <a:r>
              <a:rPr lang="fr-FR" sz="2000" dirty="0">
                <a:solidFill>
                  <a:prstClr val="black"/>
                </a:solidFill>
                <a:latin typeface="Calibri" panose="020F0502020204030204"/>
              </a:rPr>
              <a:t>Criminalisation ou restrictions d’accès à l’avortement</a:t>
            </a:r>
          </a:p>
        </p:txBody>
      </p:sp>
      <p:sp>
        <p:nvSpPr>
          <p:cNvPr id="44" name="TextBox 43"/>
          <p:cNvSpPr txBox="1"/>
          <p:nvPr/>
        </p:nvSpPr>
        <p:spPr>
          <a:xfrm>
            <a:off x="407525" y="331118"/>
            <a:ext cx="2435037" cy="1015663"/>
          </a:xfrm>
          <a:prstGeom prst="rect">
            <a:avLst/>
          </a:prstGeom>
          <a:noFill/>
        </p:spPr>
        <p:txBody>
          <a:bodyPr wrap="square" rtlCol="0">
            <a:spAutoFit/>
          </a:bodyPr>
          <a:lstStyle/>
          <a:p>
            <a:pPr algn="ctr"/>
            <a:r>
              <a:rPr lang="fr-FR" sz="2000" dirty="0">
                <a:solidFill>
                  <a:prstClr val="black"/>
                </a:solidFill>
                <a:latin typeface="Calibri" panose="020F0502020204030204"/>
              </a:rPr>
              <a:t>Manque de personnel de santé, hommes et femmes</a:t>
            </a:r>
          </a:p>
        </p:txBody>
      </p:sp>
      <p:sp>
        <p:nvSpPr>
          <p:cNvPr id="45" name="TextBox 44"/>
          <p:cNvSpPr txBox="1"/>
          <p:nvPr/>
        </p:nvSpPr>
        <p:spPr>
          <a:xfrm>
            <a:off x="360046" y="3695398"/>
            <a:ext cx="2201368" cy="1631216"/>
          </a:xfrm>
          <a:prstGeom prst="rect">
            <a:avLst/>
          </a:prstGeom>
          <a:noFill/>
        </p:spPr>
        <p:txBody>
          <a:bodyPr wrap="square" rtlCol="0">
            <a:spAutoFit/>
          </a:bodyPr>
          <a:lstStyle/>
          <a:p>
            <a:pPr algn="ctr"/>
            <a:r>
              <a:rPr lang="fr-FR" sz="2000" dirty="0">
                <a:solidFill>
                  <a:prstClr val="black"/>
                </a:solidFill>
                <a:latin typeface="Calibri" panose="020F0502020204030204"/>
              </a:rPr>
              <a:t>Manque de personnel formé aux examens forensiques dans un établissement</a:t>
            </a:r>
          </a:p>
        </p:txBody>
      </p:sp>
      <p:sp>
        <p:nvSpPr>
          <p:cNvPr id="46" name="TextBox 45"/>
          <p:cNvSpPr txBox="1"/>
          <p:nvPr/>
        </p:nvSpPr>
        <p:spPr>
          <a:xfrm>
            <a:off x="3126039" y="1932732"/>
            <a:ext cx="5280485" cy="400110"/>
          </a:xfrm>
          <a:prstGeom prst="rect">
            <a:avLst/>
          </a:prstGeom>
          <a:noFill/>
        </p:spPr>
        <p:txBody>
          <a:bodyPr wrap="none" rtlCol="0">
            <a:spAutoFit/>
          </a:bodyPr>
          <a:lstStyle/>
          <a:p>
            <a:r>
              <a:rPr lang="fr-FR" sz="2000" dirty="0">
                <a:solidFill>
                  <a:prstClr val="black"/>
                </a:solidFill>
                <a:latin typeface="Calibri" panose="020F0502020204030204"/>
              </a:rPr>
              <a:t>Absence d’orientation vers les services de SMSPS</a:t>
            </a:r>
          </a:p>
        </p:txBody>
      </p:sp>
      <p:sp>
        <p:nvSpPr>
          <p:cNvPr id="47" name="TextBox 46"/>
          <p:cNvSpPr txBox="1"/>
          <p:nvPr/>
        </p:nvSpPr>
        <p:spPr>
          <a:xfrm>
            <a:off x="6621769" y="2452515"/>
            <a:ext cx="1370696" cy="1015663"/>
          </a:xfrm>
          <a:prstGeom prst="rect">
            <a:avLst/>
          </a:prstGeom>
          <a:noFill/>
        </p:spPr>
        <p:txBody>
          <a:bodyPr wrap="square" rtlCol="0">
            <a:spAutoFit/>
          </a:bodyPr>
          <a:lstStyle/>
          <a:p>
            <a:pPr algn="ctr"/>
            <a:r>
              <a:rPr lang="fr-FR" sz="2000" dirty="0">
                <a:solidFill>
                  <a:prstClr val="black"/>
                </a:solidFill>
                <a:latin typeface="Calibri" panose="020F0502020204030204"/>
              </a:rPr>
              <a:t>Pratique de procédures invasives</a:t>
            </a:r>
          </a:p>
        </p:txBody>
      </p:sp>
      <p:sp>
        <p:nvSpPr>
          <p:cNvPr id="48" name="TextBox 47"/>
          <p:cNvSpPr txBox="1"/>
          <p:nvPr/>
        </p:nvSpPr>
        <p:spPr>
          <a:xfrm>
            <a:off x="3067863" y="451606"/>
            <a:ext cx="2400092" cy="1015663"/>
          </a:xfrm>
          <a:prstGeom prst="rect">
            <a:avLst/>
          </a:prstGeom>
          <a:noFill/>
        </p:spPr>
        <p:txBody>
          <a:bodyPr wrap="square" rtlCol="0">
            <a:spAutoFit/>
          </a:bodyPr>
          <a:lstStyle/>
          <a:p>
            <a:pPr algn="ctr"/>
            <a:r>
              <a:rPr lang="fr-FR" sz="2000" dirty="0">
                <a:solidFill>
                  <a:prstClr val="black"/>
                </a:solidFill>
                <a:latin typeface="Calibri" panose="020F0502020204030204"/>
              </a:rPr>
              <a:t>Absence de protocole écrit relatif à la prise en charge clinique du viol</a:t>
            </a:r>
          </a:p>
        </p:txBody>
      </p:sp>
      <p:grpSp>
        <p:nvGrpSpPr>
          <p:cNvPr id="41" name="Group 40"/>
          <p:cNvGrpSpPr/>
          <p:nvPr/>
        </p:nvGrpSpPr>
        <p:grpSpPr>
          <a:xfrm flipH="1">
            <a:off x="2770981" y="2804491"/>
            <a:ext cx="992792" cy="1946440"/>
            <a:chOff x="2985738" y="1413935"/>
            <a:chExt cx="2983261" cy="5233392"/>
          </a:xfrm>
          <a:solidFill>
            <a:schemeClr val="accent4">
              <a:lumMod val="40000"/>
              <a:lumOff val="60000"/>
            </a:schemeClr>
          </a:solidFill>
        </p:grpSpPr>
        <p:sp>
          <p:nvSpPr>
            <p:cNvPr id="49" name="Freeform 48"/>
            <p:cNvSpPr/>
            <p:nvPr/>
          </p:nvSpPr>
          <p:spPr>
            <a:xfrm>
              <a:off x="3496731" y="2556189"/>
              <a:ext cx="2257172" cy="2882583"/>
            </a:xfrm>
            <a:custGeom>
              <a:avLst/>
              <a:gdLst>
                <a:gd name="connsiteX0" fmla="*/ 347134 w 2257170"/>
                <a:gd name="connsiteY0" fmla="*/ 51544 h 2882584"/>
                <a:gd name="connsiteX1" fmla="*/ 347134 w 2257170"/>
                <a:gd name="connsiteY1" fmla="*/ 51544 h 2882584"/>
                <a:gd name="connsiteX2" fmla="*/ 287867 w 2257170"/>
                <a:gd name="connsiteY2" fmla="*/ 102344 h 2882584"/>
                <a:gd name="connsiteX3" fmla="*/ 254000 w 2257170"/>
                <a:gd name="connsiteY3" fmla="*/ 161611 h 2882584"/>
                <a:gd name="connsiteX4" fmla="*/ 228600 w 2257170"/>
                <a:gd name="connsiteY4" fmla="*/ 195478 h 2882584"/>
                <a:gd name="connsiteX5" fmla="*/ 194734 w 2257170"/>
                <a:gd name="connsiteY5" fmla="*/ 237811 h 2882584"/>
                <a:gd name="connsiteX6" fmla="*/ 169334 w 2257170"/>
                <a:gd name="connsiteY6" fmla="*/ 280144 h 2882584"/>
                <a:gd name="connsiteX7" fmla="*/ 152400 w 2257170"/>
                <a:gd name="connsiteY7" fmla="*/ 339411 h 2882584"/>
                <a:gd name="connsiteX8" fmla="*/ 143934 w 2257170"/>
                <a:gd name="connsiteY8" fmla="*/ 364811 h 2882584"/>
                <a:gd name="connsiteX9" fmla="*/ 127000 w 2257170"/>
                <a:gd name="connsiteY9" fmla="*/ 398678 h 2882584"/>
                <a:gd name="connsiteX10" fmla="*/ 93134 w 2257170"/>
                <a:gd name="connsiteY10" fmla="*/ 500278 h 2882584"/>
                <a:gd name="connsiteX11" fmla="*/ 84667 w 2257170"/>
                <a:gd name="connsiteY11" fmla="*/ 618811 h 2882584"/>
                <a:gd name="connsiteX12" fmla="*/ 67734 w 2257170"/>
                <a:gd name="connsiteY12" fmla="*/ 703478 h 2882584"/>
                <a:gd name="connsiteX13" fmla="*/ 50800 w 2257170"/>
                <a:gd name="connsiteY13" fmla="*/ 788144 h 2882584"/>
                <a:gd name="connsiteX14" fmla="*/ 42334 w 2257170"/>
                <a:gd name="connsiteY14" fmla="*/ 906678 h 2882584"/>
                <a:gd name="connsiteX15" fmla="*/ 33867 w 2257170"/>
                <a:gd name="connsiteY15" fmla="*/ 932078 h 2882584"/>
                <a:gd name="connsiteX16" fmla="*/ 16934 w 2257170"/>
                <a:gd name="connsiteY16" fmla="*/ 1084478 h 2882584"/>
                <a:gd name="connsiteX17" fmla="*/ 8467 w 2257170"/>
                <a:gd name="connsiteY17" fmla="*/ 1219944 h 2882584"/>
                <a:gd name="connsiteX18" fmla="*/ 0 w 2257170"/>
                <a:gd name="connsiteY18" fmla="*/ 1313078 h 2882584"/>
                <a:gd name="connsiteX19" fmla="*/ 8467 w 2257170"/>
                <a:gd name="connsiteY19" fmla="*/ 2066611 h 2882584"/>
                <a:gd name="connsiteX20" fmla="*/ 16934 w 2257170"/>
                <a:gd name="connsiteY20" fmla="*/ 2379878 h 2882584"/>
                <a:gd name="connsiteX21" fmla="*/ 33867 w 2257170"/>
                <a:gd name="connsiteY21" fmla="*/ 2583078 h 2882584"/>
                <a:gd name="connsiteX22" fmla="*/ 42334 w 2257170"/>
                <a:gd name="connsiteY22" fmla="*/ 2820144 h 2882584"/>
                <a:gd name="connsiteX23" fmla="*/ 50800 w 2257170"/>
                <a:gd name="connsiteY23" fmla="*/ 2879411 h 2882584"/>
                <a:gd name="connsiteX24" fmla="*/ 93134 w 2257170"/>
                <a:gd name="connsiteY24" fmla="*/ 2870944 h 2882584"/>
                <a:gd name="connsiteX25" fmla="*/ 254000 w 2257170"/>
                <a:gd name="connsiteY25" fmla="*/ 2862478 h 2882584"/>
                <a:gd name="connsiteX26" fmla="*/ 524934 w 2257170"/>
                <a:gd name="connsiteY26" fmla="*/ 2854011 h 2882584"/>
                <a:gd name="connsiteX27" fmla="*/ 2159000 w 2257170"/>
                <a:gd name="connsiteY27" fmla="*/ 2862478 h 2882584"/>
                <a:gd name="connsiteX28" fmla="*/ 2235200 w 2257170"/>
                <a:gd name="connsiteY28" fmla="*/ 2862478 h 2882584"/>
                <a:gd name="connsiteX29" fmla="*/ 2235200 w 2257170"/>
                <a:gd name="connsiteY29" fmla="*/ 2447611 h 2882584"/>
                <a:gd name="connsiteX30" fmla="*/ 2218267 w 2257170"/>
                <a:gd name="connsiteY30" fmla="*/ 2346011 h 2882584"/>
                <a:gd name="connsiteX31" fmla="*/ 2209800 w 2257170"/>
                <a:gd name="connsiteY31" fmla="*/ 2125878 h 2882584"/>
                <a:gd name="connsiteX32" fmla="*/ 2201334 w 2257170"/>
                <a:gd name="connsiteY32" fmla="*/ 2083544 h 2882584"/>
                <a:gd name="connsiteX33" fmla="*/ 2192867 w 2257170"/>
                <a:gd name="connsiteY33" fmla="*/ 2007344 h 2882584"/>
                <a:gd name="connsiteX34" fmla="*/ 2167467 w 2257170"/>
                <a:gd name="connsiteY34" fmla="*/ 1854944 h 2882584"/>
                <a:gd name="connsiteX35" fmla="*/ 2159000 w 2257170"/>
                <a:gd name="connsiteY35" fmla="*/ 1727944 h 2882584"/>
                <a:gd name="connsiteX36" fmla="*/ 2150534 w 2257170"/>
                <a:gd name="connsiteY36" fmla="*/ 1694078 h 2882584"/>
                <a:gd name="connsiteX37" fmla="*/ 2142067 w 2257170"/>
                <a:gd name="connsiteY37" fmla="*/ 1617878 h 2882584"/>
                <a:gd name="connsiteX38" fmla="*/ 2125134 w 2257170"/>
                <a:gd name="connsiteY38" fmla="*/ 1423144 h 2882584"/>
                <a:gd name="connsiteX39" fmla="*/ 2099734 w 2257170"/>
                <a:gd name="connsiteY39" fmla="*/ 1338478 h 2882584"/>
                <a:gd name="connsiteX40" fmla="*/ 2065867 w 2257170"/>
                <a:gd name="connsiteY40" fmla="*/ 1245344 h 2882584"/>
                <a:gd name="connsiteX41" fmla="*/ 2057400 w 2257170"/>
                <a:gd name="connsiteY41" fmla="*/ 1177611 h 2882584"/>
                <a:gd name="connsiteX42" fmla="*/ 2048934 w 2257170"/>
                <a:gd name="connsiteY42" fmla="*/ 1118344 h 2882584"/>
                <a:gd name="connsiteX43" fmla="*/ 2032000 w 2257170"/>
                <a:gd name="connsiteY43" fmla="*/ 974411 h 2882584"/>
                <a:gd name="connsiteX44" fmla="*/ 2006600 w 2257170"/>
                <a:gd name="connsiteY44" fmla="*/ 796611 h 2882584"/>
                <a:gd name="connsiteX45" fmla="*/ 1964267 w 2257170"/>
                <a:gd name="connsiteY45" fmla="*/ 686544 h 2882584"/>
                <a:gd name="connsiteX46" fmla="*/ 1947334 w 2257170"/>
                <a:gd name="connsiteY46" fmla="*/ 661144 h 2882584"/>
                <a:gd name="connsiteX47" fmla="*/ 1905000 w 2257170"/>
                <a:gd name="connsiteY47" fmla="*/ 568011 h 2882584"/>
                <a:gd name="connsiteX48" fmla="*/ 1896534 w 2257170"/>
                <a:gd name="connsiteY48" fmla="*/ 517211 h 2882584"/>
                <a:gd name="connsiteX49" fmla="*/ 1879600 w 2257170"/>
                <a:gd name="connsiteY49" fmla="*/ 474878 h 2882584"/>
                <a:gd name="connsiteX50" fmla="*/ 1854200 w 2257170"/>
                <a:gd name="connsiteY50" fmla="*/ 424078 h 2882584"/>
                <a:gd name="connsiteX51" fmla="*/ 1828800 w 2257170"/>
                <a:gd name="connsiteY51" fmla="*/ 381744 h 2882584"/>
                <a:gd name="connsiteX52" fmla="*/ 1803400 w 2257170"/>
                <a:gd name="connsiteY52" fmla="*/ 330944 h 2882584"/>
                <a:gd name="connsiteX53" fmla="*/ 1778000 w 2257170"/>
                <a:gd name="connsiteY53" fmla="*/ 297078 h 2882584"/>
                <a:gd name="connsiteX54" fmla="*/ 1761067 w 2257170"/>
                <a:gd name="connsiteY54" fmla="*/ 263211 h 2882584"/>
                <a:gd name="connsiteX55" fmla="*/ 1718734 w 2257170"/>
                <a:gd name="connsiteY55" fmla="*/ 203944 h 2882584"/>
                <a:gd name="connsiteX56" fmla="*/ 1684867 w 2257170"/>
                <a:gd name="connsiteY56" fmla="*/ 144678 h 2882584"/>
                <a:gd name="connsiteX57" fmla="*/ 1667934 w 2257170"/>
                <a:gd name="connsiteY57" fmla="*/ 93878 h 2882584"/>
                <a:gd name="connsiteX58" fmla="*/ 1651000 w 2257170"/>
                <a:gd name="connsiteY58" fmla="*/ 68478 h 2882584"/>
                <a:gd name="connsiteX59" fmla="*/ 1600200 w 2257170"/>
                <a:gd name="connsiteY59" fmla="*/ 26144 h 2882584"/>
                <a:gd name="connsiteX60" fmla="*/ 1574800 w 2257170"/>
                <a:gd name="connsiteY60" fmla="*/ 9211 h 2882584"/>
                <a:gd name="connsiteX61" fmla="*/ 1507067 w 2257170"/>
                <a:gd name="connsiteY61" fmla="*/ 744 h 2882584"/>
                <a:gd name="connsiteX62" fmla="*/ 1507067 w 2257170"/>
                <a:gd name="connsiteY62" fmla="*/ 744 h 2882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257170" h="2882584">
                  <a:moveTo>
                    <a:pt x="347134" y="51544"/>
                  </a:moveTo>
                  <a:lnTo>
                    <a:pt x="347134" y="51544"/>
                  </a:lnTo>
                  <a:cubicBezTo>
                    <a:pt x="327378" y="68477"/>
                    <a:pt x="306266" y="83945"/>
                    <a:pt x="287867" y="102344"/>
                  </a:cubicBezTo>
                  <a:cubicBezTo>
                    <a:pt x="272333" y="117878"/>
                    <a:pt x="265065" y="143907"/>
                    <a:pt x="254000" y="161611"/>
                  </a:cubicBezTo>
                  <a:cubicBezTo>
                    <a:pt x="246521" y="173577"/>
                    <a:pt x="237067" y="184189"/>
                    <a:pt x="228600" y="195478"/>
                  </a:cubicBezTo>
                  <a:cubicBezTo>
                    <a:pt x="209066" y="254086"/>
                    <a:pt x="236511" y="189072"/>
                    <a:pt x="194734" y="237811"/>
                  </a:cubicBezTo>
                  <a:cubicBezTo>
                    <a:pt x="184024" y="250305"/>
                    <a:pt x="177801" y="266033"/>
                    <a:pt x="169334" y="280144"/>
                  </a:cubicBezTo>
                  <a:cubicBezTo>
                    <a:pt x="163689" y="299900"/>
                    <a:pt x="158304" y="319731"/>
                    <a:pt x="152400" y="339411"/>
                  </a:cubicBezTo>
                  <a:cubicBezTo>
                    <a:pt x="149836" y="347959"/>
                    <a:pt x="147450" y="356608"/>
                    <a:pt x="143934" y="364811"/>
                  </a:cubicBezTo>
                  <a:cubicBezTo>
                    <a:pt x="138962" y="376412"/>
                    <a:pt x="131432" y="386860"/>
                    <a:pt x="127000" y="398678"/>
                  </a:cubicBezTo>
                  <a:cubicBezTo>
                    <a:pt x="114465" y="432104"/>
                    <a:pt x="93134" y="500278"/>
                    <a:pt x="93134" y="500278"/>
                  </a:cubicBezTo>
                  <a:cubicBezTo>
                    <a:pt x="90312" y="539789"/>
                    <a:pt x="88609" y="579396"/>
                    <a:pt x="84667" y="618811"/>
                  </a:cubicBezTo>
                  <a:cubicBezTo>
                    <a:pt x="79744" y="668035"/>
                    <a:pt x="76664" y="661805"/>
                    <a:pt x="67734" y="703478"/>
                  </a:cubicBezTo>
                  <a:cubicBezTo>
                    <a:pt x="61704" y="731620"/>
                    <a:pt x="50800" y="788144"/>
                    <a:pt x="50800" y="788144"/>
                  </a:cubicBezTo>
                  <a:cubicBezTo>
                    <a:pt x="47978" y="827655"/>
                    <a:pt x="46962" y="867337"/>
                    <a:pt x="42334" y="906678"/>
                  </a:cubicBezTo>
                  <a:cubicBezTo>
                    <a:pt x="41291" y="915542"/>
                    <a:pt x="34910" y="923214"/>
                    <a:pt x="33867" y="932078"/>
                  </a:cubicBezTo>
                  <a:cubicBezTo>
                    <a:pt x="13208" y="1107675"/>
                    <a:pt x="38345" y="998828"/>
                    <a:pt x="16934" y="1084478"/>
                  </a:cubicBezTo>
                  <a:cubicBezTo>
                    <a:pt x="14112" y="1129633"/>
                    <a:pt x="11809" y="1174824"/>
                    <a:pt x="8467" y="1219944"/>
                  </a:cubicBezTo>
                  <a:cubicBezTo>
                    <a:pt x="6164" y="1251032"/>
                    <a:pt x="0" y="1281905"/>
                    <a:pt x="0" y="1313078"/>
                  </a:cubicBezTo>
                  <a:cubicBezTo>
                    <a:pt x="0" y="1564272"/>
                    <a:pt x="4480" y="1815449"/>
                    <a:pt x="8467" y="2066611"/>
                  </a:cubicBezTo>
                  <a:cubicBezTo>
                    <a:pt x="10125" y="2171058"/>
                    <a:pt x="12759" y="2275501"/>
                    <a:pt x="16934" y="2379878"/>
                  </a:cubicBezTo>
                  <a:cubicBezTo>
                    <a:pt x="18486" y="2418675"/>
                    <a:pt x="29951" y="2540004"/>
                    <a:pt x="33867" y="2583078"/>
                  </a:cubicBezTo>
                  <a:cubicBezTo>
                    <a:pt x="36689" y="2662100"/>
                    <a:pt x="37823" y="2741200"/>
                    <a:pt x="42334" y="2820144"/>
                  </a:cubicBezTo>
                  <a:cubicBezTo>
                    <a:pt x="43472" y="2840068"/>
                    <a:pt x="36689" y="2865300"/>
                    <a:pt x="50800" y="2879411"/>
                  </a:cubicBezTo>
                  <a:cubicBezTo>
                    <a:pt x="60976" y="2889587"/>
                    <a:pt x="78793" y="2872139"/>
                    <a:pt x="93134" y="2870944"/>
                  </a:cubicBezTo>
                  <a:cubicBezTo>
                    <a:pt x="146645" y="2866485"/>
                    <a:pt x="200345" y="2864582"/>
                    <a:pt x="254000" y="2862478"/>
                  </a:cubicBezTo>
                  <a:lnTo>
                    <a:pt x="524934" y="2854011"/>
                  </a:lnTo>
                  <a:lnTo>
                    <a:pt x="2159000" y="2862478"/>
                  </a:lnTo>
                  <a:cubicBezTo>
                    <a:pt x="2276843" y="2863680"/>
                    <a:pt x="2029105" y="2896824"/>
                    <a:pt x="2235200" y="2862478"/>
                  </a:cubicBezTo>
                  <a:cubicBezTo>
                    <a:pt x="2273574" y="2708987"/>
                    <a:pt x="2253789" y="2800794"/>
                    <a:pt x="2235200" y="2447611"/>
                  </a:cubicBezTo>
                  <a:cubicBezTo>
                    <a:pt x="2233395" y="2413325"/>
                    <a:pt x="2218267" y="2346011"/>
                    <a:pt x="2218267" y="2346011"/>
                  </a:cubicBezTo>
                  <a:cubicBezTo>
                    <a:pt x="2215445" y="2272633"/>
                    <a:pt x="2214528" y="2199158"/>
                    <a:pt x="2209800" y="2125878"/>
                  </a:cubicBezTo>
                  <a:cubicBezTo>
                    <a:pt x="2208874" y="2111517"/>
                    <a:pt x="2203369" y="2097790"/>
                    <a:pt x="2201334" y="2083544"/>
                  </a:cubicBezTo>
                  <a:cubicBezTo>
                    <a:pt x="2197720" y="2058245"/>
                    <a:pt x="2196612" y="2032624"/>
                    <a:pt x="2192867" y="2007344"/>
                  </a:cubicBezTo>
                  <a:cubicBezTo>
                    <a:pt x="2185320" y="1956399"/>
                    <a:pt x="2167467" y="1854944"/>
                    <a:pt x="2167467" y="1854944"/>
                  </a:cubicBezTo>
                  <a:cubicBezTo>
                    <a:pt x="2164645" y="1812611"/>
                    <a:pt x="2163441" y="1770138"/>
                    <a:pt x="2159000" y="1727944"/>
                  </a:cubicBezTo>
                  <a:cubicBezTo>
                    <a:pt x="2157782" y="1716372"/>
                    <a:pt x="2152303" y="1705579"/>
                    <a:pt x="2150534" y="1694078"/>
                  </a:cubicBezTo>
                  <a:cubicBezTo>
                    <a:pt x="2146648" y="1668819"/>
                    <a:pt x="2144452" y="1643323"/>
                    <a:pt x="2142067" y="1617878"/>
                  </a:cubicBezTo>
                  <a:cubicBezTo>
                    <a:pt x="2135985" y="1553006"/>
                    <a:pt x="2132075" y="1487929"/>
                    <a:pt x="2125134" y="1423144"/>
                  </a:cubicBezTo>
                  <a:cubicBezTo>
                    <a:pt x="2119854" y="1373866"/>
                    <a:pt x="2115497" y="1385768"/>
                    <a:pt x="2099734" y="1338478"/>
                  </a:cubicBezTo>
                  <a:cubicBezTo>
                    <a:pt x="2069133" y="1246675"/>
                    <a:pt x="2098254" y="1310120"/>
                    <a:pt x="2065867" y="1245344"/>
                  </a:cubicBezTo>
                  <a:cubicBezTo>
                    <a:pt x="2063045" y="1222766"/>
                    <a:pt x="2060407" y="1200165"/>
                    <a:pt x="2057400" y="1177611"/>
                  </a:cubicBezTo>
                  <a:cubicBezTo>
                    <a:pt x="2054763" y="1157830"/>
                    <a:pt x="2051409" y="1138146"/>
                    <a:pt x="2048934" y="1118344"/>
                  </a:cubicBezTo>
                  <a:cubicBezTo>
                    <a:pt x="2036389" y="1017979"/>
                    <a:pt x="2045031" y="1068884"/>
                    <a:pt x="2032000" y="974411"/>
                  </a:cubicBezTo>
                  <a:cubicBezTo>
                    <a:pt x="2023820" y="915104"/>
                    <a:pt x="2033374" y="850159"/>
                    <a:pt x="2006600" y="796611"/>
                  </a:cubicBezTo>
                  <a:cubicBezTo>
                    <a:pt x="1931225" y="645861"/>
                    <a:pt x="2030665" y="852542"/>
                    <a:pt x="1964267" y="686544"/>
                  </a:cubicBezTo>
                  <a:cubicBezTo>
                    <a:pt x="1960488" y="677096"/>
                    <a:pt x="1951467" y="670443"/>
                    <a:pt x="1947334" y="661144"/>
                  </a:cubicBezTo>
                  <a:cubicBezTo>
                    <a:pt x="1896736" y="547299"/>
                    <a:pt x="1965822" y="669380"/>
                    <a:pt x="1905000" y="568011"/>
                  </a:cubicBezTo>
                  <a:cubicBezTo>
                    <a:pt x="1902178" y="551078"/>
                    <a:pt x="1901051" y="533773"/>
                    <a:pt x="1896534" y="517211"/>
                  </a:cubicBezTo>
                  <a:cubicBezTo>
                    <a:pt x="1892535" y="502548"/>
                    <a:pt x="1884936" y="489108"/>
                    <a:pt x="1879600" y="474878"/>
                  </a:cubicBezTo>
                  <a:cubicBezTo>
                    <a:pt x="1864576" y="434814"/>
                    <a:pt x="1879893" y="462617"/>
                    <a:pt x="1854200" y="424078"/>
                  </a:cubicBezTo>
                  <a:cubicBezTo>
                    <a:pt x="1832075" y="357697"/>
                    <a:pt x="1862005" y="434871"/>
                    <a:pt x="1828800" y="381744"/>
                  </a:cubicBezTo>
                  <a:cubicBezTo>
                    <a:pt x="1818766" y="365690"/>
                    <a:pt x="1813141" y="347178"/>
                    <a:pt x="1803400" y="330944"/>
                  </a:cubicBezTo>
                  <a:cubicBezTo>
                    <a:pt x="1796140" y="318844"/>
                    <a:pt x="1785479" y="309044"/>
                    <a:pt x="1778000" y="297078"/>
                  </a:cubicBezTo>
                  <a:cubicBezTo>
                    <a:pt x="1771311" y="286375"/>
                    <a:pt x="1767329" y="274170"/>
                    <a:pt x="1761067" y="263211"/>
                  </a:cubicBezTo>
                  <a:cubicBezTo>
                    <a:pt x="1749666" y="243258"/>
                    <a:pt x="1731713" y="222115"/>
                    <a:pt x="1718734" y="203944"/>
                  </a:cubicBezTo>
                  <a:cubicBezTo>
                    <a:pt x="1704847" y="184503"/>
                    <a:pt x="1693888" y="167230"/>
                    <a:pt x="1684867" y="144678"/>
                  </a:cubicBezTo>
                  <a:cubicBezTo>
                    <a:pt x="1678238" y="128105"/>
                    <a:pt x="1677835" y="108729"/>
                    <a:pt x="1667934" y="93878"/>
                  </a:cubicBezTo>
                  <a:cubicBezTo>
                    <a:pt x="1662289" y="85411"/>
                    <a:pt x="1657357" y="76424"/>
                    <a:pt x="1651000" y="68478"/>
                  </a:cubicBezTo>
                  <a:cubicBezTo>
                    <a:pt x="1638163" y="52431"/>
                    <a:pt x="1615574" y="37126"/>
                    <a:pt x="1600200" y="26144"/>
                  </a:cubicBezTo>
                  <a:cubicBezTo>
                    <a:pt x="1591920" y="20230"/>
                    <a:pt x="1583901" y="13762"/>
                    <a:pt x="1574800" y="9211"/>
                  </a:cubicBezTo>
                  <a:cubicBezTo>
                    <a:pt x="1548941" y="-3718"/>
                    <a:pt x="1537884" y="744"/>
                    <a:pt x="1507067" y="744"/>
                  </a:cubicBezTo>
                  <a:lnTo>
                    <a:pt x="1507067" y="744"/>
                  </a:lnTo>
                </a:path>
              </a:pathLst>
            </a:custGeom>
            <a:grp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50" name="Oval 49"/>
            <p:cNvSpPr/>
            <p:nvPr/>
          </p:nvSpPr>
          <p:spPr>
            <a:xfrm>
              <a:off x="3640666" y="1413935"/>
              <a:ext cx="1515534" cy="1346200"/>
            </a:xfrm>
            <a:prstGeom prst="ellipse">
              <a:avLst/>
            </a:prstGeom>
            <a:grp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51" name="Freeform 50"/>
            <p:cNvSpPr/>
            <p:nvPr/>
          </p:nvSpPr>
          <p:spPr>
            <a:xfrm>
              <a:off x="2985738" y="3107267"/>
              <a:ext cx="617631" cy="1161158"/>
            </a:xfrm>
            <a:custGeom>
              <a:avLst/>
              <a:gdLst>
                <a:gd name="connsiteX0" fmla="*/ 617631 w 617631"/>
                <a:gd name="connsiteY0" fmla="*/ 0 h 1161158"/>
                <a:gd name="connsiteX1" fmla="*/ 16498 w 617631"/>
                <a:gd name="connsiteY1" fmla="*/ 1092200 h 1161158"/>
                <a:gd name="connsiteX2" fmla="*/ 228165 w 617631"/>
                <a:gd name="connsiteY2" fmla="*/ 956733 h 1161158"/>
              </a:gdLst>
              <a:ahLst/>
              <a:cxnLst>
                <a:cxn ang="0">
                  <a:pos x="connsiteX0" y="connsiteY0"/>
                </a:cxn>
                <a:cxn ang="0">
                  <a:pos x="connsiteX1" y="connsiteY1"/>
                </a:cxn>
                <a:cxn ang="0">
                  <a:pos x="connsiteX2" y="connsiteY2"/>
                </a:cxn>
              </a:cxnLst>
              <a:rect l="l" t="t" r="r" b="b"/>
              <a:pathLst>
                <a:path w="617631" h="1161158">
                  <a:moveTo>
                    <a:pt x="617631" y="0"/>
                  </a:moveTo>
                  <a:cubicBezTo>
                    <a:pt x="349520" y="466372"/>
                    <a:pt x="81409" y="932745"/>
                    <a:pt x="16498" y="1092200"/>
                  </a:cubicBezTo>
                  <a:cubicBezTo>
                    <a:pt x="-48413" y="1251655"/>
                    <a:pt x="89876" y="1104194"/>
                    <a:pt x="228165" y="956733"/>
                  </a:cubicBezTo>
                </a:path>
              </a:pathLst>
            </a:custGeom>
            <a:grp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52" name="Freeform 51"/>
            <p:cNvSpPr/>
            <p:nvPr/>
          </p:nvSpPr>
          <p:spPr>
            <a:xfrm flipH="1">
              <a:off x="5351368" y="3048000"/>
              <a:ext cx="617631" cy="1161158"/>
            </a:xfrm>
            <a:custGeom>
              <a:avLst/>
              <a:gdLst>
                <a:gd name="connsiteX0" fmla="*/ 617631 w 617631"/>
                <a:gd name="connsiteY0" fmla="*/ 0 h 1161158"/>
                <a:gd name="connsiteX1" fmla="*/ 16498 w 617631"/>
                <a:gd name="connsiteY1" fmla="*/ 1092200 h 1161158"/>
                <a:gd name="connsiteX2" fmla="*/ 228165 w 617631"/>
                <a:gd name="connsiteY2" fmla="*/ 956733 h 1161158"/>
              </a:gdLst>
              <a:ahLst/>
              <a:cxnLst>
                <a:cxn ang="0">
                  <a:pos x="connsiteX0" y="connsiteY0"/>
                </a:cxn>
                <a:cxn ang="0">
                  <a:pos x="connsiteX1" y="connsiteY1"/>
                </a:cxn>
                <a:cxn ang="0">
                  <a:pos x="connsiteX2" y="connsiteY2"/>
                </a:cxn>
              </a:cxnLst>
              <a:rect l="l" t="t" r="r" b="b"/>
              <a:pathLst>
                <a:path w="617631" h="1161158">
                  <a:moveTo>
                    <a:pt x="617631" y="0"/>
                  </a:moveTo>
                  <a:cubicBezTo>
                    <a:pt x="349520" y="466372"/>
                    <a:pt x="81409" y="932745"/>
                    <a:pt x="16498" y="1092200"/>
                  </a:cubicBezTo>
                  <a:cubicBezTo>
                    <a:pt x="-48413" y="1251655"/>
                    <a:pt x="89876" y="1104194"/>
                    <a:pt x="228165" y="956733"/>
                  </a:cubicBezTo>
                </a:path>
              </a:pathLst>
            </a:custGeom>
            <a:grp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cxnSp>
          <p:nvCxnSpPr>
            <p:cNvPr id="53" name="Straight Connector 52"/>
            <p:cNvCxnSpPr/>
            <p:nvPr/>
          </p:nvCxnSpPr>
          <p:spPr>
            <a:xfrm>
              <a:off x="4301068" y="5419659"/>
              <a:ext cx="16933" cy="1227667"/>
            </a:xfrm>
            <a:prstGeom prst="line">
              <a:avLst/>
            </a:prstGeom>
            <a:grpFill/>
            <a:ln w="571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54" name="Straight Connector 53"/>
            <p:cNvCxnSpPr/>
            <p:nvPr/>
          </p:nvCxnSpPr>
          <p:spPr>
            <a:xfrm>
              <a:off x="5105402" y="5419660"/>
              <a:ext cx="16933" cy="1227667"/>
            </a:xfrm>
            <a:prstGeom prst="line">
              <a:avLst/>
            </a:prstGeom>
            <a:grpFill/>
            <a:ln w="571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cxnSp>
      </p:grpSp>
      <p:sp>
        <p:nvSpPr>
          <p:cNvPr id="55" name="TextBox 54">
            <a:extLst>
              <a:ext uri="{FF2B5EF4-FFF2-40B4-BE49-F238E27FC236}">
                <a16:creationId xmlns:a16="http://schemas.microsoft.com/office/drawing/2014/main" id="{275AC8CC-98EB-4AA7-A581-7B452B9B1A37}"/>
              </a:ext>
            </a:extLst>
          </p:cNvPr>
          <p:cNvSpPr txBox="1"/>
          <p:nvPr/>
        </p:nvSpPr>
        <p:spPr>
          <a:xfrm>
            <a:off x="407525" y="1871681"/>
            <a:ext cx="1652709" cy="1323439"/>
          </a:xfrm>
          <a:prstGeom prst="rect">
            <a:avLst/>
          </a:prstGeom>
          <a:noFill/>
        </p:spPr>
        <p:txBody>
          <a:bodyPr wrap="square" rtlCol="0">
            <a:spAutoFit/>
          </a:bodyPr>
          <a:lstStyle/>
          <a:p>
            <a:pPr algn="ctr"/>
            <a:r>
              <a:rPr lang="fr-FR" sz="2000" dirty="0">
                <a:solidFill>
                  <a:prstClr val="black"/>
                </a:solidFill>
                <a:latin typeface="Calibri" panose="020F0502020204030204"/>
              </a:rPr>
              <a:t>Manque de formation pour les premiers intervenants</a:t>
            </a:r>
          </a:p>
        </p:txBody>
      </p:sp>
      <p:pic>
        <p:nvPicPr>
          <p:cNvPr id="56" name="Picture 55">
            <a:extLst>
              <a:ext uri="{FF2B5EF4-FFF2-40B4-BE49-F238E27FC236}">
                <a16:creationId xmlns:a16="http://schemas.microsoft.com/office/drawing/2014/main" id="{92E1DFA8-1C0A-4B54-9CBF-20A0D4719AC6}"/>
              </a:ext>
            </a:extLst>
          </p:cNvPr>
          <p:cNvPicPr>
            <a:picLocks noChangeAspect="1"/>
          </p:cNvPicPr>
          <p:nvPr/>
        </p:nvPicPr>
        <p:blipFill>
          <a:blip r:embed="rId6" cstate="print">
            <a:biLevel thresh="75000"/>
            <a:extLst>
              <a:ext uri="{28A0092B-C50C-407E-A947-70E740481C1C}">
                <a14:useLocalDpi xmlns:a14="http://schemas.microsoft.com/office/drawing/2010/main" val="0"/>
              </a:ext>
            </a:extLst>
          </a:blip>
          <a:stretch>
            <a:fillRect/>
          </a:stretch>
        </p:blipFill>
        <p:spPr>
          <a:xfrm>
            <a:off x="10398802" y="3322754"/>
            <a:ext cx="1813900" cy="1611348"/>
          </a:xfrm>
          <a:prstGeom prst="rect">
            <a:avLst/>
          </a:prstGeom>
        </p:spPr>
      </p:pic>
      <p:sp>
        <p:nvSpPr>
          <p:cNvPr id="57" name="TextBox 56">
            <a:extLst>
              <a:ext uri="{FF2B5EF4-FFF2-40B4-BE49-F238E27FC236}">
                <a16:creationId xmlns:a16="http://schemas.microsoft.com/office/drawing/2014/main" id="{E6790398-6D00-4835-AC10-C889B1CB33A9}"/>
              </a:ext>
            </a:extLst>
          </p:cNvPr>
          <p:cNvSpPr txBox="1"/>
          <p:nvPr/>
        </p:nvSpPr>
        <p:spPr>
          <a:xfrm>
            <a:off x="83492" y="5079184"/>
            <a:ext cx="461665" cy="1493294"/>
          </a:xfrm>
          <a:prstGeom prst="rect">
            <a:avLst/>
          </a:prstGeom>
          <a:noFill/>
        </p:spPr>
        <p:txBody>
          <a:bodyPr vert="vert270" wrap="none" rtlCol="0">
            <a:spAutoFit/>
          </a:bodyPr>
          <a:lstStyle/>
          <a:p>
            <a:r>
              <a:rPr lang="fr-FR" dirty="0">
                <a:solidFill>
                  <a:schemeClr val="bg1"/>
                </a:solidFill>
              </a:rPr>
              <a:t>Cours H.E.L.P. </a:t>
            </a:r>
          </a:p>
        </p:txBody>
      </p:sp>
    </p:spTree>
    <p:extLst>
      <p:ext uri="{BB962C8B-B14F-4D97-AF65-F5344CB8AC3E}">
        <p14:creationId xmlns:p14="http://schemas.microsoft.com/office/powerpoint/2010/main" val="17841772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8"/>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47"/>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46"/>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36"/>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37"/>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39"/>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4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37" grpId="0"/>
      <p:bldP spid="38" grpId="0"/>
      <p:bldP spid="39" grpId="0"/>
      <p:bldP spid="40" grpId="0"/>
      <p:bldP spid="42" grpId="0"/>
      <p:bldP spid="44" grpId="0"/>
      <p:bldP spid="45" grpId="0"/>
      <p:bldP spid="46" grpId="0"/>
      <p:bldP spid="47" grpId="0"/>
      <p:bldP spid="48" grpId="0"/>
      <p:bldP spid="55"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Freeform 35"/>
          <p:cNvSpPr/>
          <p:nvPr/>
        </p:nvSpPr>
        <p:spPr>
          <a:xfrm>
            <a:off x="9218422" y="4259147"/>
            <a:ext cx="1175202" cy="1091640"/>
          </a:xfrm>
          <a:custGeom>
            <a:avLst/>
            <a:gdLst>
              <a:gd name="connsiteX0" fmla="*/ 1096096 w 2010496"/>
              <a:gd name="connsiteY0" fmla="*/ 0 h 1909402"/>
              <a:gd name="connsiteX1" fmla="*/ 991321 w 2010496"/>
              <a:gd name="connsiteY1" fmla="*/ 9525 h 1909402"/>
              <a:gd name="connsiteX2" fmla="*/ 915121 w 2010496"/>
              <a:gd name="connsiteY2" fmla="*/ 47625 h 1909402"/>
              <a:gd name="connsiteX3" fmla="*/ 867496 w 2010496"/>
              <a:gd name="connsiteY3" fmla="*/ 57150 h 1909402"/>
              <a:gd name="connsiteX4" fmla="*/ 838921 w 2010496"/>
              <a:gd name="connsiteY4" fmla="*/ 76200 h 1909402"/>
              <a:gd name="connsiteX5" fmla="*/ 810346 w 2010496"/>
              <a:gd name="connsiteY5" fmla="*/ 104775 h 1909402"/>
              <a:gd name="connsiteX6" fmla="*/ 724621 w 2010496"/>
              <a:gd name="connsiteY6" fmla="*/ 123825 h 1909402"/>
              <a:gd name="connsiteX7" fmla="*/ 686521 w 2010496"/>
              <a:gd name="connsiteY7" fmla="*/ 142875 h 1909402"/>
              <a:gd name="connsiteX8" fmla="*/ 648421 w 2010496"/>
              <a:gd name="connsiteY8" fmla="*/ 171450 h 1909402"/>
              <a:gd name="connsiteX9" fmla="*/ 610321 w 2010496"/>
              <a:gd name="connsiteY9" fmla="*/ 180975 h 1909402"/>
              <a:gd name="connsiteX10" fmla="*/ 572221 w 2010496"/>
              <a:gd name="connsiteY10" fmla="*/ 219075 h 1909402"/>
              <a:gd name="connsiteX11" fmla="*/ 486496 w 2010496"/>
              <a:gd name="connsiteY11" fmla="*/ 276225 h 1909402"/>
              <a:gd name="connsiteX12" fmla="*/ 457921 w 2010496"/>
              <a:gd name="connsiteY12" fmla="*/ 285750 h 1909402"/>
              <a:gd name="connsiteX13" fmla="*/ 372196 w 2010496"/>
              <a:gd name="connsiteY13" fmla="*/ 352425 h 1909402"/>
              <a:gd name="connsiteX14" fmla="*/ 343621 w 2010496"/>
              <a:gd name="connsiteY14" fmla="*/ 361950 h 1909402"/>
              <a:gd name="connsiteX15" fmla="*/ 315046 w 2010496"/>
              <a:gd name="connsiteY15" fmla="*/ 381000 h 1909402"/>
              <a:gd name="connsiteX16" fmla="*/ 467446 w 2010496"/>
              <a:gd name="connsiteY16" fmla="*/ 428625 h 1909402"/>
              <a:gd name="connsiteX17" fmla="*/ 715096 w 2010496"/>
              <a:gd name="connsiteY17" fmla="*/ 457200 h 1909402"/>
              <a:gd name="connsiteX18" fmla="*/ 800821 w 2010496"/>
              <a:gd name="connsiteY18" fmla="*/ 485775 h 1909402"/>
              <a:gd name="connsiteX19" fmla="*/ 1029421 w 2010496"/>
              <a:gd name="connsiteY19" fmla="*/ 514350 h 1909402"/>
              <a:gd name="connsiteX20" fmla="*/ 1248496 w 2010496"/>
              <a:gd name="connsiteY20" fmla="*/ 561975 h 1909402"/>
              <a:gd name="connsiteX21" fmla="*/ 1343746 w 2010496"/>
              <a:gd name="connsiteY21" fmla="*/ 590550 h 1909402"/>
              <a:gd name="connsiteX22" fmla="*/ 1429471 w 2010496"/>
              <a:gd name="connsiteY22" fmla="*/ 600075 h 1909402"/>
              <a:gd name="connsiteX23" fmla="*/ 1724746 w 2010496"/>
              <a:gd name="connsiteY23" fmla="*/ 657225 h 1909402"/>
              <a:gd name="connsiteX24" fmla="*/ 1791421 w 2010496"/>
              <a:gd name="connsiteY24" fmla="*/ 676275 h 1909402"/>
              <a:gd name="connsiteX25" fmla="*/ 1829521 w 2010496"/>
              <a:gd name="connsiteY25" fmla="*/ 695325 h 1909402"/>
              <a:gd name="connsiteX26" fmla="*/ 1915246 w 2010496"/>
              <a:gd name="connsiteY26" fmla="*/ 704850 h 1909402"/>
              <a:gd name="connsiteX27" fmla="*/ 1800946 w 2010496"/>
              <a:gd name="connsiteY27" fmla="*/ 742950 h 1909402"/>
              <a:gd name="connsiteX28" fmla="*/ 1734271 w 2010496"/>
              <a:gd name="connsiteY28" fmla="*/ 752475 h 1909402"/>
              <a:gd name="connsiteX29" fmla="*/ 1658071 w 2010496"/>
              <a:gd name="connsiteY29" fmla="*/ 771525 h 1909402"/>
              <a:gd name="connsiteX30" fmla="*/ 1429471 w 2010496"/>
              <a:gd name="connsiteY30" fmla="*/ 781050 h 1909402"/>
              <a:gd name="connsiteX31" fmla="*/ 1210396 w 2010496"/>
              <a:gd name="connsiteY31" fmla="*/ 800100 h 1909402"/>
              <a:gd name="connsiteX32" fmla="*/ 953221 w 2010496"/>
              <a:gd name="connsiteY32" fmla="*/ 838200 h 1909402"/>
              <a:gd name="connsiteX33" fmla="*/ 829396 w 2010496"/>
              <a:gd name="connsiteY33" fmla="*/ 866775 h 1909402"/>
              <a:gd name="connsiteX34" fmla="*/ 619846 w 2010496"/>
              <a:gd name="connsiteY34" fmla="*/ 895350 h 1909402"/>
              <a:gd name="connsiteX35" fmla="*/ 476971 w 2010496"/>
              <a:gd name="connsiteY35" fmla="*/ 933450 h 1909402"/>
              <a:gd name="connsiteX36" fmla="*/ 429346 w 2010496"/>
              <a:gd name="connsiteY36" fmla="*/ 952500 h 1909402"/>
              <a:gd name="connsiteX37" fmla="*/ 391246 w 2010496"/>
              <a:gd name="connsiteY37" fmla="*/ 971550 h 1909402"/>
              <a:gd name="connsiteX38" fmla="*/ 334096 w 2010496"/>
              <a:gd name="connsiteY38" fmla="*/ 990600 h 1909402"/>
              <a:gd name="connsiteX39" fmla="*/ 962746 w 2010496"/>
              <a:gd name="connsiteY39" fmla="*/ 1000125 h 1909402"/>
              <a:gd name="connsiteX40" fmla="*/ 1791421 w 2010496"/>
              <a:gd name="connsiteY40" fmla="*/ 1019175 h 1909402"/>
              <a:gd name="connsiteX41" fmla="*/ 1924771 w 2010496"/>
              <a:gd name="connsiteY41" fmla="*/ 1038225 h 1909402"/>
              <a:gd name="connsiteX42" fmla="*/ 1981921 w 2010496"/>
              <a:gd name="connsiteY42" fmla="*/ 1066800 h 1909402"/>
              <a:gd name="connsiteX43" fmla="*/ 2010496 w 2010496"/>
              <a:gd name="connsiteY43" fmla="*/ 1076325 h 1909402"/>
              <a:gd name="connsiteX44" fmla="*/ 1953346 w 2010496"/>
              <a:gd name="connsiteY44" fmla="*/ 1114425 h 1909402"/>
              <a:gd name="connsiteX45" fmla="*/ 1800946 w 2010496"/>
              <a:gd name="connsiteY45" fmla="*/ 1171575 h 1909402"/>
              <a:gd name="connsiteX46" fmla="*/ 1696171 w 2010496"/>
              <a:gd name="connsiteY46" fmla="*/ 1209675 h 1909402"/>
              <a:gd name="connsiteX47" fmla="*/ 1572346 w 2010496"/>
              <a:gd name="connsiteY47" fmla="*/ 1247775 h 1909402"/>
              <a:gd name="connsiteX48" fmla="*/ 1458046 w 2010496"/>
              <a:gd name="connsiteY48" fmla="*/ 1295400 h 1909402"/>
              <a:gd name="connsiteX49" fmla="*/ 1153246 w 2010496"/>
              <a:gd name="connsiteY49" fmla="*/ 1371600 h 1909402"/>
              <a:gd name="connsiteX50" fmla="*/ 924646 w 2010496"/>
              <a:gd name="connsiteY50" fmla="*/ 1457325 h 1909402"/>
              <a:gd name="connsiteX51" fmla="*/ 819871 w 2010496"/>
              <a:gd name="connsiteY51" fmla="*/ 1485900 h 1909402"/>
              <a:gd name="connsiteX52" fmla="*/ 753196 w 2010496"/>
              <a:gd name="connsiteY52" fmla="*/ 1514475 h 1909402"/>
              <a:gd name="connsiteX53" fmla="*/ 667471 w 2010496"/>
              <a:gd name="connsiteY53" fmla="*/ 1543050 h 1909402"/>
              <a:gd name="connsiteX54" fmla="*/ 581746 w 2010496"/>
              <a:gd name="connsiteY54" fmla="*/ 1571625 h 1909402"/>
              <a:gd name="connsiteX55" fmla="*/ 543646 w 2010496"/>
              <a:gd name="connsiteY55" fmla="*/ 1600200 h 1909402"/>
              <a:gd name="connsiteX56" fmla="*/ 486496 w 2010496"/>
              <a:gd name="connsiteY56" fmla="*/ 1619250 h 1909402"/>
              <a:gd name="connsiteX57" fmla="*/ 657946 w 2010496"/>
              <a:gd name="connsiteY57" fmla="*/ 1657350 h 1909402"/>
              <a:gd name="connsiteX58" fmla="*/ 715096 w 2010496"/>
              <a:gd name="connsiteY58" fmla="*/ 1666875 h 1909402"/>
              <a:gd name="connsiteX59" fmla="*/ 800821 w 2010496"/>
              <a:gd name="connsiteY59" fmla="*/ 1695450 h 1909402"/>
              <a:gd name="connsiteX60" fmla="*/ 886546 w 2010496"/>
              <a:gd name="connsiteY60" fmla="*/ 1704975 h 1909402"/>
              <a:gd name="connsiteX61" fmla="*/ 1096096 w 2010496"/>
              <a:gd name="connsiteY61" fmla="*/ 1752600 h 1909402"/>
              <a:gd name="connsiteX62" fmla="*/ 1315171 w 2010496"/>
              <a:gd name="connsiteY62" fmla="*/ 1771650 h 1909402"/>
              <a:gd name="connsiteX63" fmla="*/ 1391371 w 2010496"/>
              <a:gd name="connsiteY63" fmla="*/ 1781175 h 1909402"/>
              <a:gd name="connsiteX64" fmla="*/ 1458046 w 2010496"/>
              <a:gd name="connsiteY64" fmla="*/ 1800225 h 1909402"/>
              <a:gd name="connsiteX65" fmla="*/ 1505671 w 2010496"/>
              <a:gd name="connsiteY65" fmla="*/ 1809750 h 1909402"/>
              <a:gd name="connsiteX66" fmla="*/ 1543771 w 2010496"/>
              <a:gd name="connsiteY66" fmla="*/ 1828800 h 1909402"/>
              <a:gd name="connsiteX67" fmla="*/ 1600921 w 2010496"/>
              <a:gd name="connsiteY67" fmla="*/ 1857375 h 1909402"/>
              <a:gd name="connsiteX68" fmla="*/ 981796 w 2010496"/>
              <a:gd name="connsiteY68" fmla="*/ 1866900 h 1909402"/>
              <a:gd name="connsiteX69" fmla="*/ 877021 w 2010496"/>
              <a:gd name="connsiteY69" fmla="*/ 1828800 h 1909402"/>
              <a:gd name="connsiteX70" fmla="*/ 762721 w 2010496"/>
              <a:gd name="connsiteY70" fmla="*/ 1819275 h 1909402"/>
              <a:gd name="connsiteX71" fmla="*/ 524596 w 2010496"/>
              <a:gd name="connsiteY71" fmla="*/ 1781175 h 1909402"/>
              <a:gd name="connsiteX72" fmla="*/ 410296 w 2010496"/>
              <a:gd name="connsiteY72" fmla="*/ 1752600 h 1909402"/>
              <a:gd name="connsiteX73" fmla="*/ 86446 w 2010496"/>
              <a:gd name="connsiteY73" fmla="*/ 1724025 h 1909402"/>
              <a:gd name="connsiteX74" fmla="*/ 29296 w 2010496"/>
              <a:gd name="connsiteY74" fmla="*/ 1714500 h 1909402"/>
              <a:gd name="connsiteX75" fmla="*/ 721 w 2010496"/>
              <a:gd name="connsiteY75" fmla="*/ 1704975 h 1909402"/>
              <a:gd name="connsiteX76" fmla="*/ 115021 w 2010496"/>
              <a:gd name="connsiteY76" fmla="*/ 1647825 h 1909402"/>
              <a:gd name="connsiteX77" fmla="*/ 400771 w 2010496"/>
              <a:gd name="connsiteY77" fmla="*/ 1524000 h 1909402"/>
              <a:gd name="connsiteX78" fmla="*/ 534121 w 2010496"/>
              <a:gd name="connsiteY78" fmla="*/ 1466850 h 1909402"/>
              <a:gd name="connsiteX79" fmla="*/ 657946 w 2010496"/>
              <a:gd name="connsiteY79" fmla="*/ 1400175 h 1909402"/>
              <a:gd name="connsiteX80" fmla="*/ 762721 w 2010496"/>
              <a:gd name="connsiteY80" fmla="*/ 1371600 h 1909402"/>
              <a:gd name="connsiteX81" fmla="*/ 886546 w 2010496"/>
              <a:gd name="connsiteY81" fmla="*/ 1314450 h 1909402"/>
              <a:gd name="connsiteX82" fmla="*/ 991321 w 2010496"/>
              <a:gd name="connsiteY82" fmla="*/ 1295400 h 1909402"/>
              <a:gd name="connsiteX83" fmla="*/ 1172296 w 2010496"/>
              <a:gd name="connsiteY83" fmla="*/ 1257300 h 1909402"/>
              <a:gd name="connsiteX84" fmla="*/ 1248496 w 2010496"/>
              <a:gd name="connsiteY84" fmla="*/ 1238250 h 1909402"/>
              <a:gd name="connsiteX85" fmla="*/ 1391371 w 2010496"/>
              <a:gd name="connsiteY85" fmla="*/ 1228725 h 1909402"/>
              <a:gd name="connsiteX86" fmla="*/ 1486621 w 2010496"/>
              <a:gd name="connsiteY86" fmla="*/ 1219200 h 1909402"/>
              <a:gd name="connsiteX87" fmla="*/ 1124671 w 2010496"/>
              <a:gd name="connsiteY87" fmla="*/ 1200150 h 1909402"/>
              <a:gd name="connsiteX88" fmla="*/ 1038946 w 2010496"/>
              <a:gd name="connsiteY88" fmla="*/ 1190625 h 1909402"/>
              <a:gd name="connsiteX89" fmla="*/ 934171 w 2010496"/>
              <a:gd name="connsiteY89" fmla="*/ 1162050 h 1909402"/>
              <a:gd name="connsiteX90" fmla="*/ 829396 w 2010496"/>
              <a:gd name="connsiteY90" fmla="*/ 1152525 h 1909402"/>
              <a:gd name="connsiteX91" fmla="*/ 581746 w 2010496"/>
              <a:gd name="connsiteY91" fmla="*/ 1066800 h 1909402"/>
              <a:gd name="connsiteX92" fmla="*/ 486496 w 2010496"/>
              <a:gd name="connsiteY92" fmla="*/ 1047750 h 1909402"/>
              <a:gd name="connsiteX93" fmla="*/ 381721 w 2010496"/>
              <a:gd name="connsiteY93" fmla="*/ 1009650 h 1909402"/>
              <a:gd name="connsiteX94" fmla="*/ 248371 w 2010496"/>
              <a:gd name="connsiteY94" fmla="*/ 971550 h 1909402"/>
              <a:gd name="connsiteX95" fmla="*/ 181696 w 2010496"/>
              <a:gd name="connsiteY95" fmla="*/ 923925 h 1909402"/>
              <a:gd name="connsiteX96" fmla="*/ 229321 w 2010496"/>
              <a:gd name="connsiteY96" fmla="*/ 895350 h 1909402"/>
              <a:gd name="connsiteX97" fmla="*/ 762721 w 2010496"/>
              <a:gd name="connsiteY97" fmla="*/ 762000 h 1909402"/>
              <a:gd name="connsiteX98" fmla="*/ 886546 w 2010496"/>
              <a:gd name="connsiteY98" fmla="*/ 733425 h 1909402"/>
              <a:gd name="connsiteX99" fmla="*/ 1115146 w 2010496"/>
              <a:gd name="connsiteY99" fmla="*/ 704850 h 1909402"/>
              <a:gd name="connsiteX100" fmla="*/ 1286596 w 2010496"/>
              <a:gd name="connsiteY100" fmla="*/ 657225 h 1909402"/>
              <a:gd name="connsiteX101" fmla="*/ 1419946 w 2010496"/>
              <a:gd name="connsiteY101" fmla="*/ 638175 h 1909402"/>
              <a:gd name="connsiteX102" fmla="*/ 1391371 w 2010496"/>
              <a:gd name="connsiteY102" fmla="*/ 609600 h 1909402"/>
              <a:gd name="connsiteX103" fmla="*/ 1172296 w 2010496"/>
              <a:gd name="connsiteY103" fmla="*/ 523875 h 1909402"/>
              <a:gd name="connsiteX104" fmla="*/ 1077046 w 2010496"/>
              <a:gd name="connsiteY104" fmla="*/ 476250 h 1909402"/>
              <a:gd name="connsiteX105" fmla="*/ 972271 w 2010496"/>
              <a:gd name="connsiteY105" fmla="*/ 447675 h 1909402"/>
              <a:gd name="connsiteX106" fmla="*/ 753196 w 2010496"/>
              <a:gd name="connsiteY106" fmla="*/ 390525 h 1909402"/>
              <a:gd name="connsiteX107" fmla="*/ 619846 w 2010496"/>
              <a:gd name="connsiteY107" fmla="*/ 371475 h 1909402"/>
              <a:gd name="connsiteX108" fmla="*/ 372196 w 2010496"/>
              <a:gd name="connsiteY108" fmla="*/ 352425 h 1909402"/>
              <a:gd name="connsiteX109" fmla="*/ 276946 w 2010496"/>
              <a:gd name="connsiteY109" fmla="*/ 342900 h 1909402"/>
              <a:gd name="connsiteX110" fmla="*/ 210271 w 2010496"/>
              <a:gd name="connsiteY110" fmla="*/ 333375 h 1909402"/>
              <a:gd name="connsiteX111" fmla="*/ 48346 w 2010496"/>
              <a:gd name="connsiteY111" fmla="*/ 323850 h 1909402"/>
              <a:gd name="connsiteX112" fmla="*/ 238846 w 2010496"/>
              <a:gd name="connsiteY112" fmla="*/ 304800 h 1909402"/>
              <a:gd name="connsiteX113" fmla="*/ 419821 w 2010496"/>
              <a:gd name="connsiteY113" fmla="*/ 285750 h 1909402"/>
              <a:gd name="connsiteX114" fmla="*/ 524596 w 2010496"/>
              <a:gd name="connsiteY114" fmla="*/ 266700 h 1909402"/>
              <a:gd name="connsiteX115" fmla="*/ 762721 w 2010496"/>
              <a:gd name="connsiteY115" fmla="*/ 247650 h 1909402"/>
              <a:gd name="connsiteX116" fmla="*/ 857971 w 2010496"/>
              <a:gd name="connsiteY116" fmla="*/ 219075 h 1909402"/>
              <a:gd name="connsiteX117" fmla="*/ 943696 w 2010496"/>
              <a:gd name="connsiteY117" fmla="*/ 200025 h 1909402"/>
              <a:gd name="connsiteX118" fmla="*/ 857971 w 2010496"/>
              <a:gd name="connsiteY118" fmla="*/ 161925 h 1909402"/>
              <a:gd name="connsiteX119" fmla="*/ 819871 w 2010496"/>
              <a:gd name="connsiteY119" fmla="*/ 152400 h 1909402"/>
              <a:gd name="connsiteX120" fmla="*/ 762721 w 2010496"/>
              <a:gd name="connsiteY120" fmla="*/ 123825 h 1909402"/>
              <a:gd name="connsiteX121" fmla="*/ 667471 w 2010496"/>
              <a:gd name="connsiteY121" fmla="*/ 104775 h 1909402"/>
              <a:gd name="connsiteX122" fmla="*/ 638896 w 2010496"/>
              <a:gd name="connsiteY122" fmla="*/ 95250 h 1909402"/>
              <a:gd name="connsiteX123" fmla="*/ 572221 w 2010496"/>
              <a:gd name="connsiteY123" fmla="*/ 76200 h 1909402"/>
              <a:gd name="connsiteX124" fmla="*/ 734146 w 2010496"/>
              <a:gd name="connsiteY124" fmla="*/ 57150 h 1909402"/>
              <a:gd name="connsiteX125" fmla="*/ 886546 w 2010496"/>
              <a:gd name="connsiteY125" fmla="*/ 38100 h 1909402"/>
              <a:gd name="connsiteX126" fmla="*/ 943696 w 2010496"/>
              <a:gd name="connsiteY126" fmla="*/ 28575 h 1909402"/>
              <a:gd name="connsiteX127" fmla="*/ 1267546 w 2010496"/>
              <a:gd name="connsiteY127" fmla="*/ 28575 h 1909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Lst>
            <a:rect l="l" t="t" r="r" b="b"/>
            <a:pathLst>
              <a:path w="2010496" h="1909402">
                <a:moveTo>
                  <a:pt x="1096096" y="0"/>
                </a:moveTo>
                <a:cubicBezTo>
                  <a:pt x="1061171" y="3175"/>
                  <a:pt x="1025789" y="3062"/>
                  <a:pt x="991321" y="9525"/>
                </a:cubicBezTo>
                <a:cubicBezTo>
                  <a:pt x="899646" y="26714"/>
                  <a:pt x="980299" y="23183"/>
                  <a:pt x="915121" y="47625"/>
                </a:cubicBezTo>
                <a:cubicBezTo>
                  <a:pt x="899962" y="53309"/>
                  <a:pt x="883371" y="53975"/>
                  <a:pt x="867496" y="57150"/>
                </a:cubicBezTo>
                <a:cubicBezTo>
                  <a:pt x="857971" y="63500"/>
                  <a:pt x="847715" y="68871"/>
                  <a:pt x="838921" y="76200"/>
                </a:cubicBezTo>
                <a:cubicBezTo>
                  <a:pt x="828573" y="84824"/>
                  <a:pt x="822780" y="99594"/>
                  <a:pt x="810346" y="104775"/>
                </a:cubicBezTo>
                <a:cubicBezTo>
                  <a:pt x="783326" y="116033"/>
                  <a:pt x="753196" y="117475"/>
                  <a:pt x="724621" y="123825"/>
                </a:cubicBezTo>
                <a:cubicBezTo>
                  <a:pt x="711921" y="130175"/>
                  <a:pt x="698562" y="135350"/>
                  <a:pt x="686521" y="142875"/>
                </a:cubicBezTo>
                <a:cubicBezTo>
                  <a:pt x="673059" y="151289"/>
                  <a:pt x="662620" y="164350"/>
                  <a:pt x="648421" y="171450"/>
                </a:cubicBezTo>
                <a:cubicBezTo>
                  <a:pt x="636712" y="177304"/>
                  <a:pt x="623021" y="177800"/>
                  <a:pt x="610321" y="180975"/>
                </a:cubicBezTo>
                <a:cubicBezTo>
                  <a:pt x="597621" y="193675"/>
                  <a:pt x="585738" y="207248"/>
                  <a:pt x="572221" y="219075"/>
                </a:cubicBezTo>
                <a:cubicBezTo>
                  <a:pt x="550950" y="237687"/>
                  <a:pt x="510836" y="264055"/>
                  <a:pt x="486496" y="276225"/>
                </a:cubicBezTo>
                <a:cubicBezTo>
                  <a:pt x="477516" y="280715"/>
                  <a:pt x="466901" y="281260"/>
                  <a:pt x="457921" y="285750"/>
                </a:cubicBezTo>
                <a:cubicBezTo>
                  <a:pt x="427478" y="300971"/>
                  <a:pt x="397492" y="335561"/>
                  <a:pt x="372196" y="352425"/>
                </a:cubicBezTo>
                <a:cubicBezTo>
                  <a:pt x="363842" y="357994"/>
                  <a:pt x="352601" y="357460"/>
                  <a:pt x="343621" y="361950"/>
                </a:cubicBezTo>
                <a:cubicBezTo>
                  <a:pt x="333382" y="367070"/>
                  <a:pt x="324571" y="374650"/>
                  <a:pt x="315046" y="381000"/>
                </a:cubicBezTo>
                <a:cubicBezTo>
                  <a:pt x="335299" y="387751"/>
                  <a:pt x="438879" y="423657"/>
                  <a:pt x="467446" y="428625"/>
                </a:cubicBezTo>
                <a:cubicBezTo>
                  <a:pt x="529702" y="439452"/>
                  <a:pt x="644822" y="450173"/>
                  <a:pt x="715096" y="457200"/>
                </a:cubicBezTo>
                <a:cubicBezTo>
                  <a:pt x="743671" y="466725"/>
                  <a:pt x="771519" y="478798"/>
                  <a:pt x="800821" y="485775"/>
                </a:cubicBezTo>
                <a:cubicBezTo>
                  <a:pt x="882674" y="505264"/>
                  <a:pt x="946073" y="507404"/>
                  <a:pt x="1029421" y="514350"/>
                </a:cubicBezTo>
                <a:cubicBezTo>
                  <a:pt x="1139225" y="534314"/>
                  <a:pt x="1136943" y="531551"/>
                  <a:pt x="1248496" y="561975"/>
                </a:cubicBezTo>
                <a:cubicBezTo>
                  <a:pt x="1280476" y="570697"/>
                  <a:pt x="1311309" y="583721"/>
                  <a:pt x="1343746" y="590550"/>
                </a:cubicBezTo>
                <a:cubicBezTo>
                  <a:pt x="1371880" y="596473"/>
                  <a:pt x="1400896" y="596900"/>
                  <a:pt x="1429471" y="600075"/>
                </a:cubicBezTo>
                <a:cubicBezTo>
                  <a:pt x="1882094" y="706574"/>
                  <a:pt x="1336497" y="583273"/>
                  <a:pt x="1724746" y="657225"/>
                </a:cubicBezTo>
                <a:cubicBezTo>
                  <a:pt x="1747452" y="661550"/>
                  <a:pt x="1769698" y="668376"/>
                  <a:pt x="1791421" y="676275"/>
                </a:cubicBezTo>
                <a:cubicBezTo>
                  <a:pt x="1804765" y="681127"/>
                  <a:pt x="1815686" y="692132"/>
                  <a:pt x="1829521" y="695325"/>
                </a:cubicBezTo>
                <a:cubicBezTo>
                  <a:pt x="1857536" y="701790"/>
                  <a:pt x="1886671" y="701675"/>
                  <a:pt x="1915246" y="704850"/>
                </a:cubicBezTo>
                <a:cubicBezTo>
                  <a:pt x="1869806" y="723026"/>
                  <a:pt x="1852094" y="731990"/>
                  <a:pt x="1800946" y="742950"/>
                </a:cubicBezTo>
                <a:cubicBezTo>
                  <a:pt x="1778994" y="747654"/>
                  <a:pt x="1756286" y="748072"/>
                  <a:pt x="1734271" y="752475"/>
                </a:cubicBezTo>
                <a:cubicBezTo>
                  <a:pt x="1708598" y="757610"/>
                  <a:pt x="1684138" y="769081"/>
                  <a:pt x="1658071" y="771525"/>
                </a:cubicBezTo>
                <a:cubicBezTo>
                  <a:pt x="1582138" y="778644"/>
                  <a:pt x="1505671" y="777875"/>
                  <a:pt x="1429471" y="781050"/>
                </a:cubicBezTo>
                <a:cubicBezTo>
                  <a:pt x="1356446" y="787400"/>
                  <a:pt x="1283070" y="790538"/>
                  <a:pt x="1210396" y="800100"/>
                </a:cubicBezTo>
                <a:cubicBezTo>
                  <a:pt x="774242" y="857489"/>
                  <a:pt x="1317275" y="807862"/>
                  <a:pt x="953221" y="838200"/>
                </a:cubicBezTo>
                <a:cubicBezTo>
                  <a:pt x="911946" y="847725"/>
                  <a:pt x="870933" y="858468"/>
                  <a:pt x="829396" y="866775"/>
                </a:cubicBezTo>
                <a:cubicBezTo>
                  <a:pt x="732213" y="886212"/>
                  <a:pt x="713389" y="885996"/>
                  <a:pt x="619846" y="895350"/>
                </a:cubicBezTo>
                <a:cubicBezTo>
                  <a:pt x="580672" y="905143"/>
                  <a:pt x="516335" y="920329"/>
                  <a:pt x="476971" y="933450"/>
                </a:cubicBezTo>
                <a:cubicBezTo>
                  <a:pt x="460751" y="938857"/>
                  <a:pt x="444970" y="945556"/>
                  <a:pt x="429346" y="952500"/>
                </a:cubicBezTo>
                <a:cubicBezTo>
                  <a:pt x="416371" y="958267"/>
                  <a:pt x="404429" y="966277"/>
                  <a:pt x="391246" y="971550"/>
                </a:cubicBezTo>
                <a:cubicBezTo>
                  <a:pt x="372602" y="979008"/>
                  <a:pt x="334096" y="990600"/>
                  <a:pt x="334096" y="990600"/>
                </a:cubicBezTo>
                <a:lnTo>
                  <a:pt x="962746" y="1000125"/>
                </a:lnTo>
                <a:lnTo>
                  <a:pt x="1791421" y="1019175"/>
                </a:lnTo>
                <a:cubicBezTo>
                  <a:pt x="1808227" y="1019706"/>
                  <a:pt x="1901641" y="1033085"/>
                  <a:pt x="1924771" y="1038225"/>
                </a:cubicBezTo>
                <a:cubicBezTo>
                  <a:pt x="1967865" y="1047802"/>
                  <a:pt x="1940820" y="1046249"/>
                  <a:pt x="1981921" y="1066800"/>
                </a:cubicBezTo>
                <a:cubicBezTo>
                  <a:pt x="1990901" y="1071290"/>
                  <a:pt x="2000971" y="1073150"/>
                  <a:pt x="2010496" y="1076325"/>
                </a:cubicBezTo>
                <a:cubicBezTo>
                  <a:pt x="1991446" y="1089025"/>
                  <a:pt x="1974783" y="1106386"/>
                  <a:pt x="1953346" y="1114425"/>
                </a:cubicBezTo>
                <a:lnTo>
                  <a:pt x="1800946" y="1171575"/>
                </a:lnTo>
                <a:cubicBezTo>
                  <a:pt x="1766097" y="1184482"/>
                  <a:pt x="1731690" y="1198746"/>
                  <a:pt x="1696171" y="1209675"/>
                </a:cubicBezTo>
                <a:cubicBezTo>
                  <a:pt x="1654896" y="1222375"/>
                  <a:pt x="1612978" y="1233148"/>
                  <a:pt x="1572346" y="1247775"/>
                </a:cubicBezTo>
                <a:cubicBezTo>
                  <a:pt x="1533511" y="1261756"/>
                  <a:pt x="1497629" y="1283705"/>
                  <a:pt x="1458046" y="1295400"/>
                </a:cubicBezTo>
                <a:cubicBezTo>
                  <a:pt x="1357611" y="1325074"/>
                  <a:pt x="1249917" y="1331320"/>
                  <a:pt x="1153246" y="1371600"/>
                </a:cubicBezTo>
                <a:cubicBezTo>
                  <a:pt x="1042575" y="1417713"/>
                  <a:pt x="1038501" y="1422673"/>
                  <a:pt x="924646" y="1457325"/>
                </a:cubicBezTo>
                <a:cubicBezTo>
                  <a:pt x="890014" y="1467865"/>
                  <a:pt x="854214" y="1474452"/>
                  <a:pt x="819871" y="1485900"/>
                </a:cubicBezTo>
                <a:cubicBezTo>
                  <a:pt x="796932" y="1493546"/>
                  <a:pt x="775837" y="1505985"/>
                  <a:pt x="753196" y="1514475"/>
                </a:cubicBezTo>
                <a:cubicBezTo>
                  <a:pt x="724993" y="1525051"/>
                  <a:pt x="695584" y="1532237"/>
                  <a:pt x="667471" y="1543050"/>
                </a:cubicBezTo>
                <a:cubicBezTo>
                  <a:pt x="582028" y="1575913"/>
                  <a:pt x="680763" y="1551822"/>
                  <a:pt x="581746" y="1571625"/>
                </a:cubicBezTo>
                <a:cubicBezTo>
                  <a:pt x="569046" y="1581150"/>
                  <a:pt x="557845" y="1593100"/>
                  <a:pt x="543646" y="1600200"/>
                </a:cubicBezTo>
                <a:cubicBezTo>
                  <a:pt x="525685" y="1609180"/>
                  <a:pt x="486496" y="1619250"/>
                  <a:pt x="486496" y="1619250"/>
                </a:cubicBezTo>
                <a:cubicBezTo>
                  <a:pt x="648384" y="1637238"/>
                  <a:pt x="496517" y="1614302"/>
                  <a:pt x="657946" y="1657350"/>
                </a:cubicBezTo>
                <a:cubicBezTo>
                  <a:pt x="676607" y="1662326"/>
                  <a:pt x="696435" y="1661899"/>
                  <a:pt x="715096" y="1666875"/>
                </a:cubicBezTo>
                <a:cubicBezTo>
                  <a:pt x="744200" y="1674636"/>
                  <a:pt x="771418" y="1688916"/>
                  <a:pt x="800821" y="1695450"/>
                </a:cubicBezTo>
                <a:cubicBezTo>
                  <a:pt x="828887" y="1701687"/>
                  <a:pt x="857971" y="1701800"/>
                  <a:pt x="886546" y="1704975"/>
                </a:cubicBezTo>
                <a:cubicBezTo>
                  <a:pt x="967362" y="1725179"/>
                  <a:pt x="1015840" y="1739224"/>
                  <a:pt x="1096096" y="1752600"/>
                </a:cubicBezTo>
                <a:cubicBezTo>
                  <a:pt x="1178059" y="1766261"/>
                  <a:pt x="1224322" y="1763750"/>
                  <a:pt x="1315171" y="1771650"/>
                </a:cubicBezTo>
                <a:cubicBezTo>
                  <a:pt x="1340672" y="1773868"/>
                  <a:pt x="1365971" y="1778000"/>
                  <a:pt x="1391371" y="1781175"/>
                </a:cubicBezTo>
                <a:cubicBezTo>
                  <a:pt x="1413596" y="1787525"/>
                  <a:pt x="1435622" y="1794619"/>
                  <a:pt x="1458046" y="1800225"/>
                </a:cubicBezTo>
                <a:cubicBezTo>
                  <a:pt x="1473752" y="1804152"/>
                  <a:pt x="1490312" y="1804630"/>
                  <a:pt x="1505671" y="1809750"/>
                </a:cubicBezTo>
                <a:cubicBezTo>
                  <a:pt x="1519141" y="1814240"/>
                  <a:pt x="1530720" y="1823207"/>
                  <a:pt x="1543771" y="1828800"/>
                </a:cubicBezTo>
                <a:cubicBezTo>
                  <a:pt x="1598980" y="1852461"/>
                  <a:pt x="1546007" y="1820766"/>
                  <a:pt x="1600921" y="1857375"/>
                </a:cubicBezTo>
                <a:cubicBezTo>
                  <a:pt x="1382433" y="1944770"/>
                  <a:pt x="1503132" y="1903614"/>
                  <a:pt x="981796" y="1866900"/>
                </a:cubicBezTo>
                <a:cubicBezTo>
                  <a:pt x="944725" y="1864289"/>
                  <a:pt x="913335" y="1836694"/>
                  <a:pt x="877021" y="1828800"/>
                </a:cubicBezTo>
                <a:cubicBezTo>
                  <a:pt x="839662" y="1820678"/>
                  <a:pt x="800609" y="1824395"/>
                  <a:pt x="762721" y="1819275"/>
                </a:cubicBezTo>
                <a:cubicBezTo>
                  <a:pt x="683060" y="1808510"/>
                  <a:pt x="602580" y="1800671"/>
                  <a:pt x="524596" y="1781175"/>
                </a:cubicBezTo>
                <a:cubicBezTo>
                  <a:pt x="486496" y="1771650"/>
                  <a:pt x="449068" y="1758853"/>
                  <a:pt x="410296" y="1752600"/>
                </a:cubicBezTo>
                <a:cubicBezTo>
                  <a:pt x="317115" y="1737571"/>
                  <a:pt x="183410" y="1730489"/>
                  <a:pt x="86446" y="1724025"/>
                </a:cubicBezTo>
                <a:cubicBezTo>
                  <a:pt x="67396" y="1720850"/>
                  <a:pt x="48149" y="1718690"/>
                  <a:pt x="29296" y="1714500"/>
                </a:cubicBezTo>
                <a:cubicBezTo>
                  <a:pt x="19495" y="1712322"/>
                  <a:pt x="-4445" y="1713584"/>
                  <a:pt x="721" y="1704975"/>
                </a:cubicBezTo>
                <a:cubicBezTo>
                  <a:pt x="21488" y="1670364"/>
                  <a:pt x="82715" y="1661286"/>
                  <a:pt x="115021" y="1647825"/>
                </a:cubicBezTo>
                <a:cubicBezTo>
                  <a:pt x="210844" y="1607899"/>
                  <a:pt x="305468" y="1565153"/>
                  <a:pt x="400771" y="1524000"/>
                </a:cubicBezTo>
                <a:cubicBezTo>
                  <a:pt x="445169" y="1504828"/>
                  <a:pt x="491541" y="1489778"/>
                  <a:pt x="534121" y="1466850"/>
                </a:cubicBezTo>
                <a:cubicBezTo>
                  <a:pt x="575396" y="1444625"/>
                  <a:pt x="614674" y="1418205"/>
                  <a:pt x="657946" y="1400175"/>
                </a:cubicBezTo>
                <a:cubicBezTo>
                  <a:pt x="691362" y="1386252"/>
                  <a:pt x="728825" y="1384311"/>
                  <a:pt x="762721" y="1371600"/>
                </a:cubicBezTo>
                <a:cubicBezTo>
                  <a:pt x="805286" y="1355638"/>
                  <a:pt x="843420" y="1328825"/>
                  <a:pt x="886546" y="1314450"/>
                </a:cubicBezTo>
                <a:cubicBezTo>
                  <a:pt x="920222" y="1303225"/>
                  <a:pt x="956789" y="1303622"/>
                  <a:pt x="991321" y="1295400"/>
                </a:cubicBezTo>
                <a:cubicBezTo>
                  <a:pt x="1173969" y="1251912"/>
                  <a:pt x="1001707" y="1276254"/>
                  <a:pt x="1172296" y="1257300"/>
                </a:cubicBezTo>
                <a:cubicBezTo>
                  <a:pt x="1197696" y="1250950"/>
                  <a:pt x="1222534" y="1241636"/>
                  <a:pt x="1248496" y="1238250"/>
                </a:cubicBezTo>
                <a:cubicBezTo>
                  <a:pt x="1295826" y="1232077"/>
                  <a:pt x="1343792" y="1232531"/>
                  <a:pt x="1391371" y="1228725"/>
                </a:cubicBezTo>
                <a:cubicBezTo>
                  <a:pt x="1423178" y="1226180"/>
                  <a:pt x="1454871" y="1222375"/>
                  <a:pt x="1486621" y="1219200"/>
                </a:cubicBezTo>
                <a:lnTo>
                  <a:pt x="1124671" y="1200150"/>
                </a:lnTo>
                <a:cubicBezTo>
                  <a:pt x="1095999" y="1198026"/>
                  <a:pt x="1067521" y="1193800"/>
                  <a:pt x="1038946" y="1190625"/>
                </a:cubicBezTo>
                <a:cubicBezTo>
                  <a:pt x="1004021" y="1181100"/>
                  <a:pt x="969788" y="1168526"/>
                  <a:pt x="934171" y="1162050"/>
                </a:cubicBezTo>
                <a:cubicBezTo>
                  <a:pt x="899668" y="1155777"/>
                  <a:pt x="863250" y="1161675"/>
                  <a:pt x="829396" y="1152525"/>
                </a:cubicBezTo>
                <a:cubicBezTo>
                  <a:pt x="745066" y="1129733"/>
                  <a:pt x="667405" y="1083932"/>
                  <a:pt x="581746" y="1066800"/>
                </a:cubicBezTo>
                <a:cubicBezTo>
                  <a:pt x="549996" y="1060450"/>
                  <a:pt x="517629" y="1056645"/>
                  <a:pt x="486496" y="1047750"/>
                </a:cubicBezTo>
                <a:cubicBezTo>
                  <a:pt x="450763" y="1037541"/>
                  <a:pt x="417115" y="1020976"/>
                  <a:pt x="381721" y="1009650"/>
                </a:cubicBezTo>
                <a:cubicBezTo>
                  <a:pt x="337692" y="995561"/>
                  <a:pt x="248371" y="971550"/>
                  <a:pt x="248371" y="971550"/>
                </a:cubicBezTo>
                <a:cubicBezTo>
                  <a:pt x="241091" y="966697"/>
                  <a:pt x="181105" y="927469"/>
                  <a:pt x="181696" y="923925"/>
                </a:cubicBezTo>
                <a:cubicBezTo>
                  <a:pt x="184740" y="905664"/>
                  <a:pt x="211589" y="900670"/>
                  <a:pt x="229321" y="895350"/>
                </a:cubicBezTo>
                <a:cubicBezTo>
                  <a:pt x="825449" y="716512"/>
                  <a:pt x="480486" y="820799"/>
                  <a:pt x="762721" y="762000"/>
                </a:cubicBezTo>
                <a:cubicBezTo>
                  <a:pt x="804190" y="753361"/>
                  <a:pt x="844732" y="740206"/>
                  <a:pt x="886546" y="733425"/>
                </a:cubicBezTo>
                <a:cubicBezTo>
                  <a:pt x="962349" y="721133"/>
                  <a:pt x="1038946" y="714375"/>
                  <a:pt x="1115146" y="704850"/>
                </a:cubicBezTo>
                <a:cubicBezTo>
                  <a:pt x="1172296" y="688975"/>
                  <a:pt x="1227878" y="665613"/>
                  <a:pt x="1286596" y="657225"/>
                </a:cubicBezTo>
                <a:lnTo>
                  <a:pt x="1419946" y="638175"/>
                </a:lnTo>
                <a:cubicBezTo>
                  <a:pt x="1410421" y="628650"/>
                  <a:pt x="1403276" y="615903"/>
                  <a:pt x="1391371" y="609600"/>
                </a:cubicBezTo>
                <a:cubicBezTo>
                  <a:pt x="1209148" y="513129"/>
                  <a:pt x="1317096" y="584843"/>
                  <a:pt x="1172296" y="523875"/>
                </a:cubicBezTo>
                <a:cubicBezTo>
                  <a:pt x="1139580" y="510100"/>
                  <a:pt x="1110218" y="488887"/>
                  <a:pt x="1077046" y="476250"/>
                </a:cubicBezTo>
                <a:cubicBezTo>
                  <a:pt x="1043217" y="463363"/>
                  <a:pt x="1007079" y="457620"/>
                  <a:pt x="972271" y="447675"/>
                </a:cubicBezTo>
                <a:cubicBezTo>
                  <a:pt x="872544" y="419182"/>
                  <a:pt x="863192" y="410895"/>
                  <a:pt x="753196" y="390525"/>
                </a:cubicBezTo>
                <a:cubicBezTo>
                  <a:pt x="709045" y="382349"/>
                  <a:pt x="664451" y="376622"/>
                  <a:pt x="619846" y="371475"/>
                </a:cubicBezTo>
                <a:cubicBezTo>
                  <a:pt x="565201" y="365170"/>
                  <a:pt x="422384" y="356607"/>
                  <a:pt x="372196" y="352425"/>
                </a:cubicBezTo>
                <a:cubicBezTo>
                  <a:pt x="340398" y="349775"/>
                  <a:pt x="308636" y="346628"/>
                  <a:pt x="276946" y="342900"/>
                </a:cubicBezTo>
                <a:cubicBezTo>
                  <a:pt x="254649" y="340277"/>
                  <a:pt x="232644" y="335239"/>
                  <a:pt x="210271" y="333375"/>
                </a:cubicBezTo>
                <a:cubicBezTo>
                  <a:pt x="156389" y="328885"/>
                  <a:pt x="102321" y="327025"/>
                  <a:pt x="48346" y="323850"/>
                </a:cubicBezTo>
                <a:cubicBezTo>
                  <a:pt x="273391" y="305096"/>
                  <a:pt x="67641" y="323823"/>
                  <a:pt x="238846" y="304800"/>
                </a:cubicBezTo>
                <a:cubicBezTo>
                  <a:pt x="299133" y="298101"/>
                  <a:pt x="359695" y="293767"/>
                  <a:pt x="419821" y="285750"/>
                </a:cubicBezTo>
                <a:cubicBezTo>
                  <a:pt x="455007" y="281059"/>
                  <a:pt x="489455" y="271720"/>
                  <a:pt x="524596" y="266700"/>
                </a:cubicBezTo>
                <a:cubicBezTo>
                  <a:pt x="587046" y="257779"/>
                  <a:pt x="708117" y="251290"/>
                  <a:pt x="762721" y="247650"/>
                </a:cubicBezTo>
                <a:cubicBezTo>
                  <a:pt x="799168" y="235501"/>
                  <a:pt x="821983" y="226273"/>
                  <a:pt x="857971" y="219075"/>
                </a:cubicBezTo>
                <a:cubicBezTo>
                  <a:pt x="941788" y="202312"/>
                  <a:pt x="888084" y="218562"/>
                  <a:pt x="943696" y="200025"/>
                </a:cubicBezTo>
                <a:cubicBezTo>
                  <a:pt x="910503" y="183428"/>
                  <a:pt x="894456" y="174087"/>
                  <a:pt x="857971" y="161925"/>
                </a:cubicBezTo>
                <a:cubicBezTo>
                  <a:pt x="845552" y="157785"/>
                  <a:pt x="832026" y="157262"/>
                  <a:pt x="819871" y="152400"/>
                </a:cubicBezTo>
                <a:cubicBezTo>
                  <a:pt x="800096" y="144490"/>
                  <a:pt x="783050" y="130178"/>
                  <a:pt x="762721" y="123825"/>
                </a:cubicBezTo>
                <a:cubicBezTo>
                  <a:pt x="731816" y="114167"/>
                  <a:pt x="699021" y="112056"/>
                  <a:pt x="667471" y="104775"/>
                </a:cubicBezTo>
                <a:cubicBezTo>
                  <a:pt x="657688" y="102517"/>
                  <a:pt x="648550" y="98008"/>
                  <a:pt x="638896" y="95250"/>
                </a:cubicBezTo>
                <a:cubicBezTo>
                  <a:pt x="555175" y="71330"/>
                  <a:pt x="640734" y="99038"/>
                  <a:pt x="572221" y="76200"/>
                </a:cubicBezTo>
                <a:cubicBezTo>
                  <a:pt x="645108" y="51904"/>
                  <a:pt x="581746" y="70402"/>
                  <a:pt x="734146" y="57150"/>
                </a:cubicBezTo>
                <a:cubicBezTo>
                  <a:pt x="783155" y="52888"/>
                  <a:pt x="837503" y="45645"/>
                  <a:pt x="886546" y="38100"/>
                </a:cubicBezTo>
                <a:cubicBezTo>
                  <a:pt x="905634" y="35163"/>
                  <a:pt x="924389" y="29058"/>
                  <a:pt x="943696" y="28575"/>
                </a:cubicBezTo>
                <a:cubicBezTo>
                  <a:pt x="1051612" y="25877"/>
                  <a:pt x="1159596" y="28575"/>
                  <a:pt x="1267546" y="28575"/>
                </a:cubicBezTo>
              </a:path>
            </a:pathLst>
          </a:custGeom>
          <a:solidFill>
            <a:schemeClr val="bg2">
              <a:lumMod val="2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grpSp>
        <p:nvGrpSpPr>
          <p:cNvPr id="7" name="Group 6"/>
          <p:cNvGrpSpPr/>
          <p:nvPr/>
        </p:nvGrpSpPr>
        <p:grpSpPr>
          <a:xfrm flipH="1">
            <a:off x="2500175" y="2368872"/>
            <a:ext cx="901326" cy="1981565"/>
            <a:chOff x="2985738" y="1413935"/>
            <a:chExt cx="2983261" cy="5233392"/>
          </a:xfrm>
          <a:solidFill>
            <a:schemeClr val="accent4">
              <a:lumMod val="40000"/>
              <a:lumOff val="60000"/>
            </a:schemeClr>
          </a:solidFill>
        </p:grpSpPr>
        <p:sp>
          <p:nvSpPr>
            <p:cNvPr id="8" name="Freeform 7"/>
            <p:cNvSpPr/>
            <p:nvPr/>
          </p:nvSpPr>
          <p:spPr>
            <a:xfrm>
              <a:off x="3496731" y="2556189"/>
              <a:ext cx="2257172" cy="2882583"/>
            </a:xfrm>
            <a:custGeom>
              <a:avLst/>
              <a:gdLst>
                <a:gd name="connsiteX0" fmla="*/ 347134 w 2257170"/>
                <a:gd name="connsiteY0" fmla="*/ 51544 h 2882584"/>
                <a:gd name="connsiteX1" fmla="*/ 347134 w 2257170"/>
                <a:gd name="connsiteY1" fmla="*/ 51544 h 2882584"/>
                <a:gd name="connsiteX2" fmla="*/ 287867 w 2257170"/>
                <a:gd name="connsiteY2" fmla="*/ 102344 h 2882584"/>
                <a:gd name="connsiteX3" fmla="*/ 254000 w 2257170"/>
                <a:gd name="connsiteY3" fmla="*/ 161611 h 2882584"/>
                <a:gd name="connsiteX4" fmla="*/ 228600 w 2257170"/>
                <a:gd name="connsiteY4" fmla="*/ 195478 h 2882584"/>
                <a:gd name="connsiteX5" fmla="*/ 194734 w 2257170"/>
                <a:gd name="connsiteY5" fmla="*/ 237811 h 2882584"/>
                <a:gd name="connsiteX6" fmla="*/ 169334 w 2257170"/>
                <a:gd name="connsiteY6" fmla="*/ 280144 h 2882584"/>
                <a:gd name="connsiteX7" fmla="*/ 152400 w 2257170"/>
                <a:gd name="connsiteY7" fmla="*/ 339411 h 2882584"/>
                <a:gd name="connsiteX8" fmla="*/ 143934 w 2257170"/>
                <a:gd name="connsiteY8" fmla="*/ 364811 h 2882584"/>
                <a:gd name="connsiteX9" fmla="*/ 127000 w 2257170"/>
                <a:gd name="connsiteY9" fmla="*/ 398678 h 2882584"/>
                <a:gd name="connsiteX10" fmla="*/ 93134 w 2257170"/>
                <a:gd name="connsiteY10" fmla="*/ 500278 h 2882584"/>
                <a:gd name="connsiteX11" fmla="*/ 84667 w 2257170"/>
                <a:gd name="connsiteY11" fmla="*/ 618811 h 2882584"/>
                <a:gd name="connsiteX12" fmla="*/ 67734 w 2257170"/>
                <a:gd name="connsiteY12" fmla="*/ 703478 h 2882584"/>
                <a:gd name="connsiteX13" fmla="*/ 50800 w 2257170"/>
                <a:gd name="connsiteY13" fmla="*/ 788144 h 2882584"/>
                <a:gd name="connsiteX14" fmla="*/ 42334 w 2257170"/>
                <a:gd name="connsiteY14" fmla="*/ 906678 h 2882584"/>
                <a:gd name="connsiteX15" fmla="*/ 33867 w 2257170"/>
                <a:gd name="connsiteY15" fmla="*/ 932078 h 2882584"/>
                <a:gd name="connsiteX16" fmla="*/ 16934 w 2257170"/>
                <a:gd name="connsiteY16" fmla="*/ 1084478 h 2882584"/>
                <a:gd name="connsiteX17" fmla="*/ 8467 w 2257170"/>
                <a:gd name="connsiteY17" fmla="*/ 1219944 h 2882584"/>
                <a:gd name="connsiteX18" fmla="*/ 0 w 2257170"/>
                <a:gd name="connsiteY18" fmla="*/ 1313078 h 2882584"/>
                <a:gd name="connsiteX19" fmla="*/ 8467 w 2257170"/>
                <a:gd name="connsiteY19" fmla="*/ 2066611 h 2882584"/>
                <a:gd name="connsiteX20" fmla="*/ 16934 w 2257170"/>
                <a:gd name="connsiteY20" fmla="*/ 2379878 h 2882584"/>
                <a:gd name="connsiteX21" fmla="*/ 33867 w 2257170"/>
                <a:gd name="connsiteY21" fmla="*/ 2583078 h 2882584"/>
                <a:gd name="connsiteX22" fmla="*/ 42334 w 2257170"/>
                <a:gd name="connsiteY22" fmla="*/ 2820144 h 2882584"/>
                <a:gd name="connsiteX23" fmla="*/ 50800 w 2257170"/>
                <a:gd name="connsiteY23" fmla="*/ 2879411 h 2882584"/>
                <a:gd name="connsiteX24" fmla="*/ 93134 w 2257170"/>
                <a:gd name="connsiteY24" fmla="*/ 2870944 h 2882584"/>
                <a:gd name="connsiteX25" fmla="*/ 254000 w 2257170"/>
                <a:gd name="connsiteY25" fmla="*/ 2862478 h 2882584"/>
                <a:gd name="connsiteX26" fmla="*/ 524934 w 2257170"/>
                <a:gd name="connsiteY26" fmla="*/ 2854011 h 2882584"/>
                <a:gd name="connsiteX27" fmla="*/ 2159000 w 2257170"/>
                <a:gd name="connsiteY27" fmla="*/ 2862478 h 2882584"/>
                <a:gd name="connsiteX28" fmla="*/ 2235200 w 2257170"/>
                <a:gd name="connsiteY28" fmla="*/ 2862478 h 2882584"/>
                <a:gd name="connsiteX29" fmla="*/ 2235200 w 2257170"/>
                <a:gd name="connsiteY29" fmla="*/ 2447611 h 2882584"/>
                <a:gd name="connsiteX30" fmla="*/ 2218267 w 2257170"/>
                <a:gd name="connsiteY30" fmla="*/ 2346011 h 2882584"/>
                <a:gd name="connsiteX31" fmla="*/ 2209800 w 2257170"/>
                <a:gd name="connsiteY31" fmla="*/ 2125878 h 2882584"/>
                <a:gd name="connsiteX32" fmla="*/ 2201334 w 2257170"/>
                <a:gd name="connsiteY32" fmla="*/ 2083544 h 2882584"/>
                <a:gd name="connsiteX33" fmla="*/ 2192867 w 2257170"/>
                <a:gd name="connsiteY33" fmla="*/ 2007344 h 2882584"/>
                <a:gd name="connsiteX34" fmla="*/ 2167467 w 2257170"/>
                <a:gd name="connsiteY34" fmla="*/ 1854944 h 2882584"/>
                <a:gd name="connsiteX35" fmla="*/ 2159000 w 2257170"/>
                <a:gd name="connsiteY35" fmla="*/ 1727944 h 2882584"/>
                <a:gd name="connsiteX36" fmla="*/ 2150534 w 2257170"/>
                <a:gd name="connsiteY36" fmla="*/ 1694078 h 2882584"/>
                <a:gd name="connsiteX37" fmla="*/ 2142067 w 2257170"/>
                <a:gd name="connsiteY37" fmla="*/ 1617878 h 2882584"/>
                <a:gd name="connsiteX38" fmla="*/ 2125134 w 2257170"/>
                <a:gd name="connsiteY38" fmla="*/ 1423144 h 2882584"/>
                <a:gd name="connsiteX39" fmla="*/ 2099734 w 2257170"/>
                <a:gd name="connsiteY39" fmla="*/ 1338478 h 2882584"/>
                <a:gd name="connsiteX40" fmla="*/ 2065867 w 2257170"/>
                <a:gd name="connsiteY40" fmla="*/ 1245344 h 2882584"/>
                <a:gd name="connsiteX41" fmla="*/ 2057400 w 2257170"/>
                <a:gd name="connsiteY41" fmla="*/ 1177611 h 2882584"/>
                <a:gd name="connsiteX42" fmla="*/ 2048934 w 2257170"/>
                <a:gd name="connsiteY42" fmla="*/ 1118344 h 2882584"/>
                <a:gd name="connsiteX43" fmla="*/ 2032000 w 2257170"/>
                <a:gd name="connsiteY43" fmla="*/ 974411 h 2882584"/>
                <a:gd name="connsiteX44" fmla="*/ 2006600 w 2257170"/>
                <a:gd name="connsiteY44" fmla="*/ 796611 h 2882584"/>
                <a:gd name="connsiteX45" fmla="*/ 1964267 w 2257170"/>
                <a:gd name="connsiteY45" fmla="*/ 686544 h 2882584"/>
                <a:gd name="connsiteX46" fmla="*/ 1947334 w 2257170"/>
                <a:gd name="connsiteY46" fmla="*/ 661144 h 2882584"/>
                <a:gd name="connsiteX47" fmla="*/ 1905000 w 2257170"/>
                <a:gd name="connsiteY47" fmla="*/ 568011 h 2882584"/>
                <a:gd name="connsiteX48" fmla="*/ 1896534 w 2257170"/>
                <a:gd name="connsiteY48" fmla="*/ 517211 h 2882584"/>
                <a:gd name="connsiteX49" fmla="*/ 1879600 w 2257170"/>
                <a:gd name="connsiteY49" fmla="*/ 474878 h 2882584"/>
                <a:gd name="connsiteX50" fmla="*/ 1854200 w 2257170"/>
                <a:gd name="connsiteY50" fmla="*/ 424078 h 2882584"/>
                <a:gd name="connsiteX51" fmla="*/ 1828800 w 2257170"/>
                <a:gd name="connsiteY51" fmla="*/ 381744 h 2882584"/>
                <a:gd name="connsiteX52" fmla="*/ 1803400 w 2257170"/>
                <a:gd name="connsiteY52" fmla="*/ 330944 h 2882584"/>
                <a:gd name="connsiteX53" fmla="*/ 1778000 w 2257170"/>
                <a:gd name="connsiteY53" fmla="*/ 297078 h 2882584"/>
                <a:gd name="connsiteX54" fmla="*/ 1761067 w 2257170"/>
                <a:gd name="connsiteY54" fmla="*/ 263211 h 2882584"/>
                <a:gd name="connsiteX55" fmla="*/ 1718734 w 2257170"/>
                <a:gd name="connsiteY55" fmla="*/ 203944 h 2882584"/>
                <a:gd name="connsiteX56" fmla="*/ 1684867 w 2257170"/>
                <a:gd name="connsiteY56" fmla="*/ 144678 h 2882584"/>
                <a:gd name="connsiteX57" fmla="*/ 1667934 w 2257170"/>
                <a:gd name="connsiteY57" fmla="*/ 93878 h 2882584"/>
                <a:gd name="connsiteX58" fmla="*/ 1651000 w 2257170"/>
                <a:gd name="connsiteY58" fmla="*/ 68478 h 2882584"/>
                <a:gd name="connsiteX59" fmla="*/ 1600200 w 2257170"/>
                <a:gd name="connsiteY59" fmla="*/ 26144 h 2882584"/>
                <a:gd name="connsiteX60" fmla="*/ 1574800 w 2257170"/>
                <a:gd name="connsiteY60" fmla="*/ 9211 h 2882584"/>
                <a:gd name="connsiteX61" fmla="*/ 1507067 w 2257170"/>
                <a:gd name="connsiteY61" fmla="*/ 744 h 2882584"/>
                <a:gd name="connsiteX62" fmla="*/ 1507067 w 2257170"/>
                <a:gd name="connsiteY62" fmla="*/ 744 h 2882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257170" h="2882584">
                  <a:moveTo>
                    <a:pt x="347134" y="51544"/>
                  </a:moveTo>
                  <a:lnTo>
                    <a:pt x="347134" y="51544"/>
                  </a:lnTo>
                  <a:cubicBezTo>
                    <a:pt x="327378" y="68477"/>
                    <a:pt x="306266" y="83945"/>
                    <a:pt x="287867" y="102344"/>
                  </a:cubicBezTo>
                  <a:cubicBezTo>
                    <a:pt x="272333" y="117878"/>
                    <a:pt x="265065" y="143907"/>
                    <a:pt x="254000" y="161611"/>
                  </a:cubicBezTo>
                  <a:cubicBezTo>
                    <a:pt x="246521" y="173577"/>
                    <a:pt x="237067" y="184189"/>
                    <a:pt x="228600" y="195478"/>
                  </a:cubicBezTo>
                  <a:cubicBezTo>
                    <a:pt x="209066" y="254086"/>
                    <a:pt x="236511" y="189072"/>
                    <a:pt x="194734" y="237811"/>
                  </a:cubicBezTo>
                  <a:cubicBezTo>
                    <a:pt x="184024" y="250305"/>
                    <a:pt x="177801" y="266033"/>
                    <a:pt x="169334" y="280144"/>
                  </a:cubicBezTo>
                  <a:cubicBezTo>
                    <a:pt x="163689" y="299900"/>
                    <a:pt x="158304" y="319731"/>
                    <a:pt x="152400" y="339411"/>
                  </a:cubicBezTo>
                  <a:cubicBezTo>
                    <a:pt x="149836" y="347959"/>
                    <a:pt x="147450" y="356608"/>
                    <a:pt x="143934" y="364811"/>
                  </a:cubicBezTo>
                  <a:cubicBezTo>
                    <a:pt x="138962" y="376412"/>
                    <a:pt x="131432" y="386860"/>
                    <a:pt x="127000" y="398678"/>
                  </a:cubicBezTo>
                  <a:cubicBezTo>
                    <a:pt x="114465" y="432104"/>
                    <a:pt x="93134" y="500278"/>
                    <a:pt x="93134" y="500278"/>
                  </a:cubicBezTo>
                  <a:cubicBezTo>
                    <a:pt x="90312" y="539789"/>
                    <a:pt x="88609" y="579396"/>
                    <a:pt x="84667" y="618811"/>
                  </a:cubicBezTo>
                  <a:cubicBezTo>
                    <a:pt x="79744" y="668035"/>
                    <a:pt x="76664" y="661805"/>
                    <a:pt x="67734" y="703478"/>
                  </a:cubicBezTo>
                  <a:cubicBezTo>
                    <a:pt x="61704" y="731620"/>
                    <a:pt x="50800" y="788144"/>
                    <a:pt x="50800" y="788144"/>
                  </a:cubicBezTo>
                  <a:cubicBezTo>
                    <a:pt x="47978" y="827655"/>
                    <a:pt x="46962" y="867337"/>
                    <a:pt x="42334" y="906678"/>
                  </a:cubicBezTo>
                  <a:cubicBezTo>
                    <a:pt x="41291" y="915542"/>
                    <a:pt x="34910" y="923214"/>
                    <a:pt x="33867" y="932078"/>
                  </a:cubicBezTo>
                  <a:cubicBezTo>
                    <a:pt x="13208" y="1107675"/>
                    <a:pt x="38345" y="998828"/>
                    <a:pt x="16934" y="1084478"/>
                  </a:cubicBezTo>
                  <a:cubicBezTo>
                    <a:pt x="14112" y="1129633"/>
                    <a:pt x="11809" y="1174824"/>
                    <a:pt x="8467" y="1219944"/>
                  </a:cubicBezTo>
                  <a:cubicBezTo>
                    <a:pt x="6164" y="1251032"/>
                    <a:pt x="0" y="1281905"/>
                    <a:pt x="0" y="1313078"/>
                  </a:cubicBezTo>
                  <a:cubicBezTo>
                    <a:pt x="0" y="1564272"/>
                    <a:pt x="4480" y="1815449"/>
                    <a:pt x="8467" y="2066611"/>
                  </a:cubicBezTo>
                  <a:cubicBezTo>
                    <a:pt x="10125" y="2171058"/>
                    <a:pt x="12759" y="2275501"/>
                    <a:pt x="16934" y="2379878"/>
                  </a:cubicBezTo>
                  <a:cubicBezTo>
                    <a:pt x="18486" y="2418675"/>
                    <a:pt x="29951" y="2540004"/>
                    <a:pt x="33867" y="2583078"/>
                  </a:cubicBezTo>
                  <a:cubicBezTo>
                    <a:pt x="36689" y="2662100"/>
                    <a:pt x="37823" y="2741200"/>
                    <a:pt x="42334" y="2820144"/>
                  </a:cubicBezTo>
                  <a:cubicBezTo>
                    <a:pt x="43472" y="2840068"/>
                    <a:pt x="36689" y="2865300"/>
                    <a:pt x="50800" y="2879411"/>
                  </a:cubicBezTo>
                  <a:cubicBezTo>
                    <a:pt x="60976" y="2889587"/>
                    <a:pt x="78793" y="2872139"/>
                    <a:pt x="93134" y="2870944"/>
                  </a:cubicBezTo>
                  <a:cubicBezTo>
                    <a:pt x="146645" y="2866485"/>
                    <a:pt x="200345" y="2864582"/>
                    <a:pt x="254000" y="2862478"/>
                  </a:cubicBezTo>
                  <a:lnTo>
                    <a:pt x="524934" y="2854011"/>
                  </a:lnTo>
                  <a:lnTo>
                    <a:pt x="2159000" y="2862478"/>
                  </a:lnTo>
                  <a:cubicBezTo>
                    <a:pt x="2276843" y="2863680"/>
                    <a:pt x="2029105" y="2896824"/>
                    <a:pt x="2235200" y="2862478"/>
                  </a:cubicBezTo>
                  <a:cubicBezTo>
                    <a:pt x="2273574" y="2708987"/>
                    <a:pt x="2253789" y="2800794"/>
                    <a:pt x="2235200" y="2447611"/>
                  </a:cubicBezTo>
                  <a:cubicBezTo>
                    <a:pt x="2233395" y="2413325"/>
                    <a:pt x="2218267" y="2346011"/>
                    <a:pt x="2218267" y="2346011"/>
                  </a:cubicBezTo>
                  <a:cubicBezTo>
                    <a:pt x="2215445" y="2272633"/>
                    <a:pt x="2214528" y="2199158"/>
                    <a:pt x="2209800" y="2125878"/>
                  </a:cubicBezTo>
                  <a:cubicBezTo>
                    <a:pt x="2208874" y="2111517"/>
                    <a:pt x="2203369" y="2097790"/>
                    <a:pt x="2201334" y="2083544"/>
                  </a:cubicBezTo>
                  <a:cubicBezTo>
                    <a:pt x="2197720" y="2058245"/>
                    <a:pt x="2196612" y="2032624"/>
                    <a:pt x="2192867" y="2007344"/>
                  </a:cubicBezTo>
                  <a:cubicBezTo>
                    <a:pt x="2185320" y="1956399"/>
                    <a:pt x="2167467" y="1854944"/>
                    <a:pt x="2167467" y="1854944"/>
                  </a:cubicBezTo>
                  <a:cubicBezTo>
                    <a:pt x="2164645" y="1812611"/>
                    <a:pt x="2163441" y="1770138"/>
                    <a:pt x="2159000" y="1727944"/>
                  </a:cubicBezTo>
                  <a:cubicBezTo>
                    <a:pt x="2157782" y="1716372"/>
                    <a:pt x="2152303" y="1705579"/>
                    <a:pt x="2150534" y="1694078"/>
                  </a:cubicBezTo>
                  <a:cubicBezTo>
                    <a:pt x="2146648" y="1668819"/>
                    <a:pt x="2144452" y="1643323"/>
                    <a:pt x="2142067" y="1617878"/>
                  </a:cubicBezTo>
                  <a:cubicBezTo>
                    <a:pt x="2135985" y="1553006"/>
                    <a:pt x="2132075" y="1487929"/>
                    <a:pt x="2125134" y="1423144"/>
                  </a:cubicBezTo>
                  <a:cubicBezTo>
                    <a:pt x="2119854" y="1373866"/>
                    <a:pt x="2115497" y="1385768"/>
                    <a:pt x="2099734" y="1338478"/>
                  </a:cubicBezTo>
                  <a:cubicBezTo>
                    <a:pt x="2069133" y="1246675"/>
                    <a:pt x="2098254" y="1310120"/>
                    <a:pt x="2065867" y="1245344"/>
                  </a:cubicBezTo>
                  <a:cubicBezTo>
                    <a:pt x="2063045" y="1222766"/>
                    <a:pt x="2060407" y="1200165"/>
                    <a:pt x="2057400" y="1177611"/>
                  </a:cubicBezTo>
                  <a:cubicBezTo>
                    <a:pt x="2054763" y="1157830"/>
                    <a:pt x="2051409" y="1138146"/>
                    <a:pt x="2048934" y="1118344"/>
                  </a:cubicBezTo>
                  <a:cubicBezTo>
                    <a:pt x="2036389" y="1017979"/>
                    <a:pt x="2045031" y="1068884"/>
                    <a:pt x="2032000" y="974411"/>
                  </a:cubicBezTo>
                  <a:cubicBezTo>
                    <a:pt x="2023820" y="915104"/>
                    <a:pt x="2033374" y="850159"/>
                    <a:pt x="2006600" y="796611"/>
                  </a:cubicBezTo>
                  <a:cubicBezTo>
                    <a:pt x="1931225" y="645861"/>
                    <a:pt x="2030665" y="852542"/>
                    <a:pt x="1964267" y="686544"/>
                  </a:cubicBezTo>
                  <a:cubicBezTo>
                    <a:pt x="1960488" y="677096"/>
                    <a:pt x="1951467" y="670443"/>
                    <a:pt x="1947334" y="661144"/>
                  </a:cubicBezTo>
                  <a:cubicBezTo>
                    <a:pt x="1896736" y="547299"/>
                    <a:pt x="1965822" y="669380"/>
                    <a:pt x="1905000" y="568011"/>
                  </a:cubicBezTo>
                  <a:cubicBezTo>
                    <a:pt x="1902178" y="551078"/>
                    <a:pt x="1901051" y="533773"/>
                    <a:pt x="1896534" y="517211"/>
                  </a:cubicBezTo>
                  <a:cubicBezTo>
                    <a:pt x="1892535" y="502548"/>
                    <a:pt x="1884936" y="489108"/>
                    <a:pt x="1879600" y="474878"/>
                  </a:cubicBezTo>
                  <a:cubicBezTo>
                    <a:pt x="1864576" y="434814"/>
                    <a:pt x="1879893" y="462617"/>
                    <a:pt x="1854200" y="424078"/>
                  </a:cubicBezTo>
                  <a:cubicBezTo>
                    <a:pt x="1832075" y="357697"/>
                    <a:pt x="1862005" y="434871"/>
                    <a:pt x="1828800" y="381744"/>
                  </a:cubicBezTo>
                  <a:cubicBezTo>
                    <a:pt x="1818766" y="365690"/>
                    <a:pt x="1813141" y="347178"/>
                    <a:pt x="1803400" y="330944"/>
                  </a:cubicBezTo>
                  <a:cubicBezTo>
                    <a:pt x="1796140" y="318844"/>
                    <a:pt x="1785479" y="309044"/>
                    <a:pt x="1778000" y="297078"/>
                  </a:cubicBezTo>
                  <a:cubicBezTo>
                    <a:pt x="1771311" y="286375"/>
                    <a:pt x="1767329" y="274170"/>
                    <a:pt x="1761067" y="263211"/>
                  </a:cubicBezTo>
                  <a:cubicBezTo>
                    <a:pt x="1749666" y="243258"/>
                    <a:pt x="1731713" y="222115"/>
                    <a:pt x="1718734" y="203944"/>
                  </a:cubicBezTo>
                  <a:cubicBezTo>
                    <a:pt x="1704847" y="184503"/>
                    <a:pt x="1693888" y="167230"/>
                    <a:pt x="1684867" y="144678"/>
                  </a:cubicBezTo>
                  <a:cubicBezTo>
                    <a:pt x="1678238" y="128105"/>
                    <a:pt x="1677835" y="108729"/>
                    <a:pt x="1667934" y="93878"/>
                  </a:cubicBezTo>
                  <a:cubicBezTo>
                    <a:pt x="1662289" y="85411"/>
                    <a:pt x="1657357" y="76424"/>
                    <a:pt x="1651000" y="68478"/>
                  </a:cubicBezTo>
                  <a:cubicBezTo>
                    <a:pt x="1638163" y="52431"/>
                    <a:pt x="1615574" y="37126"/>
                    <a:pt x="1600200" y="26144"/>
                  </a:cubicBezTo>
                  <a:cubicBezTo>
                    <a:pt x="1591920" y="20230"/>
                    <a:pt x="1583901" y="13762"/>
                    <a:pt x="1574800" y="9211"/>
                  </a:cubicBezTo>
                  <a:cubicBezTo>
                    <a:pt x="1548941" y="-3718"/>
                    <a:pt x="1537884" y="744"/>
                    <a:pt x="1507067" y="744"/>
                  </a:cubicBezTo>
                  <a:lnTo>
                    <a:pt x="1507067" y="744"/>
                  </a:lnTo>
                </a:path>
              </a:pathLst>
            </a:custGeom>
            <a:grp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9" name="Oval 8"/>
            <p:cNvSpPr/>
            <p:nvPr/>
          </p:nvSpPr>
          <p:spPr>
            <a:xfrm>
              <a:off x="3640666" y="1413935"/>
              <a:ext cx="1515534" cy="1346200"/>
            </a:xfrm>
            <a:prstGeom prst="ellipse">
              <a:avLst/>
            </a:prstGeom>
            <a:grp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0" name="Freeform 9"/>
            <p:cNvSpPr/>
            <p:nvPr/>
          </p:nvSpPr>
          <p:spPr>
            <a:xfrm>
              <a:off x="2985738" y="3107267"/>
              <a:ext cx="617631" cy="1161158"/>
            </a:xfrm>
            <a:custGeom>
              <a:avLst/>
              <a:gdLst>
                <a:gd name="connsiteX0" fmla="*/ 617631 w 617631"/>
                <a:gd name="connsiteY0" fmla="*/ 0 h 1161158"/>
                <a:gd name="connsiteX1" fmla="*/ 16498 w 617631"/>
                <a:gd name="connsiteY1" fmla="*/ 1092200 h 1161158"/>
                <a:gd name="connsiteX2" fmla="*/ 228165 w 617631"/>
                <a:gd name="connsiteY2" fmla="*/ 956733 h 1161158"/>
              </a:gdLst>
              <a:ahLst/>
              <a:cxnLst>
                <a:cxn ang="0">
                  <a:pos x="connsiteX0" y="connsiteY0"/>
                </a:cxn>
                <a:cxn ang="0">
                  <a:pos x="connsiteX1" y="connsiteY1"/>
                </a:cxn>
                <a:cxn ang="0">
                  <a:pos x="connsiteX2" y="connsiteY2"/>
                </a:cxn>
              </a:cxnLst>
              <a:rect l="l" t="t" r="r" b="b"/>
              <a:pathLst>
                <a:path w="617631" h="1161158">
                  <a:moveTo>
                    <a:pt x="617631" y="0"/>
                  </a:moveTo>
                  <a:cubicBezTo>
                    <a:pt x="349520" y="466372"/>
                    <a:pt x="81409" y="932745"/>
                    <a:pt x="16498" y="1092200"/>
                  </a:cubicBezTo>
                  <a:cubicBezTo>
                    <a:pt x="-48413" y="1251655"/>
                    <a:pt x="89876" y="1104194"/>
                    <a:pt x="228165" y="956733"/>
                  </a:cubicBezTo>
                </a:path>
              </a:pathLst>
            </a:custGeom>
            <a:grp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1" name="Freeform 10"/>
            <p:cNvSpPr/>
            <p:nvPr/>
          </p:nvSpPr>
          <p:spPr>
            <a:xfrm flipH="1">
              <a:off x="5351368" y="3048000"/>
              <a:ext cx="617631" cy="1161158"/>
            </a:xfrm>
            <a:custGeom>
              <a:avLst/>
              <a:gdLst>
                <a:gd name="connsiteX0" fmla="*/ 617631 w 617631"/>
                <a:gd name="connsiteY0" fmla="*/ 0 h 1161158"/>
                <a:gd name="connsiteX1" fmla="*/ 16498 w 617631"/>
                <a:gd name="connsiteY1" fmla="*/ 1092200 h 1161158"/>
                <a:gd name="connsiteX2" fmla="*/ 228165 w 617631"/>
                <a:gd name="connsiteY2" fmla="*/ 956733 h 1161158"/>
              </a:gdLst>
              <a:ahLst/>
              <a:cxnLst>
                <a:cxn ang="0">
                  <a:pos x="connsiteX0" y="connsiteY0"/>
                </a:cxn>
                <a:cxn ang="0">
                  <a:pos x="connsiteX1" y="connsiteY1"/>
                </a:cxn>
                <a:cxn ang="0">
                  <a:pos x="connsiteX2" y="connsiteY2"/>
                </a:cxn>
              </a:cxnLst>
              <a:rect l="l" t="t" r="r" b="b"/>
              <a:pathLst>
                <a:path w="617631" h="1161158">
                  <a:moveTo>
                    <a:pt x="617631" y="0"/>
                  </a:moveTo>
                  <a:cubicBezTo>
                    <a:pt x="349520" y="466372"/>
                    <a:pt x="81409" y="932745"/>
                    <a:pt x="16498" y="1092200"/>
                  </a:cubicBezTo>
                  <a:cubicBezTo>
                    <a:pt x="-48413" y="1251655"/>
                    <a:pt x="89876" y="1104194"/>
                    <a:pt x="228165" y="956733"/>
                  </a:cubicBezTo>
                </a:path>
              </a:pathLst>
            </a:custGeom>
            <a:grp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cxnSp>
          <p:nvCxnSpPr>
            <p:cNvPr id="12" name="Straight Connector 11"/>
            <p:cNvCxnSpPr/>
            <p:nvPr/>
          </p:nvCxnSpPr>
          <p:spPr>
            <a:xfrm>
              <a:off x="4301068" y="5419659"/>
              <a:ext cx="16933" cy="1227667"/>
            </a:xfrm>
            <a:prstGeom prst="line">
              <a:avLst/>
            </a:prstGeom>
            <a:grpFill/>
            <a:ln w="571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13" name="Straight Connector 12"/>
            <p:cNvCxnSpPr/>
            <p:nvPr/>
          </p:nvCxnSpPr>
          <p:spPr>
            <a:xfrm>
              <a:off x="5105402" y="5419660"/>
              <a:ext cx="16933" cy="1227667"/>
            </a:xfrm>
            <a:prstGeom prst="line">
              <a:avLst/>
            </a:prstGeom>
            <a:grpFill/>
            <a:ln w="571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cxnSp>
      </p:gr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082830" y="2080260"/>
            <a:ext cx="1398629" cy="2037336"/>
          </a:xfrm>
          <a:prstGeom prst="rect">
            <a:avLst/>
          </a:prstGeom>
        </p:spPr>
      </p:pic>
      <p:grpSp>
        <p:nvGrpSpPr>
          <p:cNvPr id="31" name="Group 30"/>
          <p:cNvGrpSpPr/>
          <p:nvPr/>
        </p:nvGrpSpPr>
        <p:grpSpPr>
          <a:xfrm>
            <a:off x="4668690" y="2420396"/>
            <a:ext cx="886713" cy="1043420"/>
            <a:chOff x="4092230" y="2769611"/>
            <a:chExt cx="1280430" cy="1106905"/>
          </a:xfrm>
        </p:grpSpPr>
        <p:sp>
          <p:nvSpPr>
            <p:cNvPr id="32" name="Freeform 31"/>
            <p:cNvSpPr/>
            <p:nvPr/>
          </p:nvSpPr>
          <p:spPr>
            <a:xfrm>
              <a:off x="5281503" y="3307777"/>
              <a:ext cx="91157" cy="133738"/>
            </a:xfrm>
            <a:custGeom>
              <a:avLst/>
              <a:gdLst>
                <a:gd name="connsiteX0" fmla="*/ 53838 w 270896"/>
                <a:gd name="connsiteY0" fmla="*/ 0 h 264695"/>
                <a:gd name="connsiteX1" fmla="*/ 5712 w 270896"/>
                <a:gd name="connsiteY1" fmla="*/ 60158 h 264695"/>
                <a:gd name="connsiteX2" fmla="*/ 53838 w 270896"/>
                <a:gd name="connsiteY2" fmla="*/ 216569 h 264695"/>
                <a:gd name="connsiteX3" fmla="*/ 89933 w 270896"/>
                <a:gd name="connsiteY3" fmla="*/ 228600 h 264695"/>
                <a:gd name="connsiteX4" fmla="*/ 162122 w 270896"/>
                <a:gd name="connsiteY4" fmla="*/ 264695 h 264695"/>
                <a:gd name="connsiteX5" fmla="*/ 234312 w 270896"/>
                <a:gd name="connsiteY5" fmla="*/ 252663 h 264695"/>
                <a:gd name="connsiteX6" fmla="*/ 258375 w 270896"/>
                <a:gd name="connsiteY6" fmla="*/ 216569 h 264695"/>
                <a:gd name="connsiteX7" fmla="*/ 258375 w 270896"/>
                <a:gd name="connsiteY7" fmla="*/ 36095 h 264695"/>
                <a:gd name="connsiteX8" fmla="*/ 186185 w 270896"/>
                <a:gd name="connsiteY8" fmla="*/ 0 h 264695"/>
                <a:gd name="connsiteX9" fmla="*/ 53838 w 270896"/>
                <a:gd name="connsiteY9" fmla="*/ 0 h 264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0896" h="264695">
                  <a:moveTo>
                    <a:pt x="53838" y="0"/>
                  </a:moveTo>
                  <a:cubicBezTo>
                    <a:pt x="37796" y="20053"/>
                    <a:pt x="10748" y="34977"/>
                    <a:pt x="5712" y="60158"/>
                  </a:cubicBezTo>
                  <a:cubicBezTo>
                    <a:pt x="-7893" y="128181"/>
                    <a:pt x="780" y="181197"/>
                    <a:pt x="53838" y="216569"/>
                  </a:cubicBezTo>
                  <a:cubicBezTo>
                    <a:pt x="64390" y="223604"/>
                    <a:pt x="77901" y="224590"/>
                    <a:pt x="89933" y="228600"/>
                  </a:cubicBezTo>
                  <a:cubicBezTo>
                    <a:pt x="108182" y="240766"/>
                    <a:pt x="137216" y="264695"/>
                    <a:pt x="162122" y="264695"/>
                  </a:cubicBezTo>
                  <a:cubicBezTo>
                    <a:pt x="186517" y="264695"/>
                    <a:pt x="210249" y="256674"/>
                    <a:pt x="234312" y="252663"/>
                  </a:cubicBezTo>
                  <a:cubicBezTo>
                    <a:pt x="242333" y="240632"/>
                    <a:pt x="253802" y="230287"/>
                    <a:pt x="258375" y="216569"/>
                  </a:cubicBezTo>
                  <a:cubicBezTo>
                    <a:pt x="275017" y="166642"/>
                    <a:pt x="275123" y="82153"/>
                    <a:pt x="258375" y="36095"/>
                  </a:cubicBezTo>
                  <a:cubicBezTo>
                    <a:pt x="251941" y="18402"/>
                    <a:pt x="200728" y="4848"/>
                    <a:pt x="186185" y="0"/>
                  </a:cubicBezTo>
                  <a:lnTo>
                    <a:pt x="53838" y="0"/>
                  </a:lnTo>
                  <a:close/>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33" name="Freeform 32"/>
            <p:cNvSpPr/>
            <p:nvPr/>
          </p:nvSpPr>
          <p:spPr>
            <a:xfrm>
              <a:off x="4092230" y="2769611"/>
              <a:ext cx="1082877" cy="1106905"/>
            </a:xfrm>
            <a:custGeom>
              <a:avLst/>
              <a:gdLst>
                <a:gd name="connsiteX0" fmla="*/ 962526 w 1082877"/>
                <a:gd name="connsiteY0" fmla="*/ 613610 h 1106905"/>
                <a:gd name="connsiteX1" fmla="*/ 974558 w 1082877"/>
                <a:gd name="connsiteY1" fmla="*/ 445168 h 1106905"/>
                <a:gd name="connsiteX2" fmla="*/ 962526 w 1082877"/>
                <a:gd name="connsiteY2" fmla="*/ 553452 h 1106905"/>
                <a:gd name="connsiteX3" fmla="*/ 950495 w 1082877"/>
                <a:gd name="connsiteY3" fmla="*/ 601579 h 1106905"/>
                <a:gd name="connsiteX4" fmla="*/ 878305 w 1082877"/>
                <a:gd name="connsiteY4" fmla="*/ 589547 h 1106905"/>
                <a:gd name="connsiteX5" fmla="*/ 902368 w 1082877"/>
                <a:gd name="connsiteY5" fmla="*/ 421105 h 1106905"/>
                <a:gd name="connsiteX6" fmla="*/ 926432 w 1082877"/>
                <a:gd name="connsiteY6" fmla="*/ 397042 h 1106905"/>
                <a:gd name="connsiteX7" fmla="*/ 926432 w 1082877"/>
                <a:gd name="connsiteY7" fmla="*/ 613610 h 1106905"/>
                <a:gd name="connsiteX8" fmla="*/ 938463 w 1082877"/>
                <a:gd name="connsiteY8" fmla="*/ 649705 h 1106905"/>
                <a:gd name="connsiteX9" fmla="*/ 866274 w 1082877"/>
                <a:gd name="connsiteY9" fmla="*/ 613610 h 1106905"/>
                <a:gd name="connsiteX10" fmla="*/ 878305 w 1082877"/>
                <a:gd name="connsiteY10" fmla="*/ 457200 h 1106905"/>
                <a:gd name="connsiteX11" fmla="*/ 842210 w 1082877"/>
                <a:gd name="connsiteY11" fmla="*/ 577515 h 1106905"/>
                <a:gd name="connsiteX12" fmla="*/ 854242 w 1082877"/>
                <a:gd name="connsiteY12" fmla="*/ 673768 h 1106905"/>
                <a:gd name="connsiteX13" fmla="*/ 866274 w 1082877"/>
                <a:gd name="connsiteY13" fmla="*/ 372979 h 1106905"/>
                <a:gd name="connsiteX14" fmla="*/ 878305 w 1082877"/>
                <a:gd name="connsiteY14" fmla="*/ 336884 h 1106905"/>
                <a:gd name="connsiteX15" fmla="*/ 866274 w 1082877"/>
                <a:gd name="connsiteY15" fmla="*/ 397042 h 1106905"/>
                <a:gd name="connsiteX16" fmla="*/ 842210 w 1082877"/>
                <a:gd name="connsiteY16" fmla="*/ 469231 h 1106905"/>
                <a:gd name="connsiteX17" fmla="*/ 830179 w 1082877"/>
                <a:gd name="connsiteY17" fmla="*/ 685800 h 1106905"/>
                <a:gd name="connsiteX18" fmla="*/ 806116 w 1082877"/>
                <a:gd name="connsiteY18" fmla="*/ 372979 h 1106905"/>
                <a:gd name="connsiteX19" fmla="*/ 782053 w 1082877"/>
                <a:gd name="connsiteY19" fmla="*/ 421105 h 1106905"/>
                <a:gd name="connsiteX20" fmla="*/ 745958 w 1082877"/>
                <a:gd name="connsiteY20" fmla="*/ 529389 h 1106905"/>
                <a:gd name="connsiteX21" fmla="*/ 733926 w 1082877"/>
                <a:gd name="connsiteY21" fmla="*/ 565484 h 1106905"/>
                <a:gd name="connsiteX22" fmla="*/ 745958 w 1082877"/>
                <a:gd name="connsiteY22" fmla="*/ 697831 h 1106905"/>
                <a:gd name="connsiteX23" fmla="*/ 770021 w 1082877"/>
                <a:gd name="connsiteY23" fmla="*/ 649705 h 1106905"/>
                <a:gd name="connsiteX24" fmla="*/ 782053 w 1082877"/>
                <a:gd name="connsiteY24" fmla="*/ 445168 h 1106905"/>
                <a:gd name="connsiteX25" fmla="*/ 818147 w 1082877"/>
                <a:gd name="connsiteY25" fmla="*/ 300789 h 1106905"/>
                <a:gd name="connsiteX26" fmla="*/ 854242 w 1082877"/>
                <a:gd name="connsiteY26" fmla="*/ 276726 h 1106905"/>
                <a:gd name="connsiteX27" fmla="*/ 842210 w 1082877"/>
                <a:gd name="connsiteY27" fmla="*/ 312821 h 1106905"/>
                <a:gd name="connsiteX28" fmla="*/ 782053 w 1082877"/>
                <a:gd name="connsiteY28" fmla="*/ 385010 h 1106905"/>
                <a:gd name="connsiteX29" fmla="*/ 757989 w 1082877"/>
                <a:gd name="connsiteY29" fmla="*/ 445168 h 1106905"/>
                <a:gd name="connsiteX30" fmla="*/ 733926 w 1082877"/>
                <a:gd name="connsiteY30" fmla="*/ 493294 h 1106905"/>
                <a:gd name="connsiteX31" fmla="*/ 721895 w 1082877"/>
                <a:gd name="connsiteY31" fmla="*/ 529389 h 1106905"/>
                <a:gd name="connsiteX32" fmla="*/ 685800 w 1082877"/>
                <a:gd name="connsiteY32" fmla="*/ 613610 h 1106905"/>
                <a:gd name="connsiteX33" fmla="*/ 685800 w 1082877"/>
                <a:gd name="connsiteY33" fmla="*/ 818147 h 1106905"/>
                <a:gd name="connsiteX34" fmla="*/ 697832 w 1082877"/>
                <a:gd name="connsiteY34" fmla="*/ 782052 h 1106905"/>
                <a:gd name="connsiteX35" fmla="*/ 709863 w 1082877"/>
                <a:gd name="connsiteY35" fmla="*/ 372979 h 1106905"/>
                <a:gd name="connsiteX36" fmla="*/ 721895 w 1082877"/>
                <a:gd name="connsiteY36" fmla="*/ 324852 h 1106905"/>
                <a:gd name="connsiteX37" fmla="*/ 697832 w 1082877"/>
                <a:gd name="connsiteY37" fmla="*/ 397042 h 1106905"/>
                <a:gd name="connsiteX38" fmla="*/ 673768 w 1082877"/>
                <a:gd name="connsiteY38" fmla="*/ 481263 h 1106905"/>
                <a:gd name="connsiteX39" fmla="*/ 661737 w 1082877"/>
                <a:gd name="connsiteY39" fmla="*/ 553452 h 1106905"/>
                <a:gd name="connsiteX40" fmla="*/ 649705 w 1082877"/>
                <a:gd name="connsiteY40" fmla="*/ 733926 h 1106905"/>
                <a:gd name="connsiteX41" fmla="*/ 661737 w 1082877"/>
                <a:gd name="connsiteY41" fmla="*/ 457200 h 1106905"/>
                <a:gd name="connsiteX42" fmla="*/ 649705 w 1082877"/>
                <a:gd name="connsiteY42" fmla="*/ 409073 h 1106905"/>
                <a:gd name="connsiteX43" fmla="*/ 613610 w 1082877"/>
                <a:gd name="connsiteY43" fmla="*/ 469231 h 1106905"/>
                <a:gd name="connsiteX44" fmla="*/ 565484 w 1082877"/>
                <a:gd name="connsiteY44" fmla="*/ 565484 h 1106905"/>
                <a:gd name="connsiteX45" fmla="*/ 577516 w 1082877"/>
                <a:gd name="connsiteY45" fmla="*/ 300789 h 1106905"/>
                <a:gd name="connsiteX46" fmla="*/ 589547 w 1082877"/>
                <a:gd name="connsiteY46" fmla="*/ 264694 h 1106905"/>
                <a:gd name="connsiteX47" fmla="*/ 625642 w 1082877"/>
                <a:gd name="connsiteY47" fmla="*/ 228600 h 1106905"/>
                <a:gd name="connsiteX48" fmla="*/ 697832 w 1082877"/>
                <a:gd name="connsiteY48" fmla="*/ 180473 h 1106905"/>
                <a:gd name="connsiteX49" fmla="*/ 637674 w 1082877"/>
                <a:gd name="connsiteY49" fmla="*/ 264694 h 1106905"/>
                <a:gd name="connsiteX50" fmla="*/ 577516 w 1082877"/>
                <a:gd name="connsiteY50" fmla="*/ 324852 h 1106905"/>
                <a:gd name="connsiteX51" fmla="*/ 517358 w 1082877"/>
                <a:gd name="connsiteY51" fmla="*/ 433136 h 1106905"/>
                <a:gd name="connsiteX52" fmla="*/ 481263 w 1082877"/>
                <a:gd name="connsiteY52" fmla="*/ 481263 h 1106905"/>
                <a:gd name="connsiteX53" fmla="*/ 457200 w 1082877"/>
                <a:gd name="connsiteY53" fmla="*/ 577515 h 1106905"/>
                <a:gd name="connsiteX54" fmla="*/ 445168 w 1082877"/>
                <a:gd name="connsiteY54" fmla="*/ 613610 h 1106905"/>
                <a:gd name="connsiteX55" fmla="*/ 493295 w 1082877"/>
                <a:gd name="connsiteY55" fmla="*/ 324852 h 1106905"/>
                <a:gd name="connsiteX56" fmla="*/ 529389 w 1082877"/>
                <a:gd name="connsiteY56" fmla="*/ 312821 h 1106905"/>
                <a:gd name="connsiteX57" fmla="*/ 493295 w 1082877"/>
                <a:gd name="connsiteY57" fmla="*/ 397042 h 1106905"/>
                <a:gd name="connsiteX58" fmla="*/ 469232 w 1082877"/>
                <a:gd name="connsiteY58" fmla="*/ 469231 h 1106905"/>
                <a:gd name="connsiteX59" fmla="*/ 445168 w 1082877"/>
                <a:gd name="connsiteY59" fmla="*/ 517358 h 1106905"/>
                <a:gd name="connsiteX60" fmla="*/ 409074 w 1082877"/>
                <a:gd name="connsiteY60" fmla="*/ 613610 h 1106905"/>
                <a:gd name="connsiteX61" fmla="*/ 421105 w 1082877"/>
                <a:gd name="connsiteY61" fmla="*/ 505326 h 1106905"/>
                <a:gd name="connsiteX62" fmla="*/ 433137 w 1082877"/>
                <a:gd name="connsiteY62" fmla="*/ 469231 h 1106905"/>
                <a:gd name="connsiteX63" fmla="*/ 445168 w 1082877"/>
                <a:gd name="connsiteY63" fmla="*/ 372979 h 1106905"/>
                <a:gd name="connsiteX64" fmla="*/ 553453 w 1082877"/>
                <a:gd name="connsiteY64" fmla="*/ 240631 h 1106905"/>
                <a:gd name="connsiteX65" fmla="*/ 577516 w 1082877"/>
                <a:gd name="connsiteY65" fmla="*/ 204536 h 1106905"/>
                <a:gd name="connsiteX66" fmla="*/ 649705 w 1082877"/>
                <a:gd name="connsiteY66" fmla="*/ 168442 h 1106905"/>
                <a:gd name="connsiteX67" fmla="*/ 529389 w 1082877"/>
                <a:gd name="connsiteY67" fmla="*/ 216568 h 1106905"/>
                <a:gd name="connsiteX68" fmla="*/ 469232 w 1082877"/>
                <a:gd name="connsiteY68" fmla="*/ 252663 h 1106905"/>
                <a:gd name="connsiteX69" fmla="*/ 397042 w 1082877"/>
                <a:gd name="connsiteY69" fmla="*/ 312821 h 1106905"/>
                <a:gd name="connsiteX70" fmla="*/ 372979 w 1082877"/>
                <a:gd name="connsiteY70" fmla="*/ 348915 h 1106905"/>
                <a:gd name="connsiteX71" fmla="*/ 348916 w 1082877"/>
                <a:gd name="connsiteY71" fmla="*/ 372979 h 1106905"/>
                <a:gd name="connsiteX72" fmla="*/ 288758 w 1082877"/>
                <a:gd name="connsiteY72" fmla="*/ 469231 h 1106905"/>
                <a:gd name="connsiteX73" fmla="*/ 264695 w 1082877"/>
                <a:gd name="connsiteY73" fmla="*/ 589547 h 1106905"/>
                <a:gd name="connsiteX74" fmla="*/ 276726 w 1082877"/>
                <a:gd name="connsiteY74" fmla="*/ 733926 h 1106905"/>
                <a:gd name="connsiteX75" fmla="*/ 288758 w 1082877"/>
                <a:gd name="connsiteY75" fmla="*/ 770021 h 1106905"/>
                <a:gd name="connsiteX76" fmla="*/ 300789 w 1082877"/>
                <a:gd name="connsiteY76" fmla="*/ 733926 h 1106905"/>
                <a:gd name="connsiteX77" fmla="*/ 312821 w 1082877"/>
                <a:gd name="connsiteY77" fmla="*/ 565484 h 1106905"/>
                <a:gd name="connsiteX78" fmla="*/ 336884 w 1082877"/>
                <a:gd name="connsiteY78" fmla="*/ 481263 h 1106905"/>
                <a:gd name="connsiteX79" fmla="*/ 372979 w 1082877"/>
                <a:gd name="connsiteY79" fmla="*/ 312821 h 1106905"/>
                <a:gd name="connsiteX80" fmla="*/ 433137 w 1082877"/>
                <a:gd name="connsiteY80" fmla="*/ 204536 h 1106905"/>
                <a:gd name="connsiteX81" fmla="*/ 553453 w 1082877"/>
                <a:gd name="connsiteY81" fmla="*/ 192505 h 1106905"/>
                <a:gd name="connsiteX82" fmla="*/ 481263 w 1082877"/>
                <a:gd name="connsiteY82" fmla="*/ 276726 h 1106905"/>
                <a:gd name="connsiteX83" fmla="*/ 445168 w 1082877"/>
                <a:gd name="connsiteY83" fmla="*/ 336884 h 1106905"/>
                <a:gd name="connsiteX84" fmla="*/ 385010 w 1082877"/>
                <a:gd name="connsiteY84" fmla="*/ 409073 h 1106905"/>
                <a:gd name="connsiteX85" fmla="*/ 360947 w 1082877"/>
                <a:gd name="connsiteY85" fmla="*/ 469231 h 1106905"/>
                <a:gd name="connsiteX86" fmla="*/ 336884 w 1082877"/>
                <a:gd name="connsiteY86" fmla="*/ 517358 h 1106905"/>
                <a:gd name="connsiteX87" fmla="*/ 312821 w 1082877"/>
                <a:gd name="connsiteY87" fmla="*/ 637673 h 1106905"/>
                <a:gd name="connsiteX88" fmla="*/ 324853 w 1082877"/>
                <a:gd name="connsiteY88" fmla="*/ 902368 h 1106905"/>
                <a:gd name="connsiteX89" fmla="*/ 336884 w 1082877"/>
                <a:gd name="connsiteY89" fmla="*/ 950494 h 1106905"/>
                <a:gd name="connsiteX90" fmla="*/ 348916 w 1082877"/>
                <a:gd name="connsiteY90" fmla="*/ 866273 h 1106905"/>
                <a:gd name="connsiteX91" fmla="*/ 360947 w 1082877"/>
                <a:gd name="connsiteY91" fmla="*/ 565484 h 1106905"/>
                <a:gd name="connsiteX92" fmla="*/ 372979 w 1082877"/>
                <a:gd name="connsiteY92" fmla="*/ 493294 h 1106905"/>
                <a:gd name="connsiteX93" fmla="*/ 397042 w 1082877"/>
                <a:gd name="connsiteY93" fmla="*/ 288758 h 1106905"/>
                <a:gd name="connsiteX94" fmla="*/ 409074 w 1082877"/>
                <a:gd name="connsiteY94" fmla="*/ 252663 h 1106905"/>
                <a:gd name="connsiteX95" fmla="*/ 445168 w 1082877"/>
                <a:gd name="connsiteY95" fmla="*/ 228600 h 1106905"/>
                <a:gd name="connsiteX96" fmla="*/ 505326 w 1082877"/>
                <a:gd name="connsiteY96" fmla="*/ 192505 h 1106905"/>
                <a:gd name="connsiteX97" fmla="*/ 601579 w 1082877"/>
                <a:gd name="connsiteY97" fmla="*/ 204536 h 1106905"/>
                <a:gd name="connsiteX98" fmla="*/ 541421 w 1082877"/>
                <a:gd name="connsiteY98" fmla="*/ 264694 h 1106905"/>
                <a:gd name="connsiteX99" fmla="*/ 481263 w 1082877"/>
                <a:gd name="connsiteY99" fmla="*/ 348915 h 1106905"/>
                <a:gd name="connsiteX100" fmla="*/ 469232 w 1082877"/>
                <a:gd name="connsiteY100" fmla="*/ 385010 h 1106905"/>
                <a:gd name="connsiteX101" fmla="*/ 397042 w 1082877"/>
                <a:gd name="connsiteY101" fmla="*/ 481263 h 1106905"/>
                <a:gd name="connsiteX102" fmla="*/ 348916 w 1082877"/>
                <a:gd name="connsiteY102" fmla="*/ 577515 h 1106905"/>
                <a:gd name="connsiteX103" fmla="*/ 336884 w 1082877"/>
                <a:gd name="connsiteY103" fmla="*/ 637673 h 1106905"/>
                <a:gd name="connsiteX104" fmla="*/ 312821 w 1082877"/>
                <a:gd name="connsiteY104" fmla="*/ 709863 h 1106905"/>
                <a:gd name="connsiteX105" fmla="*/ 300789 w 1082877"/>
                <a:gd name="connsiteY105" fmla="*/ 878305 h 1106905"/>
                <a:gd name="connsiteX106" fmla="*/ 312821 w 1082877"/>
                <a:gd name="connsiteY106" fmla="*/ 96252 h 1106905"/>
                <a:gd name="connsiteX107" fmla="*/ 348916 w 1082877"/>
                <a:gd name="connsiteY107" fmla="*/ 60158 h 1106905"/>
                <a:gd name="connsiteX108" fmla="*/ 397042 w 1082877"/>
                <a:gd name="connsiteY108" fmla="*/ 36094 h 1106905"/>
                <a:gd name="connsiteX109" fmla="*/ 469232 w 1082877"/>
                <a:gd name="connsiteY109" fmla="*/ 0 h 1106905"/>
                <a:gd name="connsiteX110" fmla="*/ 505326 w 1082877"/>
                <a:gd name="connsiteY110" fmla="*/ 24063 h 1106905"/>
                <a:gd name="connsiteX111" fmla="*/ 457200 w 1082877"/>
                <a:gd name="connsiteY111" fmla="*/ 168442 h 1106905"/>
                <a:gd name="connsiteX112" fmla="*/ 433137 w 1082877"/>
                <a:gd name="connsiteY112" fmla="*/ 300789 h 1106905"/>
                <a:gd name="connsiteX113" fmla="*/ 409074 w 1082877"/>
                <a:gd name="connsiteY113" fmla="*/ 336884 h 1106905"/>
                <a:gd name="connsiteX114" fmla="*/ 397042 w 1082877"/>
                <a:gd name="connsiteY114" fmla="*/ 397042 h 1106905"/>
                <a:gd name="connsiteX115" fmla="*/ 385010 w 1082877"/>
                <a:gd name="connsiteY115" fmla="*/ 481263 h 1106905"/>
                <a:gd name="connsiteX116" fmla="*/ 360947 w 1082877"/>
                <a:gd name="connsiteY116" fmla="*/ 553452 h 1106905"/>
                <a:gd name="connsiteX117" fmla="*/ 336884 w 1082877"/>
                <a:gd name="connsiteY117" fmla="*/ 649705 h 1106905"/>
                <a:gd name="connsiteX118" fmla="*/ 348916 w 1082877"/>
                <a:gd name="connsiteY118" fmla="*/ 733926 h 1106905"/>
                <a:gd name="connsiteX119" fmla="*/ 360947 w 1082877"/>
                <a:gd name="connsiteY119" fmla="*/ 697831 h 1106905"/>
                <a:gd name="connsiteX120" fmla="*/ 385010 w 1082877"/>
                <a:gd name="connsiteY120" fmla="*/ 649705 h 1106905"/>
                <a:gd name="connsiteX121" fmla="*/ 409074 w 1082877"/>
                <a:gd name="connsiteY121" fmla="*/ 529389 h 1106905"/>
                <a:gd name="connsiteX122" fmla="*/ 421105 w 1082877"/>
                <a:gd name="connsiteY122" fmla="*/ 481263 h 1106905"/>
                <a:gd name="connsiteX123" fmla="*/ 457200 w 1082877"/>
                <a:gd name="connsiteY123" fmla="*/ 348915 h 1106905"/>
                <a:gd name="connsiteX124" fmla="*/ 517358 w 1082877"/>
                <a:gd name="connsiteY124" fmla="*/ 276726 h 1106905"/>
                <a:gd name="connsiteX125" fmla="*/ 541421 w 1082877"/>
                <a:gd name="connsiteY125" fmla="*/ 240631 h 1106905"/>
                <a:gd name="connsiteX126" fmla="*/ 493295 w 1082877"/>
                <a:gd name="connsiteY126" fmla="*/ 264694 h 1106905"/>
                <a:gd name="connsiteX127" fmla="*/ 469232 w 1082877"/>
                <a:gd name="connsiteY127" fmla="*/ 300789 h 1106905"/>
                <a:gd name="connsiteX128" fmla="*/ 409074 w 1082877"/>
                <a:gd name="connsiteY128" fmla="*/ 372979 h 1106905"/>
                <a:gd name="connsiteX129" fmla="*/ 385010 w 1082877"/>
                <a:gd name="connsiteY129" fmla="*/ 421105 h 1106905"/>
                <a:gd name="connsiteX130" fmla="*/ 360947 w 1082877"/>
                <a:gd name="connsiteY130" fmla="*/ 457200 h 1106905"/>
                <a:gd name="connsiteX131" fmla="*/ 348916 w 1082877"/>
                <a:gd name="connsiteY131" fmla="*/ 505326 h 1106905"/>
                <a:gd name="connsiteX132" fmla="*/ 312821 w 1082877"/>
                <a:gd name="connsiteY132" fmla="*/ 625642 h 1106905"/>
                <a:gd name="connsiteX133" fmla="*/ 300789 w 1082877"/>
                <a:gd name="connsiteY133" fmla="*/ 709863 h 1106905"/>
                <a:gd name="connsiteX134" fmla="*/ 312821 w 1082877"/>
                <a:gd name="connsiteY134" fmla="*/ 216568 h 1106905"/>
                <a:gd name="connsiteX135" fmla="*/ 348916 w 1082877"/>
                <a:gd name="connsiteY135" fmla="*/ 144379 h 1106905"/>
                <a:gd name="connsiteX136" fmla="*/ 372979 w 1082877"/>
                <a:gd name="connsiteY136" fmla="*/ 120315 h 1106905"/>
                <a:gd name="connsiteX137" fmla="*/ 445168 w 1082877"/>
                <a:gd name="connsiteY137" fmla="*/ 96252 h 1106905"/>
                <a:gd name="connsiteX138" fmla="*/ 421105 w 1082877"/>
                <a:gd name="connsiteY138" fmla="*/ 156410 h 1106905"/>
                <a:gd name="connsiteX139" fmla="*/ 360947 w 1082877"/>
                <a:gd name="connsiteY139" fmla="*/ 228600 h 1106905"/>
                <a:gd name="connsiteX140" fmla="*/ 336884 w 1082877"/>
                <a:gd name="connsiteY140" fmla="*/ 288758 h 1106905"/>
                <a:gd name="connsiteX141" fmla="*/ 312821 w 1082877"/>
                <a:gd name="connsiteY141" fmla="*/ 324852 h 1106905"/>
                <a:gd name="connsiteX142" fmla="*/ 216568 w 1082877"/>
                <a:gd name="connsiteY142" fmla="*/ 433136 h 1106905"/>
                <a:gd name="connsiteX143" fmla="*/ 180474 w 1082877"/>
                <a:gd name="connsiteY143" fmla="*/ 505326 h 1106905"/>
                <a:gd name="connsiteX144" fmla="*/ 120316 w 1082877"/>
                <a:gd name="connsiteY144" fmla="*/ 613610 h 1106905"/>
                <a:gd name="connsiteX145" fmla="*/ 96253 w 1082877"/>
                <a:gd name="connsiteY145" fmla="*/ 697831 h 1106905"/>
                <a:gd name="connsiteX146" fmla="*/ 108284 w 1082877"/>
                <a:gd name="connsiteY146" fmla="*/ 757989 h 1106905"/>
                <a:gd name="connsiteX147" fmla="*/ 120316 w 1082877"/>
                <a:gd name="connsiteY147" fmla="*/ 505326 h 1106905"/>
                <a:gd name="connsiteX148" fmla="*/ 132347 w 1082877"/>
                <a:gd name="connsiteY148" fmla="*/ 457200 h 1106905"/>
                <a:gd name="connsiteX149" fmla="*/ 144379 w 1082877"/>
                <a:gd name="connsiteY149" fmla="*/ 372979 h 1106905"/>
                <a:gd name="connsiteX150" fmla="*/ 156410 w 1082877"/>
                <a:gd name="connsiteY150" fmla="*/ 276726 h 1106905"/>
                <a:gd name="connsiteX151" fmla="*/ 204537 w 1082877"/>
                <a:gd name="connsiteY151" fmla="*/ 204536 h 1106905"/>
                <a:gd name="connsiteX152" fmla="*/ 216568 w 1082877"/>
                <a:gd name="connsiteY152" fmla="*/ 168442 h 1106905"/>
                <a:gd name="connsiteX153" fmla="*/ 288758 w 1082877"/>
                <a:gd name="connsiteY153" fmla="*/ 132347 h 1106905"/>
                <a:gd name="connsiteX154" fmla="*/ 372979 w 1082877"/>
                <a:gd name="connsiteY154" fmla="*/ 96252 h 1106905"/>
                <a:gd name="connsiteX155" fmla="*/ 348916 w 1082877"/>
                <a:gd name="connsiteY155" fmla="*/ 156410 h 1106905"/>
                <a:gd name="connsiteX156" fmla="*/ 324853 w 1082877"/>
                <a:gd name="connsiteY156" fmla="*/ 192505 h 1106905"/>
                <a:gd name="connsiteX157" fmla="*/ 300789 w 1082877"/>
                <a:gd name="connsiteY157" fmla="*/ 240631 h 1106905"/>
                <a:gd name="connsiteX158" fmla="*/ 288758 w 1082877"/>
                <a:gd name="connsiteY158" fmla="*/ 288758 h 1106905"/>
                <a:gd name="connsiteX159" fmla="*/ 252663 w 1082877"/>
                <a:gd name="connsiteY159" fmla="*/ 312821 h 1106905"/>
                <a:gd name="connsiteX160" fmla="*/ 192505 w 1082877"/>
                <a:gd name="connsiteY160" fmla="*/ 469231 h 1106905"/>
                <a:gd name="connsiteX161" fmla="*/ 168442 w 1082877"/>
                <a:gd name="connsiteY161" fmla="*/ 529389 h 1106905"/>
                <a:gd name="connsiteX162" fmla="*/ 180474 w 1082877"/>
                <a:gd name="connsiteY162" fmla="*/ 842210 h 1106905"/>
                <a:gd name="connsiteX163" fmla="*/ 228600 w 1082877"/>
                <a:gd name="connsiteY163" fmla="*/ 914400 h 1106905"/>
                <a:gd name="connsiteX164" fmla="*/ 252663 w 1082877"/>
                <a:gd name="connsiteY164" fmla="*/ 950494 h 1106905"/>
                <a:gd name="connsiteX165" fmla="*/ 240632 w 1082877"/>
                <a:gd name="connsiteY165" fmla="*/ 914400 h 1106905"/>
                <a:gd name="connsiteX166" fmla="*/ 228600 w 1082877"/>
                <a:gd name="connsiteY166" fmla="*/ 866273 h 1106905"/>
                <a:gd name="connsiteX167" fmla="*/ 192505 w 1082877"/>
                <a:gd name="connsiteY167" fmla="*/ 745958 h 1106905"/>
                <a:gd name="connsiteX168" fmla="*/ 228600 w 1082877"/>
                <a:gd name="connsiteY168" fmla="*/ 336884 h 1106905"/>
                <a:gd name="connsiteX169" fmla="*/ 240632 w 1082877"/>
                <a:gd name="connsiteY169" fmla="*/ 300789 h 1106905"/>
                <a:gd name="connsiteX170" fmla="*/ 336884 w 1082877"/>
                <a:gd name="connsiteY170" fmla="*/ 192505 h 1106905"/>
                <a:gd name="connsiteX171" fmla="*/ 372979 w 1082877"/>
                <a:gd name="connsiteY171" fmla="*/ 156410 h 1106905"/>
                <a:gd name="connsiteX172" fmla="*/ 300789 w 1082877"/>
                <a:gd name="connsiteY172" fmla="*/ 312821 h 1106905"/>
                <a:gd name="connsiteX173" fmla="*/ 264695 w 1082877"/>
                <a:gd name="connsiteY173" fmla="*/ 336884 h 1106905"/>
                <a:gd name="connsiteX174" fmla="*/ 240632 w 1082877"/>
                <a:gd name="connsiteY174" fmla="*/ 385010 h 1106905"/>
                <a:gd name="connsiteX175" fmla="*/ 168442 w 1082877"/>
                <a:gd name="connsiteY175" fmla="*/ 445168 h 1106905"/>
                <a:gd name="connsiteX176" fmla="*/ 132347 w 1082877"/>
                <a:gd name="connsiteY176" fmla="*/ 541421 h 1106905"/>
                <a:gd name="connsiteX177" fmla="*/ 108284 w 1082877"/>
                <a:gd name="connsiteY177" fmla="*/ 685800 h 1106905"/>
                <a:gd name="connsiteX178" fmla="*/ 120316 w 1082877"/>
                <a:gd name="connsiteY178" fmla="*/ 854242 h 1106905"/>
                <a:gd name="connsiteX179" fmla="*/ 132347 w 1082877"/>
                <a:gd name="connsiteY179" fmla="*/ 902368 h 1106905"/>
                <a:gd name="connsiteX180" fmla="*/ 168442 w 1082877"/>
                <a:gd name="connsiteY180" fmla="*/ 938463 h 1106905"/>
                <a:gd name="connsiteX181" fmla="*/ 204537 w 1082877"/>
                <a:gd name="connsiteY181" fmla="*/ 1010652 h 1106905"/>
                <a:gd name="connsiteX182" fmla="*/ 216568 w 1082877"/>
                <a:gd name="connsiteY182" fmla="*/ 974558 h 1106905"/>
                <a:gd name="connsiteX183" fmla="*/ 216568 w 1082877"/>
                <a:gd name="connsiteY183" fmla="*/ 312821 h 1106905"/>
                <a:gd name="connsiteX184" fmla="*/ 240632 w 1082877"/>
                <a:gd name="connsiteY184" fmla="*/ 276726 h 1106905"/>
                <a:gd name="connsiteX185" fmla="*/ 252663 w 1082877"/>
                <a:gd name="connsiteY185" fmla="*/ 240631 h 1106905"/>
                <a:gd name="connsiteX186" fmla="*/ 324853 w 1082877"/>
                <a:gd name="connsiteY186" fmla="*/ 204536 h 1106905"/>
                <a:gd name="connsiteX187" fmla="*/ 372979 w 1082877"/>
                <a:gd name="connsiteY187" fmla="*/ 180473 h 1106905"/>
                <a:gd name="connsiteX188" fmla="*/ 409074 w 1082877"/>
                <a:gd name="connsiteY188" fmla="*/ 156410 h 1106905"/>
                <a:gd name="connsiteX189" fmla="*/ 385010 w 1082877"/>
                <a:gd name="connsiteY189" fmla="*/ 180473 h 1106905"/>
                <a:gd name="connsiteX190" fmla="*/ 348916 w 1082877"/>
                <a:gd name="connsiteY190" fmla="*/ 192505 h 1106905"/>
                <a:gd name="connsiteX191" fmla="*/ 276726 w 1082877"/>
                <a:gd name="connsiteY191" fmla="*/ 228600 h 1106905"/>
                <a:gd name="connsiteX192" fmla="*/ 228600 w 1082877"/>
                <a:gd name="connsiteY192" fmla="*/ 300789 h 1106905"/>
                <a:gd name="connsiteX193" fmla="*/ 204537 w 1082877"/>
                <a:gd name="connsiteY193" fmla="*/ 336884 h 1106905"/>
                <a:gd name="connsiteX194" fmla="*/ 192505 w 1082877"/>
                <a:gd name="connsiteY194" fmla="*/ 385010 h 1106905"/>
                <a:gd name="connsiteX195" fmla="*/ 168442 w 1082877"/>
                <a:gd name="connsiteY195" fmla="*/ 433136 h 1106905"/>
                <a:gd name="connsiteX196" fmla="*/ 132347 w 1082877"/>
                <a:gd name="connsiteY196" fmla="*/ 541421 h 1106905"/>
                <a:gd name="connsiteX197" fmla="*/ 144379 w 1082877"/>
                <a:gd name="connsiteY197" fmla="*/ 974558 h 1106905"/>
                <a:gd name="connsiteX198" fmla="*/ 156410 w 1082877"/>
                <a:gd name="connsiteY198" fmla="*/ 1010652 h 1106905"/>
                <a:gd name="connsiteX199" fmla="*/ 144379 w 1082877"/>
                <a:gd name="connsiteY199" fmla="*/ 854242 h 1106905"/>
                <a:gd name="connsiteX200" fmla="*/ 120316 w 1082877"/>
                <a:gd name="connsiteY200" fmla="*/ 757989 h 1106905"/>
                <a:gd name="connsiteX201" fmla="*/ 108284 w 1082877"/>
                <a:gd name="connsiteY201" fmla="*/ 709863 h 1106905"/>
                <a:gd name="connsiteX202" fmla="*/ 108284 w 1082877"/>
                <a:gd name="connsiteY202" fmla="*/ 288758 h 1106905"/>
                <a:gd name="connsiteX203" fmla="*/ 132347 w 1082877"/>
                <a:gd name="connsiteY203" fmla="*/ 264694 h 1106905"/>
                <a:gd name="connsiteX204" fmla="*/ 180474 w 1082877"/>
                <a:gd name="connsiteY204" fmla="*/ 204536 h 1106905"/>
                <a:gd name="connsiteX205" fmla="*/ 252663 w 1082877"/>
                <a:gd name="connsiteY205" fmla="*/ 108284 h 1106905"/>
                <a:gd name="connsiteX206" fmla="*/ 312821 w 1082877"/>
                <a:gd name="connsiteY206" fmla="*/ 60158 h 1106905"/>
                <a:gd name="connsiteX207" fmla="*/ 336884 w 1082877"/>
                <a:gd name="connsiteY207" fmla="*/ 84221 h 1106905"/>
                <a:gd name="connsiteX208" fmla="*/ 228600 w 1082877"/>
                <a:gd name="connsiteY208" fmla="*/ 132347 h 1106905"/>
                <a:gd name="connsiteX209" fmla="*/ 192505 w 1082877"/>
                <a:gd name="connsiteY209" fmla="*/ 180473 h 1106905"/>
                <a:gd name="connsiteX210" fmla="*/ 156410 w 1082877"/>
                <a:gd name="connsiteY210" fmla="*/ 192505 h 1106905"/>
                <a:gd name="connsiteX211" fmla="*/ 144379 w 1082877"/>
                <a:gd name="connsiteY211" fmla="*/ 228600 h 1106905"/>
                <a:gd name="connsiteX212" fmla="*/ 120316 w 1082877"/>
                <a:gd name="connsiteY212" fmla="*/ 276726 h 1106905"/>
                <a:gd name="connsiteX213" fmla="*/ 84221 w 1082877"/>
                <a:gd name="connsiteY213" fmla="*/ 324852 h 1106905"/>
                <a:gd name="connsiteX214" fmla="*/ 60158 w 1082877"/>
                <a:gd name="connsiteY214" fmla="*/ 385010 h 1106905"/>
                <a:gd name="connsiteX215" fmla="*/ 0 w 1082877"/>
                <a:gd name="connsiteY215" fmla="*/ 517358 h 1106905"/>
                <a:gd name="connsiteX216" fmla="*/ 12032 w 1082877"/>
                <a:gd name="connsiteY216" fmla="*/ 878305 h 1106905"/>
                <a:gd name="connsiteX217" fmla="*/ 48126 w 1082877"/>
                <a:gd name="connsiteY217" fmla="*/ 950494 h 1106905"/>
                <a:gd name="connsiteX218" fmla="*/ 60158 w 1082877"/>
                <a:gd name="connsiteY218" fmla="*/ 986589 h 1106905"/>
                <a:gd name="connsiteX219" fmla="*/ 84221 w 1082877"/>
                <a:gd name="connsiteY219" fmla="*/ 553452 h 1106905"/>
                <a:gd name="connsiteX220" fmla="*/ 96253 w 1082877"/>
                <a:gd name="connsiteY220" fmla="*/ 481263 h 1106905"/>
                <a:gd name="connsiteX221" fmla="*/ 120316 w 1082877"/>
                <a:gd name="connsiteY221" fmla="*/ 336884 h 1106905"/>
                <a:gd name="connsiteX222" fmla="*/ 144379 w 1082877"/>
                <a:gd name="connsiteY222" fmla="*/ 252663 h 1106905"/>
                <a:gd name="connsiteX223" fmla="*/ 156410 w 1082877"/>
                <a:gd name="connsiteY223" fmla="*/ 204536 h 1106905"/>
                <a:gd name="connsiteX224" fmla="*/ 180474 w 1082877"/>
                <a:gd name="connsiteY224" fmla="*/ 180473 h 1106905"/>
                <a:gd name="connsiteX225" fmla="*/ 216568 w 1082877"/>
                <a:gd name="connsiteY225" fmla="*/ 132347 h 1106905"/>
                <a:gd name="connsiteX226" fmla="*/ 240632 w 1082877"/>
                <a:gd name="connsiteY226" fmla="*/ 96252 h 1106905"/>
                <a:gd name="connsiteX227" fmla="*/ 276726 w 1082877"/>
                <a:gd name="connsiteY227" fmla="*/ 84221 h 1106905"/>
                <a:gd name="connsiteX228" fmla="*/ 372979 w 1082877"/>
                <a:gd name="connsiteY228" fmla="*/ 48126 h 1106905"/>
                <a:gd name="connsiteX229" fmla="*/ 288758 w 1082877"/>
                <a:gd name="connsiteY229" fmla="*/ 144379 h 1106905"/>
                <a:gd name="connsiteX230" fmla="*/ 180474 w 1082877"/>
                <a:gd name="connsiteY230" fmla="*/ 216568 h 1106905"/>
                <a:gd name="connsiteX231" fmla="*/ 156410 w 1082877"/>
                <a:gd name="connsiteY231" fmla="*/ 252663 h 1106905"/>
                <a:gd name="connsiteX232" fmla="*/ 120316 w 1082877"/>
                <a:gd name="connsiteY232" fmla="*/ 288758 h 1106905"/>
                <a:gd name="connsiteX233" fmla="*/ 108284 w 1082877"/>
                <a:gd name="connsiteY233" fmla="*/ 336884 h 1106905"/>
                <a:gd name="connsiteX234" fmla="*/ 84221 w 1082877"/>
                <a:gd name="connsiteY234" fmla="*/ 385010 h 1106905"/>
                <a:gd name="connsiteX235" fmla="*/ 60158 w 1082877"/>
                <a:gd name="connsiteY235" fmla="*/ 445168 h 1106905"/>
                <a:gd name="connsiteX236" fmla="*/ 24063 w 1082877"/>
                <a:gd name="connsiteY236" fmla="*/ 529389 h 1106905"/>
                <a:gd name="connsiteX237" fmla="*/ 12032 w 1082877"/>
                <a:gd name="connsiteY237" fmla="*/ 577515 h 1106905"/>
                <a:gd name="connsiteX238" fmla="*/ 0 w 1082877"/>
                <a:gd name="connsiteY238" fmla="*/ 613610 h 1106905"/>
                <a:gd name="connsiteX239" fmla="*/ 12032 w 1082877"/>
                <a:gd name="connsiteY239" fmla="*/ 842210 h 1106905"/>
                <a:gd name="connsiteX240" fmla="*/ 24063 w 1082877"/>
                <a:gd name="connsiteY240" fmla="*/ 878305 h 1106905"/>
                <a:gd name="connsiteX241" fmla="*/ 72189 w 1082877"/>
                <a:gd name="connsiteY241" fmla="*/ 950494 h 1106905"/>
                <a:gd name="connsiteX242" fmla="*/ 96253 w 1082877"/>
                <a:gd name="connsiteY242" fmla="*/ 998621 h 1106905"/>
                <a:gd name="connsiteX243" fmla="*/ 108284 w 1082877"/>
                <a:gd name="connsiteY243" fmla="*/ 1034715 h 1106905"/>
                <a:gd name="connsiteX244" fmla="*/ 168442 w 1082877"/>
                <a:gd name="connsiteY244" fmla="*/ 1106905 h 1106905"/>
                <a:gd name="connsiteX245" fmla="*/ 192505 w 1082877"/>
                <a:gd name="connsiteY245" fmla="*/ 529389 h 1106905"/>
                <a:gd name="connsiteX246" fmla="*/ 216568 w 1082877"/>
                <a:gd name="connsiteY246" fmla="*/ 457200 h 1106905"/>
                <a:gd name="connsiteX247" fmla="*/ 264695 w 1082877"/>
                <a:gd name="connsiteY247" fmla="*/ 385010 h 1106905"/>
                <a:gd name="connsiteX248" fmla="*/ 276726 w 1082877"/>
                <a:gd name="connsiteY248" fmla="*/ 336884 h 1106905"/>
                <a:gd name="connsiteX249" fmla="*/ 324853 w 1082877"/>
                <a:gd name="connsiteY249" fmla="*/ 276726 h 1106905"/>
                <a:gd name="connsiteX250" fmla="*/ 348916 w 1082877"/>
                <a:gd name="connsiteY250" fmla="*/ 240631 h 1106905"/>
                <a:gd name="connsiteX251" fmla="*/ 385010 w 1082877"/>
                <a:gd name="connsiteY251" fmla="*/ 204536 h 1106905"/>
                <a:gd name="connsiteX252" fmla="*/ 469232 w 1082877"/>
                <a:gd name="connsiteY252" fmla="*/ 156410 h 1106905"/>
                <a:gd name="connsiteX253" fmla="*/ 505326 w 1082877"/>
                <a:gd name="connsiteY253" fmla="*/ 144379 h 1106905"/>
                <a:gd name="connsiteX254" fmla="*/ 457200 w 1082877"/>
                <a:gd name="connsiteY254" fmla="*/ 216568 h 1106905"/>
                <a:gd name="connsiteX255" fmla="*/ 445168 w 1082877"/>
                <a:gd name="connsiteY255" fmla="*/ 252663 h 1106905"/>
                <a:gd name="connsiteX256" fmla="*/ 421105 w 1082877"/>
                <a:gd name="connsiteY256" fmla="*/ 288758 h 1106905"/>
                <a:gd name="connsiteX257" fmla="*/ 397042 w 1082877"/>
                <a:gd name="connsiteY257" fmla="*/ 336884 h 1106905"/>
                <a:gd name="connsiteX258" fmla="*/ 385010 w 1082877"/>
                <a:gd name="connsiteY258" fmla="*/ 433136 h 1106905"/>
                <a:gd name="connsiteX259" fmla="*/ 372979 w 1082877"/>
                <a:gd name="connsiteY259" fmla="*/ 493294 h 1106905"/>
                <a:gd name="connsiteX260" fmla="*/ 385010 w 1082877"/>
                <a:gd name="connsiteY260" fmla="*/ 806115 h 1106905"/>
                <a:gd name="connsiteX261" fmla="*/ 397042 w 1082877"/>
                <a:gd name="connsiteY261" fmla="*/ 842210 h 1106905"/>
                <a:gd name="connsiteX262" fmla="*/ 421105 w 1082877"/>
                <a:gd name="connsiteY262" fmla="*/ 878305 h 1106905"/>
                <a:gd name="connsiteX263" fmla="*/ 421105 w 1082877"/>
                <a:gd name="connsiteY263" fmla="*/ 625642 h 1106905"/>
                <a:gd name="connsiteX264" fmla="*/ 433137 w 1082877"/>
                <a:gd name="connsiteY264" fmla="*/ 324852 h 1106905"/>
                <a:gd name="connsiteX265" fmla="*/ 445168 w 1082877"/>
                <a:gd name="connsiteY265" fmla="*/ 288758 h 1106905"/>
                <a:gd name="connsiteX266" fmla="*/ 469232 w 1082877"/>
                <a:gd name="connsiteY266" fmla="*/ 252663 h 1106905"/>
                <a:gd name="connsiteX267" fmla="*/ 481263 w 1082877"/>
                <a:gd name="connsiteY267" fmla="*/ 216568 h 1106905"/>
                <a:gd name="connsiteX268" fmla="*/ 457200 w 1082877"/>
                <a:gd name="connsiteY268" fmla="*/ 433136 h 1106905"/>
                <a:gd name="connsiteX269" fmla="*/ 469232 w 1082877"/>
                <a:gd name="connsiteY269" fmla="*/ 770021 h 1106905"/>
                <a:gd name="connsiteX270" fmla="*/ 493295 w 1082877"/>
                <a:gd name="connsiteY270" fmla="*/ 806115 h 1106905"/>
                <a:gd name="connsiteX271" fmla="*/ 505326 w 1082877"/>
                <a:gd name="connsiteY271" fmla="*/ 842210 h 1106905"/>
                <a:gd name="connsiteX272" fmla="*/ 553453 w 1082877"/>
                <a:gd name="connsiteY272" fmla="*/ 854242 h 1106905"/>
                <a:gd name="connsiteX273" fmla="*/ 589547 w 1082877"/>
                <a:gd name="connsiteY273" fmla="*/ 312821 h 1106905"/>
                <a:gd name="connsiteX274" fmla="*/ 601579 w 1082877"/>
                <a:gd name="connsiteY274" fmla="*/ 216568 h 1106905"/>
                <a:gd name="connsiteX275" fmla="*/ 613610 w 1082877"/>
                <a:gd name="connsiteY275" fmla="*/ 264694 h 1106905"/>
                <a:gd name="connsiteX276" fmla="*/ 577516 w 1082877"/>
                <a:gd name="connsiteY276" fmla="*/ 348915 h 1106905"/>
                <a:gd name="connsiteX277" fmla="*/ 553453 w 1082877"/>
                <a:gd name="connsiteY277" fmla="*/ 481263 h 1106905"/>
                <a:gd name="connsiteX278" fmla="*/ 565484 w 1082877"/>
                <a:gd name="connsiteY278" fmla="*/ 709863 h 1106905"/>
                <a:gd name="connsiteX279" fmla="*/ 589547 w 1082877"/>
                <a:gd name="connsiteY279" fmla="*/ 745958 h 1106905"/>
                <a:gd name="connsiteX280" fmla="*/ 661737 w 1082877"/>
                <a:gd name="connsiteY280" fmla="*/ 818147 h 1106905"/>
                <a:gd name="connsiteX281" fmla="*/ 673768 w 1082877"/>
                <a:gd name="connsiteY281" fmla="*/ 481263 h 1106905"/>
                <a:gd name="connsiteX282" fmla="*/ 661737 w 1082877"/>
                <a:gd name="connsiteY282" fmla="*/ 433136 h 1106905"/>
                <a:gd name="connsiteX283" fmla="*/ 673768 w 1082877"/>
                <a:gd name="connsiteY283" fmla="*/ 493294 h 1106905"/>
                <a:gd name="connsiteX284" fmla="*/ 721895 w 1082877"/>
                <a:gd name="connsiteY284" fmla="*/ 625642 h 1106905"/>
                <a:gd name="connsiteX285" fmla="*/ 770021 w 1082877"/>
                <a:gd name="connsiteY285" fmla="*/ 661736 h 1106905"/>
                <a:gd name="connsiteX286" fmla="*/ 830179 w 1082877"/>
                <a:gd name="connsiteY286" fmla="*/ 733926 h 1106905"/>
                <a:gd name="connsiteX287" fmla="*/ 914400 w 1082877"/>
                <a:gd name="connsiteY287" fmla="*/ 782052 h 1106905"/>
                <a:gd name="connsiteX288" fmla="*/ 974558 w 1082877"/>
                <a:gd name="connsiteY288" fmla="*/ 757989 h 1106905"/>
                <a:gd name="connsiteX289" fmla="*/ 962526 w 1082877"/>
                <a:gd name="connsiteY289" fmla="*/ 697831 h 1106905"/>
                <a:gd name="connsiteX290" fmla="*/ 938463 w 1082877"/>
                <a:gd name="connsiteY290" fmla="*/ 553452 h 1106905"/>
                <a:gd name="connsiteX291" fmla="*/ 914400 w 1082877"/>
                <a:gd name="connsiteY291" fmla="*/ 457200 h 1106905"/>
                <a:gd name="connsiteX292" fmla="*/ 902368 w 1082877"/>
                <a:gd name="connsiteY292" fmla="*/ 336884 h 1106905"/>
                <a:gd name="connsiteX293" fmla="*/ 926432 w 1082877"/>
                <a:gd name="connsiteY293" fmla="*/ 625642 h 1106905"/>
                <a:gd name="connsiteX294" fmla="*/ 962526 w 1082877"/>
                <a:gd name="connsiteY294" fmla="*/ 613610 h 1106905"/>
                <a:gd name="connsiteX295" fmla="*/ 974558 w 1082877"/>
                <a:gd name="connsiteY295" fmla="*/ 577515 h 1106905"/>
                <a:gd name="connsiteX296" fmla="*/ 986589 w 1082877"/>
                <a:gd name="connsiteY296" fmla="*/ 457200 h 1106905"/>
                <a:gd name="connsiteX297" fmla="*/ 1010653 w 1082877"/>
                <a:gd name="connsiteY297" fmla="*/ 505326 h 1106905"/>
                <a:gd name="connsiteX298" fmla="*/ 1034716 w 1082877"/>
                <a:gd name="connsiteY298" fmla="*/ 541421 h 1106905"/>
                <a:gd name="connsiteX299" fmla="*/ 1070810 w 1082877"/>
                <a:gd name="connsiteY299" fmla="*/ 601579 h 1106905"/>
                <a:gd name="connsiteX300" fmla="*/ 1082842 w 1082877"/>
                <a:gd name="connsiteY300" fmla="*/ 553452 h 1106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Lst>
              <a:rect l="l" t="t" r="r" b="b"/>
              <a:pathLst>
                <a:path w="1082877" h="1106905">
                  <a:moveTo>
                    <a:pt x="962526" y="613610"/>
                  </a:moveTo>
                  <a:cubicBezTo>
                    <a:pt x="966537" y="557463"/>
                    <a:pt x="974558" y="501458"/>
                    <a:pt x="974558" y="445168"/>
                  </a:cubicBezTo>
                  <a:cubicBezTo>
                    <a:pt x="974558" y="408851"/>
                    <a:pt x="968048" y="517557"/>
                    <a:pt x="962526" y="553452"/>
                  </a:cubicBezTo>
                  <a:cubicBezTo>
                    <a:pt x="960012" y="569796"/>
                    <a:pt x="954505" y="585537"/>
                    <a:pt x="950495" y="601579"/>
                  </a:cubicBezTo>
                  <a:lnTo>
                    <a:pt x="878305" y="589547"/>
                  </a:lnTo>
                  <a:cubicBezTo>
                    <a:pt x="877879" y="588526"/>
                    <a:pt x="880225" y="458010"/>
                    <a:pt x="902368" y="421105"/>
                  </a:cubicBezTo>
                  <a:cubicBezTo>
                    <a:pt x="908204" y="411378"/>
                    <a:pt x="918411" y="405063"/>
                    <a:pt x="926432" y="397042"/>
                  </a:cubicBezTo>
                  <a:cubicBezTo>
                    <a:pt x="908827" y="502666"/>
                    <a:pt x="907688" y="473032"/>
                    <a:pt x="926432" y="613610"/>
                  </a:cubicBezTo>
                  <a:cubicBezTo>
                    <a:pt x="928108" y="626181"/>
                    <a:pt x="947431" y="640737"/>
                    <a:pt x="938463" y="649705"/>
                  </a:cubicBezTo>
                  <a:cubicBezTo>
                    <a:pt x="928500" y="659667"/>
                    <a:pt x="867486" y="614418"/>
                    <a:pt x="866274" y="613610"/>
                  </a:cubicBezTo>
                  <a:cubicBezTo>
                    <a:pt x="870284" y="561473"/>
                    <a:pt x="885700" y="508965"/>
                    <a:pt x="878305" y="457200"/>
                  </a:cubicBezTo>
                  <a:cubicBezTo>
                    <a:pt x="875642" y="438563"/>
                    <a:pt x="843034" y="574220"/>
                    <a:pt x="842210" y="577515"/>
                  </a:cubicBezTo>
                  <a:cubicBezTo>
                    <a:pt x="846221" y="609599"/>
                    <a:pt x="850464" y="705881"/>
                    <a:pt x="854242" y="673768"/>
                  </a:cubicBezTo>
                  <a:cubicBezTo>
                    <a:pt x="865967" y="574112"/>
                    <a:pt x="859125" y="473067"/>
                    <a:pt x="866274" y="372979"/>
                  </a:cubicBezTo>
                  <a:cubicBezTo>
                    <a:pt x="867178" y="360329"/>
                    <a:pt x="878305" y="324202"/>
                    <a:pt x="878305" y="336884"/>
                  </a:cubicBezTo>
                  <a:cubicBezTo>
                    <a:pt x="878305" y="357334"/>
                    <a:pt x="871655" y="377313"/>
                    <a:pt x="866274" y="397042"/>
                  </a:cubicBezTo>
                  <a:cubicBezTo>
                    <a:pt x="859600" y="421513"/>
                    <a:pt x="842210" y="469231"/>
                    <a:pt x="842210" y="469231"/>
                  </a:cubicBezTo>
                  <a:cubicBezTo>
                    <a:pt x="838200" y="541421"/>
                    <a:pt x="855565" y="753498"/>
                    <a:pt x="830179" y="685800"/>
                  </a:cubicBezTo>
                  <a:cubicBezTo>
                    <a:pt x="793458" y="587877"/>
                    <a:pt x="824824" y="475874"/>
                    <a:pt x="806116" y="372979"/>
                  </a:cubicBezTo>
                  <a:cubicBezTo>
                    <a:pt x="802908" y="355333"/>
                    <a:pt x="788714" y="404452"/>
                    <a:pt x="782053" y="421105"/>
                  </a:cubicBezTo>
                  <a:cubicBezTo>
                    <a:pt x="782034" y="421153"/>
                    <a:pt x="751982" y="511317"/>
                    <a:pt x="745958" y="529389"/>
                  </a:cubicBezTo>
                  <a:lnTo>
                    <a:pt x="733926" y="565484"/>
                  </a:lnTo>
                  <a:cubicBezTo>
                    <a:pt x="737937" y="609600"/>
                    <a:pt x="728508" y="657115"/>
                    <a:pt x="745958" y="697831"/>
                  </a:cubicBezTo>
                  <a:cubicBezTo>
                    <a:pt x="753023" y="714316"/>
                    <a:pt x="767485" y="667460"/>
                    <a:pt x="770021" y="649705"/>
                  </a:cubicBezTo>
                  <a:cubicBezTo>
                    <a:pt x="779680" y="582095"/>
                    <a:pt x="776137" y="513208"/>
                    <a:pt x="782053" y="445168"/>
                  </a:cubicBezTo>
                  <a:cubicBezTo>
                    <a:pt x="783446" y="429143"/>
                    <a:pt x="801766" y="311710"/>
                    <a:pt x="818147" y="300789"/>
                  </a:cubicBezTo>
                  <a:lnTo>
                    <a:pt x="854242" y="276726"/>
                  </a:lnTo>
                  <a:cubicBezTo>
                    <a:pt x="850231" y="288758"/>
                    <a:pt x="849245" y="302269"/>
                    <a:pt x="842210" y="312821"/>
                  </a:cubicBezTo>
                  <a:cubicBezTo>
                    <a:pt x="788988" y="392654"/>
                    <a:pt x="821420" y="306276"/>
                    <a:pt x="782053" y="385010"/>
                  </a:cubicBezTo>
                  <a:cubicBezTo>
                    <a:pt x="772394" y="404327"/>
                    <a:pt x="766761" y="425432"/>
                    <a:pt x="757989" y="445168"/>
                  </a:cubicBezTo>
                  <a:cubicBezTo>
                    <a:pt x="750705" y="461558"/>
                    <a:pt x="740991" y="476809"/>
                    <a:pt x="733926" y="493294"/>
                  </a:cubicBezTo>
                  <a:cubicBezTo>
                    <a:pt x="728930" y="504951"/>
                    <a:pt x="726891" y="517732"/>
                    <a:pt x="721895" y="529389"/>
                  </a:cubicBezTo>
                  <a:cubicBezTo>
                    <a:pt x="677288" y="633474"/>
                    <a:pt x="714020" y="528951"/>
                    <a:pt x="685800" y="613610"/>
                  </a:cubicBezTo>
                  <a:cubicBezTo>
                    <a:pt x="679080" y="674085"/>
                    <a:pt x="661354" y="757035"/>
                    <a:pt x="685800" y="818147"/>
                  </a:cubicBezTo>
                  <a:cubicBezTo>
                    <a:pt x="690510" y="829922"/>
                    <a:pt x="693821" y="794084"/>
                    <a:pt x="697832" y="782052"/>
                  </a:cubicBezTo>
                  <a:cubicBezTo>
                    <a:pt x="701842" y="645694"/>
                    <a:pt x="702693" y="509207"/>
                    <a:pt x="709863" y="372979"/>
                  </a:cubicBezTo>
                  <a:cubicBezTo>
                    <a:pt x="710732" y="356466"/>
                    <a:pt x="729290" y="310062"/>
                    <a:pt x="721895" y="324852"/>
                  </a:cubicBezTo>
                  <a:cubicBezTo>
                    <a:pt x="710552" y="347539"/>
                    <a:pt x="705853" y="372979"/>
                    <a:pt x="697832" y="397042"/>
                  </a:cubicBezTo>
                  <a:cubicBezTo>
                    <a:pt x="686363" y="431448"/>
                    <a:pt x="681323" y="443488"/>
                    <a:pt x="673768" y="481263"/>
                  </a:cubicBezTo>
                  <a:cubicBezTo>
                    <a:pt x="668984" y="505184"/>
                    <a:pt x="665747" y="529389"/>
                    <a:pt x="661737" y="553452"/>
                  </a:cubicBezTo>
                  <a:cubicBezTo>
                    <a:pt x="657726" y="613610"/>
                    <a:pt x="649705" y="794218"/>
                    <a:pt x="649705" y="733926"/>
                  </a:cubicBezTo>
                  <a:cubicBezTo>
                    <a:pt x="649705" y="641597"/>
                    <a:pt x="655793" y="549338"/>
                    <a:pt x="661737" y="457200"/>
                  </a:cubicBezTo>
                  <a:cubicBezTo>
                    <a:pt x="669203" y="341481"/>
                    <a:pt x="691994" y="332952"/>
                    <a:pt x="649705" y="409073"/>
                  </a:cubicBezTo>
                  <a:cubicBezTo>
                    <a:pt x="638348" y="429515"/>
                    <a:pt x="624068" y="448315"/>
                    <a:pt x="613610" y="469231"/>
                  </a:cubicBezTo>
                  <a:cubicBezTo>
                    <a:pt x="554741" y="586969"/>
                    <a:pt x="621235" y="481856"/>
                    <a:pt x="565484" y="565484"/>
                  </a:cubicBezTo>
                  <a:cubicBezTo>
                    <a:pt x="535531" y="715257"/>
                    <a:pt x="534041" y="735546"/>
                    <a:pt x="577516" y="300789"/>
                  </a:cubicBezTo>
                  <a:cubicBezTo>
                    <a:pt x="578778" y="288170"/>
                    <a:pt x="582512" y="275246"/>
                    <a:pt x="589547" y="264694"/>
                  </a:cubicBezTo>
                  <a:cubicBezTo>
                    <a:pt x="598985" y="250537"/>
                    <a:pt x="612211" y="239046"/>
                    <a:pt x="625642" y="228600"/>
                  </a:cubicBezTo>
                  <a:cubicBezTo>
                    <a:pt x="648471" y="210845"/>
                    <a:pt x="697832" y="180473"/>
                    <a:pt x="697832" y="180473"/>
                  </a:cubicBezTo>
                  <a:cubicBezTo>
                    <a:pt x="670646" y="262029"/>
                    <a:pt x="709042" y="164779"/>
                    <a:pt x="637674" y="264694"/>
                  </a:cubicBezTo>
                  <a:cubicBezTo>
                    <a:pt x="588498" y="333540"/>
                    <a:pt x="681493" y="272863"/>
                    <a:pt x="577516" y="324852"/>
                  </a:cubicBezTo>
                  <a:cubicBezTo>
                    <a:pt x="554579" y="370726"/>
                    <a:pt x="547577" y="387808"/>
                    <a:pt x="517358" y="433136"/>
                  </a:cubicBezTo>
                  <a:cubicBezTo>
                    <a:pt x="506235" y="449821"/>
                    <a:pt x="493295" y="465221"/>
                    <a:pt x="481263" y="481263"/>
                  </a:cubicBezTo>
                  <a:cubicBezTo>
                    <a:pt x="473242" y="513347"/>
                    <a:pt x="465902" y="545609"/>
                    <a:pt x="457200" y="577515"/>
                  </a:cubicBezTo>
                  <a:cubicBezTo>
                    <a:pt x="453863" y="589751"/>
                    <a:pt x="445168" y="626293"/>
                    <a:pt x="445168" y="613610"/>
                  </a:cubicBezTo>
                  <a:cubicBezTo>
                    <a:pt x="445168" y="452369"/>
                    <a:pt x="385788" y="378605"/>
                    <a:pt x="493295" y="324852"/>
                  </a:cubicBezTo>
                  <a:cubicBezTo>
                    <a:pt x="504638" y="319180"/>
                    <a:pt x="517358" y="316831"/>
                    <a:pt x="529389" y="312821"/>
                  </a:cubicBezTo>
                  <a:cubicBezTo>
                    <a:pt x="517358" y="340895"/>
                    <a:pt x="504259" y="368535"/>
                    <a:pt x="493295" y="397042"/>
                  </a:cubicBezTo>
                  <a:cubicBezTo>
                    <a:pt x="484190" y="420716"/>
                    <a:pt x="478652" y="445681"/>
                    <a:pt x="469232" y="469231"/>
                  </a:cubicBezTo>
                  <a:cubicBezTo>
                    <a:pt x="462571" y="485884"/>
                    <a:pt x="452453" y="500968"/>
                    <a:pt x="445168" y="517358"/>
                  </a:cubicBezTo>
                  <a:cubicBezTo>
                    <a:pt x="425984" y="560522"/>
                    <a:pt x="422303" y="573920"/>
                    <a:pt x="409074" y="613610"/>
                  </a:cubicBezTo>
                  <a:cubicBezTo>
                    <a:pt x="413084" y="577515"/>
                    <a:pt x="415135" y="541149"/>
                    <a:pt x="421105" y="505326"/>
                  </a:cubicBezTo>
                  <a:cubicBezTo>
                    <a:pt x="423190" y="492816"/>
                    <a:pt x="430868" y="481709"/>
                    <a:pt x="433137" y="469231"/>
                  </a:cubicBezTo>
                  <a:cubicBezTo>
                    <a:pt x="438921" y="437419"/>
                    <a:pt x="434293" y="403429"/>
                    <a:pt x="445168" y="372979"/>
                  </a:cubicBezTo>
                  <a:cubicBezTo>
                    <a:pt x="476786" y="284450"/>
                    <a:pt x="504459" y="314123"/>
                    <a:pt x="553453" y="240631"/>
                  </a:cubicBezTo>
                  <a:cubicBezTo>
                    <a:pt x="561474" y="228599"/>
                    <a:pt x="567291" y="214761"/>
                    <a:pt x="577516" y="204536"/>
                  </a:cubicBezTo>
                  <a:cubicBezTo>
                    <a:pt x="600840" y="181212"/>
                    <a:pt x="620348" y="178227"/>
                    <a:pt x="649705" y="168442"/>
                  </a:cubicBezTo>
                  <a:cubicBezTo>
                    <a:pt x="543521" y="248079"/>
                    <a:pt x="668247" y="166073"/>
                    <a:pt x="529389" y="216568"/>
                  </a:cubicBezTo>
                  <a:cubicBezTo>
                    <a:pt x="507412" y="224560"/>
                    <a:pt x="489062" y="240269"/>
                    <a:pt x="469232" y="252663"/>
                  </a:cubicBezTo>
                  <a:cubicBezTo>
                    <a:pt x="436311" y="273239"/>
                    <a:pt x="422967" y="281711"/>
                    <a:pt x="397042" y="312821"/>
                  </a:cubicBezTo>
                  <a:cubicBezTo>
                    <a:pt x="387785" y="323929"/>
                    <a:pt x="382012" y="337624"/>
                    <a:pt x="372979" y="348915"/>
                  </a:cubicBezTo>
                  <a:cubicBezTo>
                    <a:pt x="365893" y="357773"/>
                    <a:pt x="356178" y="364265"/>
                    <a:pt x="348916" y="372979"/>
                  </a:cubicBezTo>
                  <a:cubicBezTo>
                    <a:pt x="323105" y="403953"/>
                    <a:pt x="302966" y="431344"/>
                    <a:pt x="288758" y="469231"/>
                  </a:cubicBezTo>
                  <a:cubicBezTo>
                    <a:pt x="277988" y="497951"/>
                    <a:pt x="268854" y="564591"/>
                    <a:pt x="264695" y="589547"/>
                  </a:cubicBezTo>
                  <a:cubicBezTo>
                    <a:pt x="268705" y="637673"/>
                    <a:pt x="270343" y="686056"/>
                    <a:pt x="276726" y="733926"/>
                  </a:cubicBezTo>
                  <a:cubicBezTo>
                    <a:pt x="278402" y="746497"/>
                    <a:pt x="276075" y="770021"/>
                    <a:pt x="288758" y="770021"/>
                  </a:cubicBezTo>
                  <a:cubicBezTo>
                    <a:pt x="301440" y="770021"/>
                    <a:pt x="296779" y="745958"/>
                    <a:pt x="300789" y="733926"/>
                  </a:cubicBezTo>
                  <a:cubicBezTo>
                    <a:pt x="304800" y="677779"/>
                    <a:pt x="304860" y="621209"/>
                    <a:pt x="312821" y="565484"/>
                  </a:cubicBezTo>
                  <a:cubicBezTo>
                    <a:pt x="316950" y="536580"/>
                    <a:pt x="331503" y="509960"/>
                    <a:pt x="336884" y="481263"/>
                  </a:cubicBezTo>
                  <a:cubicBezTo>
                    <a:pt x="375072" y="277598"/>
                    <a:pt x="321292" y="450656"/>
                    <a:pt x="372979" y="312821"/>
                  </a:cubicBezTo>
                  <a:cubicBezTo>
                    <a:pt x="383712" y="284199"/>
                    <a:pt x="401789" y="207671"/>
                    <a:pt x="433137" y="204536"/>
                  </a:cubicBezTo>
                  <a:lnTo>
                    <a:pt x="553453" y="192505"/>
                  </a:lnTo>
                  <a:cubicBezTo>
                    <a:pt x="527302" y="270955"/>
                    <a:pt x="563469" y="184245"/>
                    <a:pt x="481263" y="276726"/>
                  </a:cubicBezTo>
                  <a:cubicBezTo>
                    <a:pt x="465727" y="294204"/>
                    <a:pt x="458923" y="317972"/>
                    <a:pt x="445168" y="336884"/>
                  </a:cubicBezTo>
                  <a:cubicBezTo>
                    <a:pt x="426745" y="362216"/>
                    <a:pt x="405063" y="385010"/>
                    <a:pt x="385010" y="409073"/>
                  </a:cubicBezTo>
                  <a:cubicBezTo>
                    <a:pt x="376989" y="429126"/>
                    <a:pt x="369718" y="449495"/>
                    <a:pt x="360947" y="469231"/>
                  </a:cubicBezTo>
                  <a:cubicBezTo>
                    <a:pt x="353663" y="485621"/>
                    <a:pt x="341811" y="500112"/>
                    <a:pt x="336884" y="517358"/>
                  </a:cubicBezTo>
                  <a:cubicBezTo>
                    <a:pt x="325648" y="556684"/>
                    <a:pt x="312821" y="637673"/>
                    <a:pt x="312821" y="637673"/>
                  </a:cubicBezTo>
                  <a:cubicBezTo>
                    <a:pt x="316832" y="725905"/>
                    <a:pt x="318079" y="814305"/>
                    <a:pt x="324853" y="902368"/>
                  </a:cubicBezTo>
                  <a:cubicBezTo>
                    <a:pt x="326121" y="918855"/>
                    <a:pt x="327712" y="964253"/>
                    <a:pt x="336884" y="950494"/>
                  </a:cubicBezTo>
                  <a:cubicBezTo>
                    <a:pt x="352614" y="926898"/>
                    <a:pt x="344905" y="894347"/>
                    <a:pt x="348916" y="866273"/>
                  </a:cubicBezTo>
                  <a:cubicBezTo>
                    <a:pt x="352926" y="766010"/>
                    <a:pt x="354487" y="665619"/>
                    <a:pt x="360947" y="565484"/>
                  </a:cubicBezTo>
                  <a:cubicBezTo>
                    <a:pt x="362518" y="541139"/>
                    <a:pt x="370129" y="517522"/>
                    <a:pt x="372979" y="493294"/>
                  </a:cubicBezTo>
                  <a:cubicBezTo>
                    <a:pt x="382968" y="408383"/>
                    <a:pt x="380068" y="365139"/>
                    <a:pt x="397042" y="288758"/>
                  </a:cubicBezTo>
                  <a:cubicBezTo>
                    <a:pt x="399793" y="276378"/>
                    <a:pt x="401151" y="262566"/>
                    <a:pt x="409074" y="252663"/>
                  </a:cubicBezTo>
                  <a:cubicBezTo>
                    <a:pt x="418107" y="241372"/>
                    <a:pt x="433877" y="237633"/>
                    <a:pt x="445168" y="228600"/>
                  </a:cubicBezTo>
                  <a:cubicBezTo>
                    <a:pt x="492355" y="190850"/>
                    <a:pt x="442645" y="213398"/>
                    <a:pt x="505326" y="192505"/>
                  </a:cubicBezTo>
                  <a:cubicBezTo>
                    <a:pt x="537410" y="196515"/>
                    <a:pt x="587119" y="175616"/>
                    <a:pt x="601579" y="204536"/>
                  </a:cubicBezTo>
                  <a:cubicBezTo>
                    <a:pt x="614262" y="229901"/>
                    <a:pt x="541421" y="264694"/>
                    <a:pt x="541421" y="264694"/>
                  </a:cubicBezTo>
                  <a:cubicBezTo>
                    <a:pt x="514234" y="346251"/>
                    <a:pt x="552632" y="248997"/>
                    <a:pt x="481263" y="348915"/>
                  </a:cubicBezTo>
                  <a:cubicBezTo>
                    <a:pt x="473892" y="359235"/>
                    <a:pt x="474904" y="373666"/>
                    <a:pt x="469232" y="385010"/>
                  </a:cubicBezTo>
                  <a:cubicBezTo>
                    <a:pt x="439333" y="444808"/>
                    <a:pt x="438795" y="439510"/>
                    <a:pt x="397042" y="481263"/>
                  </a:cubicBezTo>
                  <a:cubicBezTo>
                    <a:pt x="360268" y="628352"/>
                    <a:pt x="419037" y="419742"/>
                    <a:pt x="348916" y="577515"/>
                  </a:cubicBezTo>
                  <a:cubicBezTo>
                    <a:pt x="340611" y="596202"/>
                    <a:pt x="342265" y="617944"/>
                    <a:pt x="336884" y="637673"/>
                  </a:cubicBezTo>
                  <a:cubicBezTo>
                    <a:pt x="330210" y="662144"/>
                    <a:pt x="312821" y="709863"/>
                    <a:pt x="312821" y="709863"/>
                  </a:cubicBezTo>
                  <a:cubicBezTo>
                    <a:pt x="308810" y="766010"/>
                    <a:pt x="300789" y="934595"/>
                    <a:pt x="300789" y="878305"/>
                  </a:cubicBezTo>
                  <a:cubicBezTo>
                    <a:pt x="300789" y="617590"/>
                    <a:pt x="297511" y="356517"/>
                    <a:pt x="312821" y="96252"/>
                  </a:cubicBezTo>
                  <a:cubicBezTo>
                    <a:pt x="313820" y="79266"/>
                    <a:pt x="335070" y="70048"/>
                    <a:pt x="348916" y="60158"/>
                  </a:cubicBezTo>
                  <a:cubicBezTo>
                    <a:pt x="363511" y="49733"/>
                    <a:pt x="381470" y="44993"/>
                    <a:pt x="397042" y="36094"/>
                  </a:cubicBezTo>
                  <a:cubicBezTo>
                    <a:pt x="462343" y="-1221"/>
                    <a:pt x="403059" y="22057"/>
                    <a:pt x="469232" y="0"/>
                  </a:cubicBezTo>
                  <a:cubicBezTo>
                    <a:pt x="481263" y="8021"/>
                    <a:pt x="503887" y="9675"/>
                    <a:pt x="505326" y="24063"/>
                  </a:cubicBezTo>
                  <a:cubicBezTo>
                    <a:pt x="512087" y="91675"/>
                    <a:pt x="476977" y="115704"/>
                    <a:pt x="457200" y="168442"/>
                  </a:cubicBezTo>
                  <a:cubicBezTo>
                    <a:pt x="430021" y="240920"/>
                    <a:pt x="461688" y="205618"/>
                    <a:pt x="433137" y="300789"/>
                  </a:cubicBezTo>
                  <a:cubicBezTo>
                    <a:pt x="428982" y="314639"/>
                    <a:pt x="417095" y="324852"/>
                    <a:pt x="409074" y="336884"/>
                  </a:cubicBezTo>
                  <a:cubicBezTo>
                    <a:pt x="405063" y="356937"/>
                    <a:pt x="400404" y="376870"/>
                    <a:pt x="397042" y="397042"/>
                  </a:cubicBezTo>
                  <a:cubicBezTo>
                    <a:pt x="392380" y="425015"/>
                    <a:pt x="391387" y="453631"/>
                    <a:pt x="385010" y="481263"/>
                  </a:cubicBezTo>
                  <a:cubicBezTo>
                    <a:pt x="379306" y="505978"/>
                    <a:pt x="367099" y="528845"/>
                    <a:pt x="360947" y="553452"/>
                  </a:cubicBezTo>
                  <a:lnTo>
                    <a:pt x="336884" y="649705"/>
                  </a:lnTo>
                  <a:cubicBezTo>
                    <a:pt x="340895" y="677779"/>
                    <a:pt x="336234" y="708561"/>
                    <a:pt x="348916" y="733926"/>
                  </a:cubicBezTo>
                  <a:cubicBezTo>
                    <a:pt x="354588" y="745270"/>
                    <a:pt x="355951" y="709488"/>
                    <a:pt x="360947" y="697831"/>
                  </a:cubicBezTo>
                  <a:cubicBezTo>
                    <a:pt x="368012" y="681346"/>
                    <a:pt x="378712" y="666499"/>
                    <a:pt x="385010" y="649705"/>
                  </a:cubicBezTo>
                  <a:cubicBezTo>
                    <a:pt x="396988" y="617765"/>
                    <a:pt x="403133" y="559095"/>
                    <a:pt x="409074" y="529389"/>
                  </a:cubicBezTo>
                  <a:cubicBezTo>
                    <a:pt x="412317" y="513174"/>
                    <a:pt x="418147" y="497532"/>
                    <a:pt x="421105" y="481263"/>
                  </a:cubicBezTo>
                  <a:cubicBezTo>
                    <a:pt x="437626" y="390396"/>
                    <a:pt x="419220" y="415381"/>
                    <a:pt x="457200" y="348915"/>
                  </a:cubicBezTo>
                  <a:cubicBezTo>
                    <a:pt x="489786" y="291889"/>
                    <a:pt x="472116" y="331017"/>
                    <a:pt x="517358" y="276726"/>
                  </a:cubicBezTo>
                  <a:cubicBezTo>
                    <a:pt x="526615" y="265617"/>
                    <a:pt x="554354" y="247098"/>
                    <a:pt x="541421" y="240631"/>
                  </a:cubicBezTo>
                  <a:lnTo>
                    <a:pt x="493295" y="264694"/>
                  </a:lnTo>
                  <a:cubicBezTo>
                    <a:pt x="485274" y="276726"/>
                    <a:pt x="478265" y="289498"/>
                    <a:pt x="469232" y="300789"/>
                  </a:cubicBezTo>
                  <a:cubicBezTo>
                    <a:pt x="422156" y="359633"/>
                    <a:pt x="467587" y="279358"/>
                    <a:pt x="409074" y="372979"/>
                  </a:cubicBezTo>
                  <a:cubicBezTo>
                    <a:pt x="399568" y="388188"/>
                    <a:pt x="393909" y="405533"/>
                    <a:pt x="385010" y="421105"/>
                  </a:cubicBezTo>
                  <a:cubicBezTo>
                    <a:pt x="377836" y="433660"/>
                    <a:pt x="368968" y="445168"/>
                    <a:pt x="360947" y="457200"/>
                  </a:cubicBezTo>
                  <a:cubicBezTo>
                    <a:pt x="356937" y="473242"/>
                    <a:pt x="353667" y="489488"/>
                    <a:pt x="348916" y="505326"/>
                  </a:cubicBezTo>
                  <a:cubicBezTo>
                    <a:pt x="334427" y="553623"/>
                    <a:pt x="321354" y="578711"/>
                    <a:pt x="312821" y="625642"/>
                  </a:cubicBezTo>
                  <a:cubicBezTo>
                    <a:pt x="307748" y="653543"/>
                    <a:pt x="304800" y="681789"/>
                    <a:pt x="300789" y="709863"/>
                  </a:cubicBezTo>
                  <a:cubicBezTo>
                    <a:pt x="304800" y="545431"/>
                    <a:pt x="305352" y="380879"/>
                    <a:pt x="312821" y="216568"/>
                  </a:cubicBezTo>
                  <a:cubicBezTo>
                    <a:pt x="313893" y="192990"/>
                    <a:pt x="335528" y="161114"/>
                    <a:pt x="348916" y="144379"/>
                  </a:cubicBezTo>
                  <a:cubicBezTo>
                    <a:pt x="356002" y="135521"/>
                    <a:pt x="362833" y="125388"/>
                    <a:pt x="372979" y="120315"/>
                  </a:cubicBezTo>
                  <a:cubicBezTo>
                    <a:pt x="395666" y="108971"/>
                    <a:pt x="445168" y="96252"/>
                    <a:pt x="445168" y="96252"/>
                  </a:cubicBezTo>
                  <a:cubicBezTo>
                    <a:pt x="437147" y="116305"/>
                    <a:pt x="430764" y="137093"/>
                    <a:pt x="421105" y="156410"/>
                  </a:cubicBezTo>
                  <a:cubicBezTo>
                    <a:pt x="404354" y="189912"/>
                    <a:pt x="387557" y="201990"/>
                    <a:pt x="360947" y="228600"/>
                  </a:cubicBezTo>
                  <a:cubicBezTo>
                    <a:pt x="352926" y="248653"/>
                    <a:pt x="346543" y="269441"/>
                    <a:pt x="336884" y="288758"/>
                  </a:cubicBezTo>
                  <a:cubicBezTo>
                    <a:pt x="330417" y="301691"/>
                    <a:pt x="321226" y="313085"/>
                    <a:pt x="312821" y="324852"/>
                  </a:cubicBezTo>
                  <a:cubicBezTo>
                    <a:pt x="268561" y="386816"/>
                    <a:pt x="278390" y="371315"/>
                    <a:pt x="216568" y="433136"/>
                  </a:cubicBezTo>
                  <a:cubicBezTo>
                    <a:pt x="204537" y="457199"/>
                    <a:pt x="193357" y="481707"/>
                    <a:pt x="180474" y="505326"/>
                  </a:cubicBezTo>
                  <a:cubicBezTo>
                    <a:pt x="150047" y="561109"/>
                    <a:pt x="143412" y="559719"/>
                    <a:pt x="120316" y="613610"/>
                  </a:cubicBezTo>
                  <a:cubicBezTo>
                    <a:pt x="109958" y="637779"/>
                    <a:pt x="102360" y="673404"/>
                    <a:pt x="96253" y="697831"/>
                  </a:cubicBezTo>
                  <a:cubicBezTo>
                    <a:pt x="100263" y="717884"/>
                    <a:pt x="105748" y="778281"/>
                    <a:pt x="108284" y="757989"/>
                  </a:cubicBezTo>
                  <a:cubicBezTo>
                    <a:pt x="118742" y="674324"/>
                    <a:pt x="113592" y="589374"/>
                    <a:pt x="120316" y="505326"/>
                  </a:cubicBezTo>
                  <a:cubicBezTo>
                    <a:pt x="121635" y="488843"/>
                    <a:pt x="129389" y="473469"/>
                    <a:pt x="132347" y="457200"/>
                  </a:cubicBezTo>
                  <a:cubicBezTo>
                    <a:pt x="137420" y="429299"/>
                    <a:pt x="140631" y="401089"/>
                    <a:pt x="144379" y="372979"/>
                  </a:cubicBezTo>
                  <a:cubicBezTo>
                    <a:pt x="148652" y="340929"/>
                    <a:pt x="145535" y="307176"/>
                    <a:pt x="156410" y="276726"/>
                  </a:cubicBezTo>
                  <a:cubicBezTo>
                    <a:pt x="166137" y="249490"/>
                    <a:pt x="204537" y="204536"/>
                    <a:pt x="204537" y="204536"/>
                  </a:cubicBezTo>
                  <a:cubicBezTo>
                    <a:pt x="208547" y="192505"/>
                    <a:pt x="208646" y="178345"/>
                    <a:pt x="216568" y="168442"/>
                  </a:cubicBezTo>
                  <a:cubicBezTo>
                    <a:pt x="236673" y="143311"/>
                    <a:pt x="262224" y="143719"/>
                    <a:pt x="288758" y="132347"/>
                  </a:cubicBezTo>
                  <a:cubicBezTo>
                    <a:pt x="392830" y="87744"/>
                    <a:pt x="288329" y="124469"/>
                    <a:pt x="372979" y="96252"/>
                  </a:cubicBezTo>
                  <a:cubicBezTo>
                    <a:pt x="364958" y="116305"/>
                    <a:pt x="358575" y="137093"/>
                    <a:pt x="348916" y="156410"/>
                  </a:cubicBezTo>
                  <a:cubicBezTo>
                    <a:pt x="342449" y="169344"/>
                    <a:pt x="332027" y="179950"/>
                    <a:pt x="324853" y="192505"/>
                  </a:cubicBezTo>
                  <a:cubicBezTo>
                    <a:pt x="315954" y="208077"/>
                    <a:pt x="308810" y="224589"/>
                    <a:pt x="300789" y="240631"/>
                  </a:cubicBezTo>
                  <a:cubicBezTo>
                    <a:pt x="296779" y="256673"/>
                    <a:pt x="297930" y="274999"/>
                    <a:pt x="288758" y="288758"/>
                  </a:cubicBezTo>
                  <a:cubicBezTo>
                    <a:pt x="280737" y="300790"/>
                    <a:pt x="259949" y="300331"/>
                    <a:pt x="252663" y="312821"/>
                  </a:cubicBezTo>
                  <a:cubicBezTo>
                    <a:pt x="212799" y="381159"/>
                    <a:pt x="214388" y="410877"/>
                    <a:pt x="192505" y="469231"/>
                  </a:cubicBezTo>
                  <a:cubicBezTo>
                    <a:pt x="184922" y="489453"/>
                    <a:pt x="176463" y="509336"/>
                    <a:pt x="168442" y="529389"/>
                  </a:cubicBezTo>
                  <a:cubicBezTo>
                    <a:pt x="172453" y="633663"/>
                    <a:pt x="164365" y="739110"/>
                    <a:pt x="180474" y="842210"/>
                  </a:cubicBezTo>
                  <a:cubicBezTo>
                    <a:pt x="184939" y="870784"/>
                    <a:pt x="212558" y="890337"/>
                    <a:pt x="228600" y="914400"/>
                  </a:cubicBezTo>
                  <a:lnTo>
                    <a:pt x="252663" y="950494"/>
                  </a:lnTo>
                  <a:cubicBezTo>
                    <a:pt x="248653" y="938463"/>
                    <a:pt x="244116" y="926594"/>
                    <a:pt x="240632" y="914400"/>
                  </a:cubicBezTo>
                  <a:cubicBezTo>
                    <a:pt x="236089" y="898500"/>
                    <a:pt x="233829" y="881961"/>
                    <a:pt x="228600" y="866273"/>
                  </a:cubicBezTo>
                  <a:cubicBezTo>
                    <a:pt x="189027" y="747555"/>
                    <a:pt x="216267" y="864763"/>
                    <a:pt x="192505" y="745958"/>
                  </a:cubicBezTo>
                  <a:cubicBezTo>
                    <a:pt x="211434" y="178108"/>
                    <a:pt x="149762" y="520839"/>
                    <a:pt x="228600" y="336884"/>
                  </a:cubicBezTo>
                  <a:cubicBezTo>
                    <a:pt x="233596" y="325227"/>
                    <a:pt x="234960" y="312133"/>
                    <a:pt x="240632" y="300789"/>
                  </a:cubicBezTo>
                  <a:cubicBezTo>
                    <a:pt x="262103" y="257848"/>
                    <a:pt x="304994" y="224395"/>
                    <a:pt x="336884" y="192505"/>
                  </a:cubicBezTo>
                  <a:lnTo>
                    <a:pt x="372979" y="156410"/>
                  </a:lnTo>
                  <a:cubicBezTo>
                    <a:pt x="363943" y="177493"/>
                    <a:pt x="317373" y="290708"/>
                    <a:pt x="300789" y="312821"/>
                  </a:cubicBezTo>
                  <a:cubicBezTo>
                    <a:pt x="292113" y="324389"/>
                    <a:pt x="276726" y="328863"/>
                    <a:pt x="264695" y="336884"/>
                  </a:cubicBezTo>
                  <a:cubicBezTo>
                    <a:pt x="256674" y="352926"/>
                    <a:pt x="250581" y="370087"/>
                    <a:pt x="240632" y="385010"/>
                  </a:cubicBezTo>
                  <a:cubicBezTo>
                    <a:pt x="227886" y="404129"/>
                    <a:pt x="180570" y="436072"/>
                    <a:pt x="168442" y="445168"/>
                  </a:cubicBezTo>
                  <a:cubicBezTo>
                    <a:pt x="165366" y="452857"/>
                    <a:pt x="136119" y="522563"/>
                    <a:pt x="132347" y="541421"/>
                  </a:cubicBezTo>
                  <a:cubicBezTo>
                    <a:pt x="122778" y="589264"/>
                    <a:pt x="108284" y="685800"/>
                    <a:pt x="108284" y="685800"/>
                  </a:cubicBezTo>
                  <a:cubicBezTo>
                    <a:pt x="112295" y="741947"/>
                    <a:pt x="114100" y="798296"/>
                    <a:pt x="120316" y="854242"/>
                  </a:cubicBezTo>
                  <a:cubicBezTo>
                    <a:pt x="122142" y="870677"/>
                    <a:pt x="124143" y="888011"/>
                    <a:pt x="132347" y="902368"/>
                  </a:cubicBezTo>
                  <a:cubicBezTo>
                    <a:pt x="140789" y="917141"/>
                    <a:pt x="156410" y="926431"/>
                    <a:pt x="168442" y="938463"/>
                  </a:cubicBezTo>
                  <a:cubicBezTo>
                    <a:pt x="171409" y="947363"/>
                    <a:pt x="188988" y="1010652"/>
                    <a:pt x="204537" y="1010652"/>
                  </a:cubicBezTo>
                  <a:cubicBezTo>
                    <a:pt x="217219" y="1010652"/>
                    <a:pt x="212558" y="986589"/>
                    <a:pt x="216568" y="974558"/>
                  </a:cubicBezTo>
                  <a:cubicBezTo>
                    <a:pt x="167014" y="726776"/>
                    <a:pt x="186382" y="846109"/>
                    <a:pt x="216568" y="312821"/>
                  </a:cubicBezTo>
                  <a:cubicBezTo>
                    <a:pt x="217385" y="298384"/>
                    <a:pt x="232611" y="288758"/>
                    <a:pt x="240632" y="276726"/>
                  </a:cubicBezTo>
                  <a:cubicBezTo>
                    <a:pt x="244642" y="264694"/>
                    <a:pt x="244740" y="250534"/>
                    <a:pt x="252663" y="240631"/>
                  </a:cubicBezTo>
                  <a:cubicBezTo>
                    <a:pt x="272768" y="215500"/>
                    <a:pt x="298320" y="215908"/>
                    <a:pt x="324853" y="204536"/>
                  </a:cubicBezTo>
                  <a:cubicBezTo>
                    <a:pt x="341338" y="197471"/>
                    <a:pt x="357407" y="189371"/>
                    <a:pt x="372979" y="180473"/>
                  </a:cubicBezTo>
                  <a:cubicBezTo>
                    <a:pt x="385534" y="173299"/>
                    <a:pt x="394614" y="156410"/>
                    <a:pt x="409074" y="156410"/>
                  </a:cubicBezTo>
                  <a:cubicBezTo>
                    <a:pt x="420418" y="156410"/>
                    <a:pt x="394737" y="174637"/>
                    <a:pt x="385010" y="180473"/>
                  </a:cubicBezTo>
                  <a:cubicBezTo>
                    <a:pt x="374135" y="186998"/>
                    <a:pt x="360259" y="186833"/>
                    <a:pt x="348916" y="192505"/>
                  </a:cubicBezTo>
                  <a:cubicBezTo>
                    <a:pt x="255625" y="239151"/>
                    <a:pt x="367449" y="198358"/>
                    <a:pt x="276726" y="228600"/>
                  </a:cubicBezTo>
                  <a:lnTo>
                    <a:pt x="228600" y="300789"/>
                  </a:lnTo>
                  <a:lnTo>
                    <a:pt x="204537" y="336884"/>
                  </a:lnTo>
                  <a:cubicBezTo>
                    <a:pt x="200526" y="352926"/>
                    <a:pt x="198311" y="369527"/>
                    <a:pt x="192505" y="385010"/>
                  </a:cubicBezTo>
                  <a:cubicBezTo>
                    <a:pt x="186207" y="401804"/>
                    <a:pt x="173596" y="415957"/>
                    <a:pt x="168442" y="433136"/>
                  </a:cubicBezTo>
                  <a:cubicBezTo>
                    <a:pt x="133074" y="551027"/>
                    <a:pt x="182365" y="466393"/>
                    <a:pt x="132347" y="541421"/>
                  </a:cubicBezTo>
                  <a:cubicBezTo>
                    <a:pt x="136358" y="685800"/>
                    <a:pt x="136982" y="830313"/>
                    <a:pt x="144379" y="974558"/>
                  </a:cubicBezTo>
                  <a:cubicBezTo>
                    <a:pt x="145029" y="987223"/>
                    <a:pt x="156410" y="1023334"/>
                    <a:pt x="156410" y="1010652"/>
                  </a:cubicBezTo>
                  <a:cubicBezTo>
                    <a:pt x="156410" y="958361"/>
                    <a:pt x="151774" y="906007"/>
                    <a:pt x="144379" y="854242"/>
                  </a:cubicBezTo>
                  <a:cubicBezTo>
                    <a:pt x="139702" y="821503"/>
                    <a:pt x="128337" y="790073"/>
                    <a:pt x="120316" y="757989"/>
                  </a:cubicBezTo>
                  <a:lnTo>
                    <a:pt x="108284" y="709863"/>
                  </a:lnTo>
                  <a:cubicBezTo>
                    <a:pt x="92506" y="536297"/>
                    <a:pt x="83591" y="502769"/>
                    <a:pt x="108284" y="288758"/>
                  </a:cubicBezTo>
                  <a:cubicBezTo>
                    <a:pt x="109584" y="277489"/>
                    <a:pt x="125261" y="273552"/>
                    <a:pt x="132347" y="264694"/>
                  </a:cubicBezTo>
                  <a:cubicBezTo>
                    <a:pt x="193053" y="188811"/>
                    <a:pt x="122375" y="262635"/>
                    <a:pt x="180474" y="204536"/>
                  </a:cubicBezTo>
                  <a:cubicBezTo>
                    <a:pt x="203851" y="134404"/>
                    <a:pt x="178220" y="193362"/>
                    <a:pt x="252663" y="108284"/>
                  </a:cubicBezTo>
                  <a:cubicBezTo>
                    <a:pt x="297481" y="57064"/>
                    <a:pt x="250975" y="80772"/>
                    <a:pt x="312821" y="60158"/>
                  </a:cubicBezTo>
                  <a:cubicBezTo>
                    <a:pt x="321909" y="54099"/>
                    <a:pt x="399041" y="-9014"/>
                    <a:pt x="336884" y="84221"/>
                  </a:cubicBezTo>
                  <a:cubicBezTo>
                    <a:pt x="320542" y="108735"/>
                    <a:pt x="242839" y="127601"/>
                    <a:pt x="228600" y="132347"/>
                  </a:cubicBezTo>
                  <a:cubicBezTo>
                    <a:pt x="216568" y="148389"/>
                    <a:pt x="207910" y="167636"/>
                    <a:pt x="192505" y="180473"/>
                  </a:cubicBezTo>
                  <a:cubicBezTo>
                    <a:pt x="182762" y="188592"/>
                    <a:pt x="165378" y="183537"/>
                    <a:pt x="156410" y="192505"/>
                  </a:cubicBezTo>
                  <a:cubicBezTo>
                    <a:pt x="147442" y="201473"/>
                    <a:pt x="149375" y="216943"/>
                    <a:pt x="144379" y="228600"/>
                  </a:cubicBezTo>
                  <a:cubicBezTo>
                    <a:pt x="137314" y="245085"/>
                    <a:pt x="129822" y="261517"/>
                    <a:pt x="120316" y="276726"/>
                  </a:cubicBezTo>
                  <a:cubicBezTo>
                    <a:pt x="109688" y="293731"/>
                    <a:pt x="93959" y="307323"/>
                    <a:pt x="84221" y="324852"/>
                  </a:cubicBezTo>
                  <a:cubicBezTo>
                    <a:pt x="73732" y="343731"/>
                    <a:pt x="69208" y="365400"/>
                    <a:pt x="60158" y="385010"/>
                  </a:cubicBezTo>
                  <a:cubicBezTo>
                    <a:pt x="-4401" y="524888"/>
                    <a:pt x="27180" y="435819"/>
                    <a:pt x="0" y="517358"/>
                  </a:cubicBezTo>
                  <a:cubicBezTo>
                    <a:pt x="4011" y="637674"/>
                    <a:pt x="4749" y="758143"/>
                    <a:pt x="12032" y="878305"/>
                  </a:cubicBezTo>
                  <a:cubicBezTo>
                    <a:pt x="14118" y="912721"/>
                    <a:pt x="33580" y="921403"/>
                    <a:pt x="48126" y="950494"/>
                  </a:cubicBezTo>
                  <a:cubicBezTo>
                    <a:pt x="53798" y="961838"/>
                    <a:pt x="56147" y="974557"/>
                    <a:pt x="60158" y="986589"/>
                  </a:cubicBezTo>
                  <a:cubicBezTo>
                    <a:pt x="115031" y="821961"/>
                    <a:pt x="61646" y="993649"/>
                    <a:pt x="84221" y="553452"/>
                  </a:cubicBezTo>
                  <a:cubicBezTo>
                    <a:pt x="85470" y="529089"/>
                    <a:pt x="92803" y="505413"/>
                    <a:pt x="96253" y="481263"/>
                  </a:cubicBezTo>
                  <a:cubicBezTo>
                    <a:pt x="110676" y="380299"/>
                    <a:pt x="100267" y="410396"/>
                    <a:pt x="120316" y="336884"/>
                  </a:cubicBezTo>
                  <a:cubicBezTo>
                    <a:pt x="127998" y="308716"/>
                    <a:pt x="136697" y="280831"/>
                    <a:pt x="144379" y="252663"/>
                  </a:cubicBezTo>
                  <a:cubicBezTo>
                    <a:pt x="148730" y="236710"/>
                    <a:pt x="149015" y="219326"/>
                    <a:pt x="156410" y="204536"/>
                  </a:cubicBezTo>
                  <a:cubicBezTo>
                    <a:pt x="161483" y="194390"/>
                    <a:pt x="173212" y="189187"/>
                    <a:pt x="180474" y="180473"/>
                  </a:cubicBezTo>
                  <a:cubicBezTo>
                    <a:pt x="193311" y="165068"/>
                    <a:pt x="204913" y="148664"/>
                    <a:pt x="216568" y="132347"/>
                  </a:cubicBezTo>
                  <a:cubicBezTo>
                    <a:pt x="224973" y="120580"/>
                    <a:pt x="229340" y="105285"/>
                    <a:pt x="240632" y="96252"/>
                  </a:cubicBezTo>
                  <a:cubicBezTo>
                    <a:pt x="250535" y="88330"/>
                    <a:pt x="265069" y="89217"/>
                    <a:pt x="276726" y="84221"/>
                  </a:cubicBezTo>
                  <a:cubicBezTo>
                    <a:pt x="364812" y="46471"/>
                    <a:pt x="284249" y="70310"/>
                    <a:pt x="372979" y="48126"/>
                  </a:cubicBezTo>
                  <a:cubicBezTo>
                    <a:pt x="352505" y="109546"/>
                    <a:pt x="367075" y="86947"/>
                    <a:pt x="288758" y="144379"/>
                  </a:cubicBezTo>
                  <a:cubicBezTo>
                    <a:pt x="253776" y="170033"/>
                    <a:pt x="180474" y="216568"/>
                    <a:pt x="180474" y="216568"/>
                  </a:cubicBezTo>
                  <a:cubicBezTo>
                    <a:pt x="172453" y="228600"/>
                    <a:pt x="165667" y="241554"/>
                    <a:pt x="156410" y="252663"/>
                  </a:cubicBezTo>
                  <a:cubicBezTo>
                    <a:pt x="145517" y="265734"/>
                    <a:pt x="128758" y="273985"/>
                    <a:pt x="120316" y="288758"/>
                  </a:cubicBezTo>
                  <a:cubicBezTo>
                    <a:pt x="112112" y="303115"/>
                    <a:pt x="114090" y="321401"/>
                    <a:pt x="108284" y="336884"/>
                  </a:cubicBezTo>
                  <a:cubicBezTo>
                    <a:pt x="101986" y="353678"/>
                    <a:pt x="91505" y="368620"/>
                    <a:pt x="84221" y="385010"/>
                  </a:cubicBezTo>
                  <a:cubicBezTo>
                    <a:pt x="75450" y="404746"/>
                    <a:pt x="66988" y="424679"/>
                    <a:pt x="60158" y="445168"/>
                  </a:cubicBezTo>
                  <a:cubicBezTo>
                    <a:pt x="34260" y="522860"/>
                    <a:pt x="66357" y="465948"/>
                    <a:pt x="24063" y="529389"/>
                  </a:cubicBezTo>
                  <a:cubicBezTo>
                    <a:pt x="20053" y="545431"/>
                    <a:pt x="16575" y="561616"/>
                    <a:pt x="12032" y="577515"/>
                  </a:cubicBezTo>
                  <a:cubicBezTo>
                    <a:pt x="8548" y="589710"/>
                    <a:pt x="0" y="600927"/>
                    <a:pt x="0" y="613610"/>
                  </a:cubicBezTo>
                  <a:cubicBezTo>
                    <a:pt x="0" y="689915"/>
                    <a:pt x="5124" y="766218"/>
                    <a:pt x="12032" y="842210"/>
                  </a:cubicBezTo>
                  <a:cubicBezTo>
                    <a:pt x="13180" y="854840"/>
                    <a:pt x="17904" y="867219"/>
                    <a:pt x="24063" y="878305"/>
                  </a:cubicBezTo>
                  <a:cubicBezTo>
                    <a:pt x="38108" y="903586"/>
                    <a:pt x="59255" y="924627"/>
                    <a:pt x="72189" y="950494"/>
                  </a:cubicBezTo>
                  <a:cubicBezTo>
                    <a:pt x="80210" y="966536"/>
                    <a:pt x="89188" y="982135"/>
                    <a:pt x="96253" y="998621"/>
                  </a:cubicBezTo>
                  <a:cubicBezTo>
                    <a:pt x="101249" y="1010278"/>
                    <a:pt x="102612" y="1023372"/>
                    <a:pt x="108284" y="1034715"/>
                  </a:cubicBezTo>
                  <a:cubicBezTo>
                    <a:pt x="125035" y="1068217"/>
                    <a:pt x="141832" y="1080295"/>
                    <a:pt x="168442" y="1106905"/>
                  </a:cubicBezTo>
                  <a:cubicBezTo>
                    <a:pt x="239290" y="894366"/>
                    <a:pt x="155566" y="1157366"/>
                    <a:pt x="192505" y="529389"/>
                  </a:cubicBezTo>
                  <a:cubicBezTo>
                    <a:pt x="193994" y="504068"/>
                    <a:pt x="208547" y="481263"/>
                    <a:pt x="216568" y="457200"/>
                  </a:cubicBezTo>
                  <a:cubicBezTo>
                    <a:pt x="233980" y="404963"/>
                    <a:pt x="219633" y="430072"/>
                    <a:pt x="264695" y="385010"/>
                  </a:cubicBezTo>
                  <a:cubicBezTo>
                    <a:pt x="268705" y="368968"/>
                    <a:pt x="270212" y="352083"/>
                    <a:pt x="276726" y="336884"/>
                  </a:cubicBezTo>
                  <a:cubicBezTo>
                    <a:pt x="293819" y="297000"/>
                    <a:pt x="300968" y="306582"/>
                    <a:pt x="324853" y="276726"/>
                  </a:cubicBezTo>
                  <a:cubicBezTo>
                    <a:pt x="333886" y="265435"/>
                    <a:pt x="339659" y="251740"/>
                    <a:pt x="348916" y="240631"/>
                  </a:cubicBezTo>
                  <a:cubicBezTo>
                    <a:pt x="359809" y="227560"/>
                    <a:pt x="371939" y="215429"/>
                    <a:pt x="385010" y="204536"/>
                  </a:cubicBezTo>
                  <a:cubicBezTo>
                    <a:pt x="406333" y="186767"/>
                    <a:pt x="445005" y="166793"/>
                    <a:pt x="469232" y="156410"/>
                  </a:cubicBezTo>
                  <a:cubicBezTo>
                    <a:pt x="480889" y="151414"/>
                    <a:pt x="493295" y="148389"/>
                    <a:pt x="505326" y="144379"/>
                  </a:cubicBezTo>
                  <a:cubicBezTo>
                    <a:pt x="489284" y="168442"/>
                    <a:pt x="466346" y="189132"/>
                    <a:pt x="457200" y="216568"/>
                  </a:cubicBezTo>
                  <a:cubicBezTo>
                    <a:pt x="453189" y="228600"/>
                    <a:pt x="450840" y="241319"/>
                    <a:pt x="445168" y="252663"/>
                  </a:cubicBezTo>
                  <a:cubicBezTo>
                    <a:pt x="438701" y="265597"/>
                    <a:pt x="428279" y="276203"/>
                    <a:pt x="421105" y="288758"/>
                  </a:cubicBezTo>
                  <a:cubicBezTo>
                    <a:pt x="412207" y="304330"/>
                    <a:pt x="405063" y="320842"/>
                    <a:pt x="397042" y="336884"/>
                  </a:cubicBezTo>
                  <a:cubicBezTo>
                    <a:pt x="393031" y="368968"/>
                    <a:pt x="389927" y="401178"/>
                    <a:pt x="385010" y="433136"/>
                  </a:cubicBezTo>
                  <a:cubicBezTo>
                    <a:pt x="381900" y="453348"/>
                    <a:pt x="372979" y="472844"/>
                    <a:pt x="372979" y="493294"/>
                  </a:cubicBezTo>
                  <a:cubicBezTo>
                    <a:pt x="372979" y="597645"/>
                    <a:pt x="377831" y="702012"/>
                    <a:pt x="385010" y="806115"/>
                  </a:cubicBezTo>
                  <a:cubicBezTo>
                    <a:pt x="385883" y="818767"/>
                    <a:pt x="391370" y="830866"/>
                    <a:pt x="397042" y="842210"/>
                  </a:cubicBezTo>
                  <a:cubicBezTo>
                    <a:pt x="403509" y="855144"/>
                    <a:pt x="413084" y="866273"/>
                    <a:pt x="421105" y="878305"/>
                  </a:cubicBezTo>
                  <a:cubicBezTo>
                    <a:pt x="458235" y="766918"/>
                    <a:pt x="421105" y="893079"/>
                    <a:pt x="421105" y="625642"/>
                  </a:cubicBezTo>
                  <a:cubicBezTo>
                    <a:pt x="421105" y="525298"/>
                    <a:pt x="425988" y="424941"/>
                    <a:pt x="433137" y="324852"/>
                  </a:cubicBezTo>
                  <a:cubicBezTo>
                    <a:pt x="434041" y="312202"/>
                    <a:pt x="439496" y="300101"/>
                    <a:pt x="445168" y="288758"/>
                  </a:cubicBezTo>
                  <a:cubicBezTo>
                    <a:pt x="451635" y="275824"/>
                    <a:pt x="461211" y="264695"/>
                    <a:pt x="469232" y="252663"/>
                  </a:cubicBezTo>
                  <a:cubicBezTo>
                    <a:pt x="473242" y="240631"/>
                    <a:pt x="481263" y="203886"/>
                    <a:pt x="481263" y="216568"/>
                  </a:cubicBezTo>
                  <a:cubicBezTo>
                    <a:pt x="481263" y="325375"/>
                    <a:pt x="474169" y="348294"/>
                    <a:pt x="457200" y="433136"/>
                  </a:cubicBezTo>
                  <a:cubicBezTo>
                    <a:pt x="461211" y="545431"/>
                    <a:pt x="458408" y="658177"/>
                    <a:pt x="469232" y="770021"/>
                  </a:cubicBezTo>
                  <a:cubicBezTo>
                    <a:pt x="470625" y="784414"/>
                    <a:pt x="486828" y="793182"/>
                    <a:pt x="493295" y="806115"/>
                  </a:cubicBezTo>
                  <a:cubicBezTo>
                    <a:pt x="498967" y="817459"/>
                    <a:pt x="495423" y="834287"/>
                    <a:pt x="505326" y="842210"/>
                  </a:cubicBezTo>
                  <a:cubicBezTo>
                    <a:pt x="518238" y="852540"/>
                    <a:pt x="537411" y="850231"/>
                    <a:pt x="553453" y="854242"/>
                  </a:cubicBezTo>
                  <a:cubicBezTo>
                    <a:pt x="671745" y="676802"/>
                    <a:pt x="568219" y="846033"/>
                    <a:pt x="589547" y="312821"/>
                  </a:cubicBezTo>
                  <a:cubicBezTo>
                    <a:pt x="590839" y="280513"/>
                    <a:pt x="597568" y="248652"/>
                    <a:pt x="601579" y="216568"/>
                  </a:cubicBezTo>
                  <a:cubicBezTo>
                    <a:pt x="605589" y="232610"/>
                    <a:pt x="613610" y="248158"/>
                    <a:pt x="613610" y="264694"/>
                  </a:cubicBezTo>
                  <a:cubicBezTo>
                    <a:pt x="613610" y="303543"/>
                    <a:pt x="597165" y="319443"/>
                    <a:pt x="577516" y="348915"/>
                  </a:cubicBezTo>
                  <a:cubicBezTo>
                    <a:pt x="573603" y="368480"/>
                    <a:pt x="553453" y="465863"/>
                    <a:pt x="553453" y="481263"/>
                  </a:cubicBezTo>
                  <a:cubicBezTo>
                    <a:pt x="553453" y="557568"/>
                    <a:pt x="555174" y="634257"/>
                    <a:pt x="565484" y="709863"/>
                  </a:cubicBezTo>
                  <a:cubicBezTo>
                    <a:pt x="567438" y="724191"/>
                    <a:pt x="581142" y="734191"/>
                    <a:pt x="589547" y="745958"/>
                  </a:cubicBezTo>
                  <a:cubicBezTo>
                    <a:pt x="630247" y="802938"/>
                    <a:pt x="611893" y="784918"/>
                    <a:pt x="661737" y="818147"/>
                  </a:cubicBezTo>
                  <a:cubicBezTo>
                    <a:pt x="727396" y="686829"/>
                    <a:pt x="694533" y="771969"/>
                    <a:pt x="673768" y="481263"/>
                  </a:cubicBezTo>
                  <a:cubicBezTo>
                    <a:pt x="672590" y="464769"/>
                    <a:pt x="661737" y="416600"/>
                    <a:pt x="661737" y="433136"/>
                  </a:cubicBezTo>
                  <a:cubicBezTo>
                    <a:pt x="661737" y="453586"/>
                    <a:pt x="668387" y="473565"/>
                    <a:pt x="673768" y="493294"/>
                  </a:cubicBezTo>
                  <a:cubicBezTo>
                    <a:pt x="676171" y="502106"/>
                    <a:pt x="712670" y="613342"/>
                    <a:pt x="721895" y="625642"/>
                  </a:cubicBezTo>
                  <a:cubicBezTo>
                    <a:pt x="733926" y="641684"/>
                    <a:pt x="754796" y="648686"/>
                    <a:pt x="770021" y="661736"/>
                  </a:cubicBezTo>
                  <a:cubicBezTo>
                    <a:pt x="907996" y="779999"/>
                    <a:pt x="718787" y="622534"/>
                    <a:pt x="830179" y="733926"/>
                  </a:cubicBezTo>
                  <a:cubicBezTo>
                    <a:pt x="847184" y="750931"/>
                    <a:pt x="895528" y="772616"/>
                    <a:pt x="914400" y="782052"/>
                  </a:cubicBezTo>
                  <a:cubicBezTo>
                    <a:pt x="934453" y="774031"/>
                    <a:pt x="963843" y="776741"/>
                    <a:pt x="974558" y="757989"/>
                  </a:cubicBezTo>
                  <a:cubicBezTo>
                    <a:pt x="984704" y="740234"/>
                    <a:pt x="966080" y="717970"/>
                    <a:pt x="962526" y="697831"/>
                  </a:cubicBezTo>
                  <a:cubicBezTo>
                    <a:pt x="954047" y="649783"/>
                    <a:pt x="950296" y="600785"/>
                    <a:pt x="938463" y="553452"/>
                  </a:cubicBezTo>
                  <a:lnTo>
                    <a:pt x="914400" y="457200"/>
                  </a:lnTo>
                  <a:cubicBezTo>
                    <a:pt x="910389" y="417095"/>
                    <a:pt x="902368" y="296579"/>
                    <a:pt x="902368" y="336884"/>
                  </a:cubicBezTo>
                  <a:cubicBezTo>
                    <a:pt x="902368" y="367741"/>
                    <a:pt x="922737" y="584997"/>
                    <a:pt x="926432" y="625642"/>
                  </a:cubicBezTo>
                  <a:cubicBezTo>
                    <a:pt x="938463" y="621631"/>
                    <a:pt x="953558" y="622578"/>
                    <a:pt x="962526" y="613610"/>
                  </a:cubicBezTo>
                  <a:cubicBezTo>
                    <a:pt x="971494" y="604642"/>
                    <a:pt x="972630" y="590050"/>
                    <a:pt x="974558" y="577515"/>
                  </a:cubicBezTo>
                  <a:cubicBezTo>
                    <a:pt x="980687" y="537679"/>
                    <a:pt x="982579" y="497305"/>
                    <a:pt x="986589" y="457200"/>
                  </a:cubicBezTo>
                  <a:cubicBezTo>
                    <a:pt x="994610" y="473242"/>
                    <a:pt x="1001754" y="489754"/>
                    <a:pt x="1010653" y="505326"/>
                  </a:cubicBezTo>
                  <a:cubicBezTo>
                    <a:pt x="1017827" y="517881"/>
                    <a:pt x="1028249" y="528487"/>
                    <a:pt x="1034716" y="541421"/>
                  </a:cubicBezTo>
                  <a:cubicBezTo>
                    <a:pt x="1065953" y="603896"/>
                    <a:pt x="1023809" y="554576"/>
                    <a:pt x="1070810" y="601579"/>
                  </a:cubicBezTo>
                  <a:cubicBezTo>
                    <a:pt x="1084161" y="521477"/>
                    <a:pt x="1082842" y="504994"/>
                    <a:pt x="1082842" y="553452"/>
                  </a:cubicBezTo>
                </a:path>
              </a:pathLst>
            </a:custGeom>
            <a:no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grpSp>
      <p:pic>
        <p:nvPicPr>
          <p:cNvPr id="22" name="Picture 21"/>
          <p:cNvPicPr>
            <a:picLocks noChangeAspect="1"/>
          </p:cNvPicPr>
          <p:nvPr/>
        </p:nvPicPr>
        <p:blipFill>
          <a:blip r:embed="rId4" cstate="print">
            <a:clrChange>
              <a:clrFrom>
                <a:srgbClr val="FFFFFF"/>
              </a:clrFrom>
              <a:clrTo>
                <a:srgbClr val="FFFFFF">
                  <a:alpha val="0"/>
                </a:srgbClr>
              </a:clrTo>
            </a:clrChange>
            <a:biLevel thresh="75000"/>
            <a:extLst>
              <a:ext uri="{28A0092B-C50C-407E-A947-70E740481C1C}">
                <a14:useLocalDpi xmlns:a14="http://schemas.microsoft.com/office/drawing/2010/main" val="0"/>
              </a:ext>
            </a:extLst>
          </a:blip>
          <a:stretch>
            <a:fillRect/>
          </a:stretch>
        </p:blipFill>
        <p:spPr>
          <a:xfrm>
            <a:off x="5978560" y="1245887"/>
            <a:ext cx="1847950" cy="1873092"/>
          </a:xfrm>
          <a:prstGeom prst="rect">
            <a:avLst/>
          </a:prstGeom>
        </p:spPr>
      </p:pic>
      <p:grpSp>
        <p:nvGrpSpPr>
          <p:cNvPr id="23" name="Group 22"/>
          <p:cNvGrpSpPr/>
          <p:nvPr/>
        </p:nvGrpSpPr>
        <p:grpSpPr>
          <a:xfrm>
            <a:off x="4980557" y="2598641"/>
            <a:ext cx="1443223" cy="2277815"/>
            <a:chOff x="5570892" y="2544636"/>
            <a:chExt cx="2114668" cy="3086144"/>
          </a:xfrm>
          <a:solidFill>
            <a:schemeClr val="accent6">
              <a:lumMod val="60000"/>
              <a:lumOff val="40000"/>
            </a:schemeClr>
          </a:solidFill>
        </p:grpSpPr>
        <p:grpSp>
          <p:nvGrpSpPr>
            <p:cNvPr id="15" name="Group 14"/>
            <p:cNvGrpSpPr/>
            <p:nvPr/>
          </p:nvGrpSpPr>
          <p:grpSpPr>
            <a:xfrm>
              <a:off x="6218019" y="2544636"/>
              <a:ext cx="1359716" cy="3086144"/>
              <a:chOff x="2985738" y="1413935"/>
              <a:chExt cx="2983261" cy="5233392"/>
            </a:xfrm>
            <a:grpFill/>
          </p:grpSpPr>
          <p:sp>
            <p:nvSpPr>
              <p:cNvPr id="16" name="Freeform 15"/>
              <p:cNvSpPr/>
              <p:nvPr/>
            </p:nvSpPr>
            <p:spPr>
              <a:xfrm>
                <a:off x="3496733" y="2556189"/>
                <a:ext cx="2257170" cy="2882584"/>
              </a:xfrm>
              <a:custGeom>
                <a:avLst/>
                <a:gdLst>
                  <a:gd name="connsiteX0" fmla="*/ 347134 w 2257170"/>
                  <a:gd name="connsiteY0" fmla="*/ 51544 h 2882584"/>
                  <a:gd name="connsiteX1" fmla="*/ 347134 w 2257170"/>
                  <a:gd name="connsiteY1" fmla="*/ 51544 h 2882584"/>
                  <a:gd name="connsiteX2" fmla="*/ 287867 w 2257170"/>
                  <a:gd name="connsiteY2" fmla="*/ 102344 h 2882584"/>
                  <a:gd name="connsiteX3" fmla="*/ 254000 w 2257170"/>
                  <a:gd name="connsiteY3" fmla="*/ 161611 h 2882584"/>
                  <a:gd name="connsiteX4" fmla="*/ 228600 w 2257170"/>
                  <a:gd name="connsiteY4" fmla="*/ 195478 h 2882584"/>
                  <a:gd name="connsiteX5" fmla="*/ 194734 w 2257170"/>
                  <a:gd name="connsiteY5" fmla="*/ 237811 h 2882584"/>
                  <a:gd name="connsiteX6" fmla="*/ 169334 w 2257170"/>
                  <a:gd name="connsiteY6" fmla="*/ 280144 h 2882584"/>
                  <a:gd name="connsiteX7" fmla="*/ 152400 w 2257170"/>
                  <a:gd name="connsiteY7" fmla="*/ 339411 h 2882584"/>
                  <a:gd name="connsiteX8" fmla="*/ 143934 w 2257170"/>
                  <a:gd name="connsiteY8" fmla="*/ 364811 h 2882584"/>
                  <a:gd name="connsiteX9" fmla="*/ 127000 w 2257170"/>
                  <a:gd name="connsiteY9" fmla="*/ 398678 h 2882584"/>
                  <a:gd name="connsiteX10" fmla="*/ 93134 w 2257170"/>
                  <a:gd name="connsiteY10" fmla="*/ 500278 h 2882584"/>
                  <a:gd name="connsiteX11" fmla="*/ 84667 w 2257170"/>
                  <a:gd name="connsiteY11" fmla="*/ 618811 h 2882584"/>
                  <a:gd name="connsiteX12" fmla="*/ 67734 w 2257170"/>
                  <a:gd name="connsiteY12" fmla="*/ 703478 h 2882584"/>
                  <a:gd name="connsiteX13" fmla="*/ 50800 w 2257170"/>
                  <a:gd name="connsiteY13" fmla="*/ 788144 h 2882584"/>
                  <a:gd name="connsiteX14" fmla="*/ 42334 w 2257170"/>
                  <a:gd name="connsiteY14" fmla="*/ 906678 h 2882584"/>
                  <a:gd name="connsiteX15" fmla="*/ 33867 w 2257170"/>
                  <a:gd name="connsiteY15" fmla="*/ 932078 h 2882584"/>
                  <a:gd name="connsiteX16" fmla="*/ 16934 w 2257170"/>
                  <a:gd name="connsiteY16" fmla="*/ 1084478 h 2882584"/>
                  <a:gd name="connsiteX17" fmla="*/ 8467 w 2257170"/>
                  <a:gd name="connsiteY17" fmla="*/ 1219944 h 2882584"/>
                  <a:gd name="connsiteX18" fmla="*/ 0 w 2257170"/>
                  <a:gd name="connsiteY18" fmla="*/ 1313078 h 2882584"/>
                  <a:gd name="connsiteX19" fmla="*/ 8467 w 2257170"/>
                  <a:gd name="connsiteY19" fmla="*/ 2066611 h 2882584"/>
                  <a:gd name="connsiteX20" fmla="*/ 16934 w 2257170"/>
                  <a:gd name="connsiteY20" fmla="*/ 2379878 h 2882584"/>
                  <a:gd name="connsiteX21" fmla="*/ 33867 w 2257170"/>
                  <a:gd name="connsiteY21" fmla="*/ 2583078 h 2882584"/>
                  <a:gd name="connsiteX22" fmla="*/ 42334 w 2257170"/>
                  <a:gd name="connsiteY22" fmla="*/ 2820144 h 2882584"/>
                  <a:gd name="connsiteX23" fmla="*/ 50800 w 2257170"/>
                  <a:gd name="connsiteY23" fmla="*/ 2879411 h 2882584"/>
                  <a:gd name="connsiteX24" fmla="*/ 93134 w 2257170"/>
                  <a:gd name="connsiteY24" fmla="*/ 2870944 h 2882584"/>
                  <a:gd name="connsiteX25" fmla="*/ 254000 w 2257170"/>
                  <a:gd name="connsiteY25" fmla="*/ 2862478 h 2882584"/>
                  <a:gd name="connsiteX26" fmla="*/ 524934 w 2257170"/>
                  <a:gd name="connsiteY26" fmla="*/ 2854011 h 2882584"/>
                  <a:gd name="connsiteX27" fmla="*/ 2159000 w 2257170"/>
                  <a:gd name="connsiteY27" fmla="*/ 2862478 h 2882584"/>
                  <a:gd name="connsiteX28" fmla="*/ 2235200 w 2257170"/>
                  <a:gd name="connsiteY28" fmla="*/ 2862478 h 2882584"/>
                  <a:gd name="connsiteX29" fmla="*/ 2235200 w 2257170"/>
                  <a:gd name="connsiteY29" fmla="*/ 2447611 h 2882584"/>
                  <a:gd name="connsiteX30" fmla="*/ 2218267 w 2257170"/>
                  <a:gd name="connsiteY30" fmla="*/ 2346011 h 2882584"/>
                  <a:gd name="connsiteX31" fmla="*/ 2209800 w 2257170"/>
                  <a:gd name="connsiteY31" fmla="*/ 2125878 h 2882584"/>
                  <a:gd name="connsiteX32" fmla="*/ 2201334 w 2257170"/>
                  <a:gd name="connsiteY32" fmla="*/ 2083544 h 2882584"/>
                  <a:gd name="connsiteX33" fmla="*/ 2192867 w 2257170"/>
                  <a:gd name="connsiteY33" fmla="*/ 2007344 h 2882584"/>
                  <a:gd name="connsiteX34" fmla="*/ 2167467 w 2257170"/>
                  <a:gd name="connsiteY34" fmla="*/ 1854944 h 2882584"/>
                  <a:gd name="connsiteX35" fmla="*/ 2159000 w 2257170"/>
                  <a:gd name="connsiteY35" fmla="*/ 1727944 h 2882584"/>
                  <a:gd name="connsiteX36" fmla="*/ 2150534 w 2257170"/>
                  <a:gd name="connsiteY36" fmla="*/ 1694078 h 2882584"/>
                  <a:gd name="connsiteX37" fmla="*/ 2142067 w 2257170"/>
                  <a:gd name="connsiteY37" fmla="*/ 1617878 h 2882584"/>
                  <a:gd name="connsiteX38" fmla="*/ 2125134 w 2257170"/>
                  <a:gd name="connsiteY38" fmla="*/ 1423144 h 2882584"/>
                  <a:gd name="connsiteX39" fmla="*/ 2099734 w 2257170"/>
                  <a:gd name="connsiteY39" fmla="*/ 1338478 h 2882584"/>
                  <a:gd name="connsiteX40" fmla="*/ 2065867 w 2257170"/>
                  <a:gd name="connsiteY40" fmla="*/ 1245344 h 2882584"/>
                  <a:gd name="connsiteX41" fmla="*/ 2057400 w 2257170"/>
                  <a:gd name="connsiteY41" fmla="*/ 1177611 h 2882584"/>
                  <a:gd name="connsiteX42" fmla="*/ 2048934 w 2257170"/>
                  <a:gd name="connsiteY42" fmla="*/ 1118344 h 2882584"/>
                  <a:gd name="connsiteX43" fmla="*/ 2032000 w 2257170"/>
                  <a:gd name="connsiteY43" fmla="*/ 974411 h 2882584"/>
                  <a:gd name="connsiteX44" fmla="*/ 2006600 w 2257170"/>
                  <a:gd name="connsiteY44" fmla="*/ 796611 h 2882584"/>
                  <a:gd name="connsiteX45" fmla="*/ 1964267 w 2257170"/>
                  <a:gd name="connsiteY45" fmla="*/ 686544 h 2882584"/>
                  <a:gd name="connsiteX46" fmla="*/ 1947334 w 2257170"/>
                  <a:gd name="connsiteY46" fmla="*/ 661144 h 2882584"/>
                  <a:gd name="connsiteX47" fmla="*/ 1905000 w 2257170"/>
                  <a:gd name="connsiteY47" fmla="*/ 568011 h 2882584"/>
                  <a:gd name="connsiteX48" fmla="*/ 1896534 w 2257170"/>
                  <a:gd name="connsiteY48" fmla="*/ 517211 h 2882584"/>
                  <a:gd name="connsiteX49" fmla="*/ 1879600 w 2257170"/>
                  <a:gd name="connsiteY49" fmla="*/ 474878 h 2882584"/>
                  <a:gd name="connsiteX50" fmla="*/ 1854200 w 2257170"/>
                  <a:gd name="connsiteY50" fmla="*/ 424078 h 2882584"/>
                  <a:gd name="connsiteX51" fmla="*/ 1828800 w 2257170"/>
                  <a:gd name="connsiteY51" fmla="*/ 381744 h 2882584"/>
                  <a:gd name="connsiteX52" fmla="*/ 1803400 w 2257170"/>
                  <a:gd name="connsiteY52" fmla="*/ 330944 h 2882584"/>
                  <a:gd name="connsiteX53" fmla="*/ 1778000 w 2257170"/>
                  <a:gd name="connsiteY53" fmla="*/ 297078 h 2882584"/>
                  <a:gd name="connsiteX54" fmla="*/ 1761067 w 2257170"/>
                  <a:gd name="connsiteY54" fmla="*/ 263211 h 2882584"/>
                  <a:gd name="connsiteX55" fmla="*/ 1718734 w 2257170"/>
                  <a:gd name="connsiteY55" fmla="*/ 203944 h 2882584"/>
                  <a:gd name="connsiteX56" fmla="*/ 1684867 w 2257170"/>
                  <a:gd name="connsiteY56" fmla="*/ 144678 h 2882584"/>
                  <a:gd name="connsiteX57" fmla="*/ 1667934 w 2257170"/>
                  <a:gd name="connsiteY57" fmla="*/ 93878 h 2882584"/>
                  <a:gd name="connsiteX58" fmla="*/ 1651000 w 2257170"/>
                  <a:gd name="connsiteY58" fmla="*/ 68478 h 2882584"/>
                  <a:gd name="connsiteX59" fmla="*/ 1600200 w 2257170"/>
                  <a:gd name="connsiteY59" fmla="*/ 26144 h 2882584"/>
                  <a:gd name="connsiteX60" fmla="*/ 1574800 w 2257170"/>
                  <a:gd name="connsiteY60" fmla="*/ 9211 h 2882584"/>
                  <a:gd name="connsiteX61" fmla="*/ 1507067 w 2257170"/>
                  <a:gd name="connsiteY61" fmla="*/ 744 h 2882584"/>
                  <a:gd name="connsiteX62" fmla="*/ 1507067 w 2257170"/>
                  <a:gd name="connsiteY62" fmla="*/ 744 h 2882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257170" h="2882584">
                    <a:moveTo>
                      <a:pt x="347134" y="51544"/>
                    </a:moveTo>
                    <a:lnTo>
                      <a:pt x="347134" y="51544"/>
                    </a:lnTo>
                    <a:cubicBezTo>
                      <a:pt x="327378" y="68477"/>
                      <a:pt x="306266" y="83945"/>
                      <a:pt x="287867" y="102344"/>
                    </a:cubicBezTo>
                    <a:cubicBezTo>
                      <a:pt x="272333" y="117878"/>
                      <a:pt x="265065" y="143907"/>
                      <a:pt x="254000" y="161611"/>
                    </a:cubicBezTo>
                    <a:cubicBezTo>
                      <a:pt x="246521" y="173577"/>
                      <a:pt x="237067" y="184189"/>
                      <a:pt x="228600" y="195478"/>
                    </a:cubicBezTo>
                    <a:cubicBezTo>
                      <a:pt x="209066" y="254086"/>
                      <a:pt x="236511" y="189072"/>
                      <a:pt x="194734" y="237811"/>
                    </a:cubicBezTo>
                    <a:cubicBezTo>
                      <a:pt x="184024" y="250305"/>
                      <a:pt x="177801" y="266033"/>
                      <a:pt x="169334" y="280144"/>
                    </a:cubicBezTo>
                    <a:cubicBezTo>
                      <a:pt x="163689" y="299900"/>
                      <a:pt x="158304" y="319731"/>
                      <a:pt x="152400" y="339411"/>
                    </a:cubicBezTo>
                    <a:cubicBezTo>
                      <a:pt x="149836" y="347959"/>
                      <a:pt x="147450" y="356608"/>
                      <a:pt x="143934" y="364811"/>
                    </a:cubicBezTo>
                    <a:cubicBezTo>
                      <a:pt x="138962" y="376412"/>
                      <a:pt x="131432" y="386860"/>
                      <a:pt x="127000" y="398678"/>
                    </a:cubicBezTo>
                    <a:cubicBezTo>
                      <a:pt x="114465" y="432104"/>
                      <a:pt x="93134" y="500278"/>
                      <a:pt x="93134" y="500278"/>
                    </a:cubicBezTo>
                    <a:cubicBezTo>
                      <a:pt x="90312" y="539789"/>
                      <a:pt x="88609" y="579396"/>
                      <a:pt x="84667" y="618811"/>
                    </a:cubicBezTo>
                    <a:cubicBezTo>
                      <a:pt x="79744" y="668035"/>
                      <a:pt x="76664" y="661805"/>
                      <a:pt x="67734" y="703478"/>
                    </a:cubicBezTo>
                    <a:cubicBezTo>
                      <a:pt x="61704" y="731620"/>
                      <a:pt x="50800" y="788144"/>
                      <a:pt x="50800" y="788144"/>
                    </a:cubicBezTo>
                    <a:cubicBezTo>
                      <a:pt x="47978" y="827655"/>
                      <a:pt x="46962" y="867337"/>
                      <a:pt x="42334" y="906678"/>
                    </a:cubicBezTo>
                    <a:cubicBezTo>
                      <a:pt x="41291" y="915542"/>
                      <a:pt x="34910" y="923214"/>
                      <a:pt x="33867" y="932078"/>
                    </a:cubicBezTo>
                    <a:cubicBezTo>
                      <a:pt x="13208" y="1107675"/>
                      <a:pt x="38345" y="998828"/>
                      <a:pt x="16934" y="1084478"/>
                    </a:cubicBezTo>
                    <a:cubicBezTo>
                      <a:pt x="14112" y="1129633"/>
                      <a:pt x="11809" y="1174824"/>
                      <a:pt x="8467" y="1219944"/>
                    </a:cubicBezTo>
                    <a:cubicBezTo>
                      <a:pt x="6164" y="1251032"/>
                      <a:pt x="0" y="1281905"/>
                      <a:pt x="0" y="1313078"/>
                    </a:cubicBezTo>
                    <a:cubicBezTo>
                      <a:pt x="0" y="1564272"/>
                      <a:pt x="4480" y="1815449"/>
                      <a:pt x="8467" y="2066611"/>
                    </a:cubicBezTo>
                    <a:cubicBezTo>
                      <a:pt x="10125" y="2171058"/>
                      <a:pt x="12759" y="2275501"/>
                      <a:pt x="16934" y="2379878"/>
                    </a:cubicBezTo>
                    <a:cubicBezTo>
                      <a:pt x="18486" y="2418675"/>
                      <a:pt x="29951" y="2540004"/>
                      <a:pt x="33867" y="2583078"/>
                    </a:cubicBezTo>
                    <a:cubicBezTo>
                      <a:pt x="36689" y="2662100"/>
                      <a:pt x="37823" y="2741200"/>
                      <a:pt x="42334" y="2820144"/>
                    </a:cubicBezTo>
                    <a:cubicBezTo>
                      <a:pt x="43472" y="2840068"/>
                      <a:pt x="36689" y="2865300"/>
                      <a:pt x="50800" y="2879411"/>
                    </a:cubicBezTo>
                    <a:cubicBezTo>
                      <a:pt x="60976" y="2889587"/>
                      <a:pt x="78793" y="2872139"/>
                      <a:pt x="93134" y="2870944"/>
                    </a:cubicBezTo>
                    <a:cubicBezTo>
                      <a:pt x="146645" y="2866485"/>
                      <a:pt x="200345" y="2864582"/>
                      <a:pt x="254000" y="2862478"/>
                    </a:cubicBezTo>
                    <a:lnTo>
                      <a:pt x="524934" y="2854011"/>
                    </a:lnTo>
                    <a:lnTo>
                      <a:pt x="2159000" y="2862478"/>
                    </a:lnTo>
                    <a:cubicBezTo>
                      <a:pt x="2276843" y="2863680"/>
                      <a:pt x="2029105" y="2896824"/>
                      <a:pt x="2235200" y="2862478"/>
                    </a:cubicBezTo>
                    <a:cubicBezTo>
                      <a:pt x="2273574" y="2708987"/>
                      <a:pt x="2253789" y="2800794"/>
                      <a:pt x="2235200" y="2447611"/>
                    </a:cubicBezTo>
                    <a:cubicBezTo>
                      <a:pt x="2233395" y="2413325"/>
                      <a:pt x="2218267" y="2346011"/>
                      <a:pt x="2218267" y="2346011"/>
                    </a:cubicBezTo>
                    <a:cubicBezTo>
                      <a:pt x="2215445" y="2272633"/>
                      <a:pt x="2214528" y="2199158"/>
                      <a:pt x="2209800" y="2125878"/>
                    </a:cubicBezTo>
                    <a:cubicBezTo>
                      <a:pt x="2208874" y="2111517"/>
                      <a:pt x="2203369" y="2097790"/>
                      <a:pt x="2201334" y="2083544"/>
                    </a:cubicBezTo>
                    <a:cubicBezTo>
                      <a:pt x="2197720" y="2058245"/>
                      <a:pt x="2196612" y="2032624"/>
                      <a:pt x="2192867" y="2007344"/>
                    </a:cubicBezTo>
                    <a:cubicBezTo>
                      <a:pt x="2185320" y="1956399"/>
                      <a:pt x="2167467" y="1854944"/>
                      <a:pt x="2167467" y="1854944"/>
                    </a:cubicBezTo>
                    <a:cubicBezTo>
                      <a:pt x="2164645" y="1812611"/>
                      <a:pt x="2163441" y="1770138"/>
                      <a:pt x="2159000" y="1727944"/>
                    </a:cubicBezTo>
                    <a:cubicBezTo>
                      <a:pt x="2157782" y="1716372"/>
                      <a:pt x="2152303" y="1705579"/>
                      <a:pt x="2150534" y="1694078"/>
                    </a:cubicBezTo>
                    <a:cubicBezTo>
                      <a:pt x="2146648" y="1668819"/>
                      <a:pt x="2144452" y="1643323"/>
                      <a:pt x="2142067" y="1617878"/>
                    </a:cubicBezTo>
                    <a:cubicBezTo>
                      <a:pt x="2135985" y="1553006"/>
                      <a:pt x="2132075" y="1487929"/>
                      <a:pt x="2125134" y="1423144"/>
                    </a:cubicBezTo>
                    <a:cubicBezTo>
                      <a:pt x="2119854" y="1373866"/>
                      <a:pt x="2115497" y="1385768"/>
                      <a:pt x="2099734" y="1338478"/>
                    </a:cubicBezTo>
                    <a:cubicBezTo>
                      <a:pt x="2069133" y="1246675"/>
                      <a:pt x="2098254" y="1310120"/>
                      <a:pt x="2065867" y="1245344"/>
                    </a:cubicBezTo>
                    <a:cubicBezTo>
                      <a:pt x="2063045" y="1222766"/>
                      <a:pt x="2060407" y="1200165"/>
                      <a:pt x="2057400" y="1177611"/>
                    </a:cubicBezTo>
                    <a:cubicBezTo>
                      <a:pt x="2054763" y="1157830"/>
                      <a:pt x="2051409" y="1138146"/>
                      <a:pt x="2048934" y="1118344"/>
                    </a:cubicBezTo>
                    <a:cubicBezTo>
                      <a:pt x="2036389" y="1017979"/>
                      <a:pt x="2045031" y="1068884"/>
                      <a:pt x="2032000" y="974411"/>
                    </a:cubicBezTo>
                    <a:cubicBezTo>
                      <a:pt x="2023820" y="915104"/>
                      <a:pt x="2033374" y="850159"/>
                      <a:pt x="2006600" y="796611"/>
                    </a:cubicBezTo>
                    <a:cubicBezTo>
                      <a:pt x="1931225" y="645861"/>
                      <a:pt x="2030665" y="852542"/>
                      <a:pt x="1964267" y="686544"/>
                    </a:cubicBezTo>
                    <a:cubicBezTo>
                      <a:pt x="1960488" y="677096"/>
                      <a:pt x="1951467" y="670443"/>
                      <a:pt x="1947334" y="661144"/>
                    </a:cubicBezTo>
                    <a:cubicBezTo>
                      <a:pt x="1896736" y="547299"/>
                      <a:pt x="1965822" y="669380"/>
                      <a:pt x="1905000" y="568011"/>
                    </a:cubicBezTo>
                    <a:cubicBezTo>
                      <a:pt x="1902178" y="551078"/>
                      <a:pt x="1901051" y="533773"/>
                      <a:pt x="1896534" y="517211"/>
                    </a:cubicBezTo>
                    <a:cubicBezTo>
                      <a:pt x="1892535" y="502548"/>
                      <a:pt x="1884936" y="489108"/>
                      <a:pt x="1879600" y="474878"/>
                    </a:cubicBezTo>
                    <a:cubicBezTo>
                      <a:pt x="1864576" y="434814"/>
                      <a:pt x="1879893" y="462617"/>
                      <a:pt x="1854200" y="424078"/>
                    </a:cubicBezTo>
                    <a:cubicBezTo>
                      <a:pt x="1832075" y="357697"/>
                      <a:pt x="1862005" y="434871"/>
                      <a:pt x="1828800" y="381744"/>
                    </a:cubicBezTo>
                    <a:cubicBezTo>
                      <a:pt x="1818766" y="365690"/>
                      <a:pt x="1813141" y="347178"/>
                      <a:pt x="1803400" y="330944"/>
                    </a:cubicBezTo>
                    <a:cubicBezTo>
                      <a:pt x="1796140" y="318844"/>
                      <a:pt x="1785479" y="309044"/>
                      <a:pt x="1778000" y="297078"/>
                    </a:cubicBezTo>
                    <a:cubicBezTo>
                      <a:pt x="1771311" y="286375"/>
                      <a:pt x="1767329" y="274170"/>
                      <a:pt x="1761067" y="263211"/>
                    </a:cubicBezTo>
                    <a:cubicBezTo>
                      <a:pt x="1749666" y="243258"/>
                      <a:pt x="1731713" y="222115"/>
                      <a:pt x="1718734" y="203944"/>
                    </a:cubicBezTo>
                    <a:cubicBezTo>
                      <a:pt x="1704847" y="184503"/>
                      <a:pt x="1693888" y="167230"/>
                      <a:pt x="1684867" y="144678"/>
                    </a:cubicBezTo>
                    <a:cubicBezTo>
                      <a:pt x="1678238" y="128105"/>
                      <a:pt x="1677835" y="108729"/>
                      <a:pt x="1667934" y="93878"/>
                    </a:cubicBezTo>
                    <a:cubicBezTo>
                      <a:pt x="1662289" y="85411"/>
                      <a:pt x="1657357" y="76424"/>
                      <a:pt x="1651000" y="68478"/>
                    </a:cubicBezTo>
                    <a:cubicBezTo>
                      <a:pt x="1638163" y="52431"/>
                      <a:pt x="1615574" y="37126"/>
                      <a:pt x="1600200" y="26144"/>
                    </a:cubicBezTo>
                    <a:cubicBezTo>
                      <a:pt x="1591920" y="20230"/>
                      <a:pt x="1583901" y="13762"/>
                      <a:pt x="1574800" y="9211"/>
                    </a:cubicBezTo>
                    <a:cubicBezTo>
                      <a:pt x="1548941" y="-3718"/>
                      <a:pt x="1537884" y="744"/>
                      <a:pt x="1507067" y="744"/>
                    </a:cubicBezTo>
                    <a:lnTo>
                      <a:pt x="1507067" y="744"/>
                    </a:lnTo>
                  </a:path>
                </a:pathLst>
              </a:cu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7" name="Oval 16"/>
              <p:cNvSpPr/>
              <p:nvPr/>
            </p:nvSpPr>
            <p:spPr>
              <a:xfrm>
                <a:off x="3640666" y="1413935"/>
                <a:ext cx="1515534" cy="1346200"/>
              </a:xfrm>
              <a:prstGeom prst="ellipse">
                <a:avLst/>
              </a:prstGeom>
              <a:grp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8" name="Freeform 17"/>
              <p:cNvSpPr/>
              <p:nvPr/>
            </p:nvSpPr>
            <p:spPr>
              <a:xfrm>
                <a:off x="2985738" y="3107267"/>
                <a:ext cx="617631" cy="1161158"/>
              </a:xfrm>
              <a:custGeom>
                <a:avLst/>
                <a:gdLst>
                  <a:gd name="connsiteX0" fmla="*/ 617631 w 617631"/>
                  <a:gd name="connsiteY0" fmla="*/ 0 h 1161158"/>
                  <a:gd name="connsiteX1" fmla="*/ 16498 w 617631"/>
                  <a:gd name="connsiteY1" fmla="*/ 1092200 h 1161158"/>
                  <a:gd name="connsiteX2" fmla="*/ 228165 w 617631"/>
                  <a:gd name="connsiteY2" fmla="*/ 956733 h 1161158"/>
                </a:gdLst>
                <a:ahLst/>
                <a:cxnLst>
                  <a:cxn ang="0">
                    <a:pos x="connsiteX0" y="connsiteY0"/>
                  </a:cxn>
                  <a:cxn ang="0">
                    <a:pos x="connsiteX1" y="connsiteY1"/>
                  </a:cxn>
                  <a:cxn ang="0">
                    <a:pos x="connsiteX2" y="connsiteY2"/>
                  </a:cxn>
                </a:cxnLst>
                <a:rect l="l" t="t" r="r" b="b"/>
                <a:pathLst>
                  <a:path w="617631" h="1161158">
                    <a:moveTo>
                      <a:pt x="617631" y="0"/>
                    </a:moveTo>
                    <a:cubicBezTo>
                      <a:pt x="349520" y="466372"/>
                      <a:pt x="81409" y="932745"/>
                      <a:pt x="16498" y="1092200"/>
                    </a:cubicBezTo>
                    <a:cubicBezTo>
                      <a:pt x="-48413" y="1251655"/>
                      <a:pt x="89876" y="1104194"/>
                      <a:pt x="228165" y="956733"/>
                    </a:cubicBezTo>
                  </a:path>
                </a:pathLst>
              </a:custGeom>
              <a:grpFill/>
              <a:ln w="571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9" name="Freeform 18"/>
              <p:cNvSpPr/>
              <p:nvPr/>
            </p:nvSpPr>
            <p:spPr>
              <a:xfrm flipH="1">
                <a:off x="5351368" y="3048000"/>
                <a:ext cx="617631" cy="1161158"/>
              </a:xfrm>
              <a:custGeom>
                <a:avLst/>
                <a:gdLst>
                  <a:gd name="connsiteX0" fmla="*/ 617631 w 617631"/>
                  <a:gd name="connsiteY0" fmla="*/ 0 h 1161158"/>
                  <a:gd name="connsiteX1" fmla="*/ 16498 w 617631"/>
                  <a:gd name="connsiteY1" fmla="*/ 1092200 h 1161158"/>
                  <a:gd name="connsiteX2" fmla="*/ 228165 w 617631"/>
                  <a:gd name="connsiteY2" fmla="*/ 956733 h 1161158"/>
                </a:gdLst>
                <a:ahLst/>
                <a:cxnLst>
                  <a:cxn ang="0">
                    <a:pos x="connsiteX0" y="connsiteY0"/>
                  </a:cxn>
                  <a:cxn ang="0">
                    <a:pos x="connsiteX1" y="connsiteY1"/>
                  </a:cxn>
                  <a:cxn ang="0">
                    <a:pos x="connsiteX2" y="connsiteY2"/>
                  </a:cxn>
                </a:cxnLst>
                <a:rect l="l" t="t" r="r" b="b"/>
                <a:pathLst>
                  <a:path w="617631" h="1161158">
                    <a:moveTo>
                      <a:pt x="617631" y="0"/>
                    </a:moveTo>
                    <a:cubicBezTo>
                      <a:pt x="349520" y="466372"/>
                      <a:pt x="81409" y="932745"/>
                      <a:pt x="16498" y="1092200"/>
                    </a:cubicBezTo>
                    <a:cubicBezTo>
                      <a:pt x="-48413" y="1251655"/>
                      <a:pt x="89876" y="1104194"/>
                      <a:pt x="228165" y="956733"/>
                    </a:cubicBezTo>
                  </a:path>
                </a:pathLst>
              </a:custGeom>
              <a:grpFill/>
              <a:ln w="571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cxnSp>
            <p:nvCxnSpPr>
              <p:cNvPr id="20" name="Straight Connector 19"/>
              <p:cNvCxnSpPr/>
              <p:nvPr/>
            </p:nvCxnSpPr>
            <p:spPr>
              <a:xfrm>
                <a:off x="4301068" y="5419659"/>
                <a:ext cx="16933" cy="1227667"/>
              </a:xfrm>
              <a:prstGeom prst="line">
                <a:avLst/>
              </a:prstGeom>
              <a:grpFill/>
              <a:ln w="762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5105402" y="5419660"/>
                <a:ext cx="16933" cy="1227667"/>
              </a:xfrm>
              <a:prstGeom prst="line">
                <a:avLst/>
              </a:prstGeom>
              <a:grpFill/>
              <a:ln w="762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pic>
          <p:nvPicPr>
            <p:cNvPr id="4" name="Picture 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flipH="1">
              <a:off x="5570892" y="3969052"/>
              <a:ext cx="825354" cy="825354"/>
            </a:xfrm>
            <a:prstGeom prst="rect">
              <a:avLst/>
            </a:prstGeom>
            <a:grpFill/>
          </p:spPr>
        </p:pic>
        <p:pic>
          <p:nvPicPr>
            <p:cNvPr id="3" name="Picture 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207276" y="4346043"/>
              <a:ext cx="478284" cy="478284"/>
            </a:xfrm>
            <a:prstGeom prst="rect">
              <a:avLst/>
            </a:prstGeom>
            <a:grpFill/>
          </p:spPr>
        </p:pic>
      </p:grpSp>
      <p:sp>
        <p:nvSpPr>
          <p:cNvPr id="38" name="TextBox 37"/>
          <p:cNvSpPr txBox="1"/>
          <p:nvPr/>
        </p:nvSpPr>
        <p:spPr>
          <a:xfrm>
            <a:off x="4990044" y="276544"/>
            <a:ext cx="4371966" cy="400110"/>
          </a:xfrm>
          <a:prstGeom prst="rect">
            <a:avLst/>
          </a:prstGeom>
          <a:noFill/>
        </p:spPr>
        <p:txBody>
          <a:bodyPr wrap="none" rtlCol="0">
            <a:spAutoFit/>
          </a:bodyPr>
          <a:lstStyle/>
          <a:p>
            <a:r>
              <a:rPr lang="fr-FR" sz="2000" dirty="0">
                <a:solidFill>
                  <a:prstClr val="black"/>
                </a:solidFill>
                <a:latin typeface="Calibri" panose="020F0502020204030204"/>
                <a:sym typeface="Symbol" panose="05050102010706020507" pitchFamily="18" charset="2"/>
              </a:rPr>
              <a:t>Confidentialité insuffisante  risque de représailles </a:t>
            </a:r>
          </a:p>
        </p:txBody>
      </p:sp>
      <p:sp>
        <p:nvSpPr>
          <p:cNvPr id="40" name="TextBox 39"/>
          <p:cNvSpPr txBox="1"/>
          <p:nvPr/>
        </p:nvSpPr>
        <p:spPr>
          <a:xfrm>
            <a:off x="9362010" y="666248"/>
            <a:ext cx="2586863" cy="1323439"/>
          </a:xfrm>
          <a:prstGeom prst="rect">
            <a:avLst/>
          </a:prstGeom>
          <a:noFill/>
        </p:spPr>
        <p:txBody>
          <a:bodyPr wrap="square" rtlCol="0">
            <a:spAutoFit/>
          </a:bodyPr>
          <a:lstStyle/>
          <a:p>
            <a:pPr algn="ctr"/>
            <a:r>
              <a:rPr lang="fr-FR" sz="2000" dirty="0">
                <a:solidFill>
                  <a:prstClr val="black"/>
                </a:solidFill>
                <a:latin typeface="Calibri" panose="020F0502020204030204"/>
              </a:rPr>
              <a:t>Structure juridique non conforme aux normes internationales </a:t>
            </a:r>
          </a:p>
        </p:txBody>
      </p:sp>
      <p:sp>
        <p:nvSpPr>
          <p:cNvPr id="41" name="TextBox 40"/>
          <p:cNvSpPr txBox="1"/>
          <p:nvPr/>
        </p:nvSpPr>
        <p:spPr>
          <a:xfrm>
            <a:off x="1266064" y="396801"/>
            <a:ext cx="2654824" cy="1938992"/>
          </a:xfrm>
          <a:prstGeom prst="rect">
            <a:avLst/>
          </a:prstGeom>
          <a:noFill/>
        </p:spPr>
        <p:txBody>
          <a:bodyPr wrap="square" rtlCol="0">
            <a:spAutoFit/>
          </a:bodyPr>
          <a:lstStyle/>
          <a:p>
            <a:pPr algn="ctr"/>
            <a:r>
              <a:rPr lang="fr-FR" sz="2000" dirty="0">
                <a:solidFill>
                  <a:prstClr val="black"/>
                </a:solidFill>
                <a:latin typeface="Calibri" panose="020F0502020204030204"/>
              </a:rPr>
              <a:t>Structure médicolégale inappropriée : absence de procédure de traitement ou d’archivage des preuves </a:t>
            </a:r>
          </a:p>
          <a:p>
            <a:pPr algn="ctr"/>
            <a:endParaRPr lang="en-GB" sz="2000" dirty="0">
              <a:solidFill>
                <a:prstClr val="black"/>
              </a:solidFill>
              <a:latin typeface="Calibri" panose="020F0502020204030204"/>
            </a:endParaRPr>
          </a:p>
        </p:txBody>
      </p:sp>
      <p:sp>
        <p:nvSpPr>
          <p:cNvPr id="42" name="TextBox 41"/>
          <p:cNvSpPr txBox="1"/>
          <p:nvPr/>
        </p:nvSpPr>
        <p:spPr>
          <a:xfrm>
            <a:off x="532958" y="4541829"/>
            <a:ext cx="2425669" cy="1631216"/>
          </a:xfrm>
          <a:prstGeom prst="rect">
            <a:avLst/>
          </a:prstGeom>
          <a:noFill/>
        </p:spPr>
        <p:txBody>
          <a:bodyPr wrap="square" rtlCol="0">
            <a:spAutoFit/>
          </a:bodyPr>
          <a:lstStyle/>
          <a:p>
            <a:pPr algn="ctr"/>
            <a:r>
              <a:rPr lang="fr-FR" sz="2000" dirty="0">
                <a:solidFill>
                  <a:prstClr val="black"/>
                </a:solidFill>
                <a:latin typeface="Calibri" panose="020F0502020204030204"/>
              </a:rPr>
              <a:t>Absence de la documentation requise pour établir des rapports ; statut migratoire irrégulier</a:t>
            </a:r>
          </a:p>
        </p:txBody>
      </p:sp>
      <p:sp>
        <p:nvSpPr>
          <p:cNvPr id="43" name="TextBox 42"/>
          <p:cNvSpPr txBox="1"/>
          <p:nvPr/>
        </p:nvSpPr>
        <p:spPr>
          <a:xfrm>
            <a:off x="3485014" y="4571687"/>
            <a:ext cx="1267934" cy="1015663"/>
          </a:xfrm>
          <a:prstGeom prst="rect">
            <a:avLst/>
          </a:prstGeom>
          <a:noFill/>
        </p:spPr>
        <p:txBody>
          <a:bodyPr wrap="square" rtlCol="0">
            <a:spAutoFit/>
          </a:bodyPr>
          <a:lstStyle/>
          <a:p>
            <a:pPr algn="ctr"/>
            <a:r>
              <a:rPr lang="fr-FR" sz="2000" dirty="0">
                <a:solidFill>
                  <a:prstClr val="black"/>
                </a:solidFill>
                <a:latin typeface="Calibri" panose="020F0502020204030204"/>
              </a:rPr>
              <a:t>Peur d’un surcroît de violence</a:t>
            </a:r>
          </a:p>
        </p:txBody>
      </p:sp>
      <p:sp>
        <p:nvSpPr>
          <p:cNvPr id="5" name="Rectangle 4"/>
          <p:cNvSpPr/>
          <p:nvPr/>
        </p:nvSpPr>
        <p:spPr>
          <a:xfrm>
            <a:off x="7811873" y="5535956"/>
            <a:ext cx="3621857" cy="1323439"/>
          </a:xfrm>
          <a:prstGeom prst="rect">
            <a:avLst/>
          </a:prstGeom>
        </p:spPr>
        <p:txBody>
          <a:bodyPr wrap="square">
            <a:spAutoFit/>
          </a:bodyPr>
          <a:lstStyle/>
          <a:p>
            <a:pPr algn="ctr"/>
            <a:r>
              <a:rPr lang="fr-FR" sz="2000" dirty="0">
                <a:solidFill>
                  <a:prstClr val="black"/>
                </a:solidFill>
                <a:latin typeface="Calibri" panose="020F0502020204030204"/>
              </a:rPr>
              <a:t>Méconnaissance des survivants éventuels ; existence de lois entraînant des répercussions pour les survivants eux-mêmes </a:t>
            </a:r>
          </a:p>
        </p:txBody>
      </p:sp>
      <p:sp>
        <p:nvSpPr>
          <p:cNvPr id="48" name="TextBox 47"/>
          <p:cNvSpPr txBox="1"/>
          <p:nvPr/>
        </p:nvSpPr>
        <p:spPr>
          <a:xfrm>
            <a:off x="6952713" y="3984088"/>
            <a:ext cx="1267934" cy="707886"/>
          </a:xfrm>
          <a:prstGeom prst="rect">
            <a:avLst/>
          </a:prstGeom>
          <a:noFill/>
        </p:spPr>
        <p:txBody>
          <a:bodyPr wrap="square" rtlCol="0">
            <a:spAutoFit/>
          </a:bodyPr>
          <a:lstStyle/>
          <a:p>
            <a:pPr algn="ctr"/>
            <a:r>
              <a:rPr lang="fr-FR" sz="2000" dirty="0">
                <a:solidFill>
                  <a:prstClr val="black"/>
                </a:solidFill>
                <a:latin typeface="Calibri" panose="020F0502020204030204"/>
              </a:rPr>
              <a:t>Peur de la détention</a:t>
            </a:r>
          </a:p>
        </p:txBody>
      </p:sp>
      <p:sp>
        <p:nvSpPr>
          <p:cNvPr id="47" name="Rectangle 46">
            <a:extLst>
              <a:ext uri="{FF2B5EF4-FFF2-40B4-BE49-F238E27FC236}">
                <a16:creationId xmlns:a16="http://schemas.microsoft.com/office/drawing/2014/main" id="{3EC1BA58-0C2B-41AF-870C-15FE6262B879}"/>
              </a:ext>
            </a:extLst>
          </p:cNvPr>
          <p:cNvSpPr/>
          <p:nvPr/>
        </p:nvSpPr>
        <p:spPr>
          <a:xfrm>
            <a:off x="4839762" y="5265699"/>
            <a:ext cx="2483594" cy="1323439"/>
          </a:xfrm>
          <a:prstGeom prst="rect">
            <a:avLst/>
          </a:prstGeom>
        </p:spPr>
        <p:txBody>
          <a:bodyPr wrap="square">
            <a:spAutoFit/>
          </a:bodyPr>
          <a:lstStyle/>
          <a:p>
            <a:pPr algn="ctr"/>
            <a:r>
              <a:rPr lang="fr-FR" sz="2000" dirty="0">
                <a:solidFill>
                  <a:srgbClr val="000000"/>
                </a:solidFill>
                <a:ea typeface="Times New Roman" panose="02020603050405020304" pitchFamily="18" charset="0"/>
              </a:rPr>
              <a:t>Existence d’exigences de signalement obligatoire (légales ou pratiques) </a:t>
            </a:r>
          </a:p>
        </p:txBody>
      </p:sp>
      <p:sp>
        <p:nvSpPr>
          <p:cNvPr id="34" name="Rectangle 33">
            <a:extLst>
              <a:ext uri="{FF2B5EF4-FFF2-40B4-BE49-F238E27FC236}">
                <a16:creationId xmlns:a16="http://schemas.microsoft.com/office/drawing/2014/main" id="{EF455051-28CF-44D2-89EC-F53827CEB51D}"/>
              </a:ext>
            </a:extLst>
          </p:cNvPr>
          <p:cNvSpPr/>
          <p:nvPr/>
        </p:nvSpPr>
        <p:spPr>
          <a:xfrm>
            <a:off x="0" y="0"/>
            <a:ext cx="628650" cy="6858000"/>
          </a:xfrm>
          <a:prstGeom prst="rect">
            <a:avLst/>
          </a:prstGeom>
          <a:solidFill>
            <a:srgbClr val="005BA4"/>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US" dirty="0"/>
          </a:p>
          <a:p>
            <a:pPr algn="ctr"/>
            <a:endParaRPr lang="fr-CH" dirty="0"/>
          </a:p>
        </p:txBody>
      </p:sp>
      <p:sp>
        <p:nvSpPr>
          <p:cNvPr id="35" name="TextBox 34">
            <a:extLst>
              <a:ext uri="{FF2B5EF4-FFF2-40B4-BE49-F238E27FC236}">
                <a16:creationId xmlns:a16="http://schemas.microsoft.com/office/drawing/2014/main" id="{18F1B0C7-64AE-4E1F-B01C-C84F37800B29}"/>
              </a:ext>
            </a:extLst>
          </p:cNvPr>
          <p:cNvSpPr txBox="1"/>
          <p:nvPr/>
        </p:nvSpPr>
        <p:spPr>
          <a:xfrm>
            <a:off x="83492" y="5079184"/>
            <a:ext cx="461665" cy="1493294"/>
          </a:xfrm>
          <a:prstGeom prst="rect">
            <a:avLst/>
          </a:prstGeom>
          <a:noFill/>
        </p:spPr>
        <p:txBody>
          <a:bodyPr vert="vert270" wrap="none" rtlCol="0">
            <a:spAutoFit/>
          </a:bodyPr>
          <a:lstStyle/>
          <a:p>
            <a:r>
              <a:rPr lang="fr-FR" dirty="0">
                <a:solidFill>
                  <a:schemeClr val="bg1"/>
                </a:solidFill>
              </a:rPr>
              <a:t>Cours H.E.L.P. </a:t>
            </a:r>
          </a:p>
        </p:txBody>
      </p:sp>
    </p:spTree>
    <p:extLst>
      <p:ext uri="{BB962C8B-B14F-4D97-AF65-F5344CB8AC3E}">
        <p14:creationId xmlns:p14="http://schemas.microsoft.com/office/powerpoint/2010/main" val="41044882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5"/>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4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p:bldP spid="40" grpId="0"/>
      <p:bldP spid="41" grpId="0"/>
      <p:bldP spid="42" grpId="0"/>
      <p:bldP spid="43" grpId="0"/>
      <p:bldP spid="5" grpId="0"/>
      <p:bldP spid="48" grpId="0"/>
      <p:bldP spid="47" grpId="0"/>
    </p:bld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4D7568"/>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02B4A51-CBAC-4580-914E-4010F4F85ED6}"/>
              </a:ext>
            </a:extLst>
          </p:cNvPr>
          <p:cNvPicPr>
            <a:picLocks noChangeAspect="1"/>
          </p:cNvPicPr>
          <p:nvPr/>
        </p:nvPicPr>
        <p:blipFill>
          <a:blip r:embed="rId3" cstate="email">
            <a:biLevel thresh="75000"/>
            <a:extLst>
              <a:ext uri="{28A0092B-C50C-407E-A947-70E740481C1C}">
                <a14:useLocalDpi xmlns:a14="http://schemas.microsoft.com/office/drawing/2010/main"/>
              </a:ext>
            </a:extLst>
          </a:blip>
          <a:stretch>
            <a:fillRect/>
          </a:stretch>
        </p:blipFill>
        <p:spPr>
          <a:xfrm>
            <a:off x="5380963" y="744669"/>
            <a:ext cx="1297342" cy="1683947"/>
          </a:xfrm>
          <a:prstGeom prst="rect">
            <a:avLst/>
          </a:prstGeom>
        </p:spPr>
      </p:pic>
      <p:pic>
        <p:nvPicPr>
          <p:cNvPr id="5" name="Picture 4">
            <a:extLst>
              <a:ext uri="{FF2B5EF4-FFF2-40B4-BE49-F238E27FC236}">
                <a16:creationId xmlns:a16="http://schemas.microsoft.com/office/drawing/2014/main" id="{A97A7A74-1B40-45FF-9AC5-96839BE2589E}"/>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700269" y="4399631"/>
            <a:ext cx="1534193" cy="2162764"/>
          </a:xfrm>
          <a:prstGeom prst="rect">
            <a:avLst/>
          </a:prstGeom>
          <a:ln w="9525" cap="sq">
            <a:solidFill>
              <a:srgbClr val="000000"/>
            </a:solidFill>
            <a:prstDash val="solid"/>
            <a:miter lim="800000"/>
          </a:ln>
          <a:effectLst>
            <a:outerShdw blurRad="50800" dist="38100" dir="2700000" algn="tl" rotWithShape="0">
              <a:srgbClr val="000000">
                <a:alpha val="43000"/>
              </a:srgbClr>
            </a:outerShdw>
          </a:effectLst>
        </p:spPr>
      </p:pic>
      <p:sp>
        <p:nvSpPr>
          <p:cNvPr id="8" name="Speech Bubble: Rectangle with Corners Rounded 7">
            <a:extLst>
              <a:ext uri="{FF2B5EF4-FFF2-40B4-BE49-F238E27FC236}">
                <a16:creationId xmlns:a16="http://schemas.microsoft.com/office/drawing/2014/main" id="{27002FAB-94BF-466E-B352-A80770DAF4E8}"/>
              </a:ext>
            </a:extLst>
          </p:cNvPr>
          <p:cNvSpPr/>
          <p:nvPr/>
        </p:nvSpPr>
        <p:spPr>
          <a:xfrm>
            <a:off x="816077" y="1034819"/>
            <a:ext cx="2802196" cy="1634490"/>
          </a:xfrm>
          <a:prstGeom prst="wedgeRoundRectCallout">
            <a:avLst>
              <a:gd name="adj1" fmla="val 118604"/>
              <a:gd name="adj2" fmla="val -18986"/>
              <a:gd name="adj3" fmla="val 16667"/>
            </a:avLst>
          </a:prstGeom>
          <a:solidFill>
            <a:srgbClr val="78A39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0" marR="0" lvl="0" indent="0" algn="ctr" defTabSz="609630" rtl="0" eaLnBrk="1" fontAlgn="auto" latinLnBrk="0" hangingPunct="1">
              <a:lnSpc>
                <a:spcPct val="100000"/>
              </a:lnSpc>
              <a:spcBef>
                <a:spcPts val="0"/>
              </a:spcBef>
              <a:spcAft>
                <a:spcPts val="0"/>
              </a:spcAft>
              <a:buClrTx/>
              <a:buSzTx/>
              <a:buFontTx/>
              <a:buNone/>
              <a:tabLst/>
              <a:defRPr/>
            </a:pPr>
            <a:r>
              <a:rPr kumimoji="0" lang="fr-FR" sz="1800" b="1" i="0" u="none" strike="noStrike" cap="none" normalizeH="0" baseline="0" noProof="0" dirty="0">
                <a:ln>
                  <a:noFill/>
                </a:ln>
                <a:solidFill>
                  <a:prstClr val="white"/>
                </a:solidFill>
                <a:effectLst/>
                <a:uLnTx/>
                <a:uFillTx/>
                <a:latin typeface="IBM Plex Sans Condensed Thin Bold" panose="020B0604020202020204" charset="0"/>
                <a:ea typeface="+mn-ea"/>
                <a:cs typeface="IBM Plex Sans Condensed Thin Bold" panose="020B0604020202020204" charset="0"/>
              </a:rPr>
              <a:t>Que peut-il arriver si nous agissons de manière discriminatoire au cours de la divulgation d’un acte de violence sexuelle ?</a:t>
            </a:r>
          </a:p>
        </p:txBody>
      </p:sp>
      <p:sp>
        <p:nvSpPr>
          <p:cNvPr id="9" name="Speech Bubble: Rectangle with Corners Rounded 8">
            <a:extLst>
              <a:ext uri="{FF2B5EF4-FFF2-40B4-BE49-F238E27FC236}">
                <a16:creationId xmlns:a16="http://schemas.microsoft.com/office/drawing/2014/main" id="{51B1EB06-D585-4F60-8E83-9E0B37B3F605}"/>
              </a:ext>
            </a:extLst>
          </p:cNvPr>
          <p:cNvSpPr/>
          <p:nvPr/>
        </p:nvSpPr>
        <p:spPr>
          <a:xfrm>
            <a:off x="8440995" y="1042621"/>
            <a:ext cx="3313196" cy="1328023"/>
          </a:xfrm>
          <a:prstGeom prst="wedgeRoundRectCallout">
            <a:avLst>
              <a:gd name="adj1" fmla="val -111975"/>
              <a:gd name="adj2" fmla="val -16624"/>
              <a:gd name="adj3" fmla="val 16667"/>
            </a:avLst>
          </a:prstGeom>
          <a:solidFill>
            <a:srgbClr val="78A39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ctr" defTabSz="609630" rtl="0" eaLnBrk="1" fontAlgn="auto" latinLnBrk="0" hangingPunct="1">
              <a:lnSpc>
                <a:spcPct val="100000"/>
              </a:lnSpc>
              <a:spcBef>
                <a:spcPts val="0"/>
              </a:spcBef>
              <a:spcAft>
                <a:spcPts val="0"/>
              </a:spcAft>
              <a:buClrTx/>
              <a:buSzTx/>
              <a:buFontTx/>
              <a:buNone/>
              <a:tabLst/>
              <a:defRPr/>
            </a:pPr>
            <a:r>
              <a:rPr kumimoji="0" lang="fr-FR" sz="1800" b="1" i="0" u="none" strike="noStrike" cap="none" normalizeH="0" baseline="0" noProof="0" dirty="0">
                <a:ln>
                  <a:noFill/>
                </a:ln>
                <a:solidFill>
                  <a:prstClr val="white"/>
                </a:solidFill>
                <a:effectLst/>
                <a:uLnTx/>
                <a:uFillTx/>
                <a:latin typeface="IBM Plex Sans Condensed Thin Bold" panose="020B0604020202020204" charset="0"/>
                <a:ea typeface="+mn-ea"/>
                <a:cs typeface="IBM Plex Sans Condensed Thin Bold" panose="020B0604020202020204" charset="0"/>
              </a:rPr>
              <a:t>Que peut-il arriver si nous omettons de fournir des informations et/ou d’en référer à des services ?</a:t>
            </a:r>
          </a:p>
        </p:txBody>
      </p:sp>
      <p:sp>
        <p:nvSpPr>
          <p:cNvPr id="10" name="Rectangle: Rounded Corners 9">
            <a:extLst>
              <a:ext uri="{FF2B5EF4-FFF2-40B4-BE49-F238E27FC236}">
                <a16:creationId xmlns:a16="http://schemas.microsoft.com/office/drawing/2014/main" id="{C28830C3-F2B8-4F68-9536-5A5B5FAF71DC}"/>
              </a:ext>
            </a:extLst>
          </p:cNvPr>
          <p:cNvSpPr/>
          <p:nvPr/>
        </p:nvSpPr>
        <p:spPr>
          <a:xfrm>
            <a:off x="816077" y="2969342"/>
            <a:ext cx="2802196" cy="3578942"/>
          </a:xfrm>
          <a:prstGeom prst="roundRect">
            <a:avLst/>
          </a:prstGeom>
          <a:solidFill>
            <a:srgbClr val="78A39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64" marR="0" lvl="0" indent="-285764" algn="l" defTabSz="60963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800" b="0" i="0" u="none" strike="noStrike" cap="none" normalizeH="0" baseline="0" noProof="0" dirty="0">
                <a:ln>
                  <a:noFill/>
                </a:ln>
                <a:solidFill>
                  <a:prstClr val="white"/>
                </a:solidFill>
                <a:effectLst/>
                <a:uLnTx/>
                <a:uFillTx/>
                <a:latin typeface="IBM Plex Sans Condensed Thin Bold" panose="020B0604020202020204" charset="0"/>
                <a:ea typeface="+mn-ea"/>
                <a:cs typeface="IBM Plex Sans Condensed Thin Bold" panose="020B0604020202020204" charset="0"/>
              </a:rPr>
              <a:t>Aggravation du traumatisme ou de la stigmatisation</a:t>
            </a:r>
          </a:p>
          <a:p>
            <a:pPr marL="285764" marR="0" lvl="0" indent="-285764" algn="l" defTabSz="60963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800" b="0" i="0" u="none" strike="noStrike" cap="none" normalizeH="0" baseline="0" noProof="0" dirty="0">
                <a:ln>
                  <a:noFill/>
                </a:ln>
                <a:solidFill>
                  <a:prstClr val="white"/>
                </a:solidFill>
                <a:effectLst/>
                <a:uLnTx/>
                <a:uFillTx/>
                <a:latin typeface="IBM Plex Sans Condensed Thin Bold" panose="020B0604020202020204" charset="0"/>
                <a:ea typeface="+mn-ea"/>
                <a:cs typeface="IBM Plex Sans Condensed Thin Bold" panose="020B0604020202020204" charset="0"/>
              </a:rPr>
              <a:t>Découragement des victimes à demander des soins</a:t>
            </a:r>
          </a:p>
          <a:p>
            <a:pPr marL="285764" marR="0" lvl="0" indent="-285764" algn="l" defTabSz="60963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800" b="0" i="0" u="none" strike="noStrike" cap="none" normalizeH="0" baseline="0" noProof="0" dirty="0">
                <a:ln>
                  <a:noFill/>
                </a:ln>
                <a:solidFill>
                  <a:prstClr val="white"/>
                </a:solidFill>
                <a:effectLst/>
                <a:uLnTx/>
                <a:uFillTx/>
                <a:latin typeface="IBM Plex Sans Condensed Thin Bold" panose="020B0604020202020204" charset="0"/>
                <a:ea typeface="+mn-ea"/>
                <a:cs typeface="IBM Plex Sans Condensed Thin Bold" panose="020B0604020202020204" charset="0"/>
              </a:rPr>
              <a:t>Atteinte à la réputation du CICR</a:t>
            </a:r>
          </a:p>
          <a:p>
            <a:pPr marL="285764" marR="0" lvl="0" indent="-285764" algn="l" defTabSz="60963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800" b="0" i="0" u="none" strike="noStrike" cap="none" normalizeH="0" baseline="0" noProof="0" dirty="0">
                <a:ln>
                  <a:noFill/>
                </a:ln>
                <a:solidFill>
                  <a:prstClr val="white"/>
                </a:solidFill>
                <a:effectLst/>
                <a:uLnTx/>
                <a:uFillTx/>
                <a:latin typeface="IBM Plex Sans Condensed Thin Bold" panose="020B0604020202020204" charset="0"/>
                <a:ea typeface="+mn-ea"/>
                <a:cs typeface="IBM Plex Sans Condensed Thin Bold" panose="020B0604020202020204" charset="0"/>
              </a:rPr>
              <a:t>Sentiment de la culpabilité du membre du personnel</a:t>
            </a:r>
          </a:p>
        </p:txBody>
      </p:sp>
      <p:sp>
        <p:nvSpPr>
          <p:cNvPr id="11" name="Rectangle: Rounded Corners 10">
            <a:extLst>
              <a:ext uri="{FF2B5EF4-FFF2-40B4-BE49-F238E27FC236}">
                <a16:creationId xmlns:a16="http://schemas.microsoft.com/office/drawing/2014/main" id="{AA564009-744E-469A-B3DE-28598872850C}"/>
              </a:ext>
            </a:extLst>
          </p:cNvPr>
          <p:cNvSpPr/>
          <p:nvPr/>
        </p:nvSpPr>
        <p:spPr>
          <a:xfrm>
            <a:off x="8440995" y="2620064"/>
            <a:ext cx="3313197" cy="4277499"/>
          </a:xfrm>
          <a:prstGeom prst="roundRect">
            <a:avLst/>
          </a:prstGeom>
          <a:solidFill>
            <a:srgbClr val="78A39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285764" marR="0" lvl="0" indent="-285764" algn="just" defTabSz="60963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800" b="0" i="0" u="none" strike="noStrike" cap="none" normalizeH="0" baseline="0" noProof="0" dirty="0">
                <a:ln>
                  <a:noFill/>
                </a:ln>
                <a:solidFill>
                  <a:prstClr val="white"/>
                </a:solidFill>
                <a:effectLst/>
                <a:uLnTx/>
                <a:uFillTx/>
                <a:latin typeface="IBM Plex Sans Condensed Thin Bold" panose="020B0604020202020204" charset="0"/>
                <a:ea typeface="+mn-ea"/>
                <a:cs typeface="IBM Plex Sans Condensed Thin Bold" panose="020B0604020202020204" charset="0"/>
              </a:rPr>
              <a:t>Aggravations des préjudices</a:t>
            </a:r>
          </a:p>
          <a:p>
            <a:pPr marL="285764" marR="0" lvl="0" indent="-285764" algn="l" defTabSz="60963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800" b="0" i="0" u="none" strike="noStrike" cap="none" normalizeH="0" baseline="0" noProof="0" dirty="0">
                <a:ln>
                  <a:noFill/>
                </a:ln>
                <a:solidFill>
                  <a:prstClr val="white"/>
                </a:solidFill>
                <a:effectLst/>
                <a:uLnTx/>
                <a:uFillTx/>
                <a:latin typeface="IBM Plex Sans Condensed Thin Bold" panose="020B0604020202020204" charset="0"/>
                <a:ea typeface="+mn-ea"/>
                <a:cs typeface="IBM Plex Sans Condensed Thin Bold" panose="020B0604020202020204" charset="0"/>
              </a:rPr>
              <a:t>La victime / personne survivante peut avoir le sentiment qu’elle ne mérite pas d’être aidée</a:t>
            </a:r>
          </a:p>
          <a:p>
            <a:pPr marL="285764" marR="0" lvl="0" indent="-285764" algn="l" defTabSz="60963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800" b="0" i="0" u="none" strike="noStrike" cap="none" normalizeH="0" baseline="0" noProof="0" dirty="0">
                <a:ln>
                  <a:noFill/>
                </a:ln>
                <a:solidFill>
                  <a:prstClr val="white"/>
                </a:solidFill>
                <a:effectLst/>
                <a:uLnTx/>
                <a:uFillTx/>
                <a:latin typeface="IBM Plex Sans Condensed Thin Bold" panose="020B0604020202020204" charset="0"/>
                <a:ea typeface="+mn-ea"/>
                <a:cs typeface="IBM Plex Sans Condensed Thin Bold" panose="020B0604020202020204" charset="0"/>
              </a:rPr>
              <a:t>Aggravation du sentiment de culpabilité des victimes</a:t>
            </a:r>
          </a:p>
          <a:p>
            <a:pPr marL="285764" marR="0" lvl="0" indent="-285764" algn="l" defTabSz="60963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800" b="0" i="0" u="none" strike="noStrike" cap="none" normalizeH="0" baseline="0" noProof="0" dirty="0">
                <a:ln>
                  <a:noFill/>
                </a:ln>
                <a:solidFill>
                  <a:prstClr val="white"/>
                </a:solidFill>
                <a:effectLst/>
                <a:uLnTx/>
                <a:uFillTx/>
                <a:latin typeface="IBM Plex Sans Condensed Thin Bold" panose="020B0604020202020204" charset="0"/>
                <a:ea typeface="+mn-ea"/>
                <a:cs typeface="IBM Plex Sans Condensed Thin Bold" panose="020B0604020202020204" charset="0"/>
              </a:rPr>
              <a:t>Découragement des victimes à demander des soins</a:t>
            </a:r>
          </a:p>
          <a:p>
            <a:pPr marL="285764" marR="0" lvl="0" indent="-285764" algn="l" defTabSz="60963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800" b="0" i="0" u="none" strike="noStrike" cap="none" normalizeH="0" baseline="0" noProof="0" dirty="0">
                <a:ln>
                  <a:noFill/>
                </a:ln>
                <a:solidFill>
                  <a:prstClr val="white"/>
                </a:solidFill>
                <a:effectLst/>
                <a:uLnTx/>
                <a:uFillTx/>
                <a:latin typeface="IBM Plex Sans Condensed Thin Bold" panose="020B0604020202020204" charset="0"/>
                <a:ea typeface="+mn-ea"/>
                <a:cs typeface="IBM Plex Sans Condensed Thin Bold" panose="020B0604020202020204" charset="0"/>
              </a:rPr>
              <a:t>Atteinte à la réputation du CICR</a:t>
            </a:r>
          </a:p>
          <a:p>
            <a:pPr marL="285764" marR="0" lvl="0" indent="-285764" algn="l" defTabSz="60963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800" b="0" i="0" u="none" strike="noStrike" cap="none" normalizeH="0" baseline="0" noProof="0" dirty="0">
                <a:ln>
                  <a:noFill/>
                </a:ln>
                <a:solidFill>
                  <a:prstClr val="white"/>
                </a:solidFill>
                <a:effectLst/>
                <a:uLnTx/>
                <a:uFillTx/>
                <a:latin typeface="IBM Plex Sans Condensed Thin Bold" panose="020B0604020202020204" charset="0"/>
                <a:ea typeface="+mn-ea"/>
                <a:cs typeface="IBM Plex Sans Condensed Thin Bold" panose="020B0604020202020204" charset="0"/>
              </a:rPr>
              <a:t>Sentiment de la culpabilité du membre du personnel</a:t>
            </a:r>
          </a:p>
        </p:txBody>
      </p:sp>
      <p:sp>
        <p:nvSpPr>
          <p:cNvPr id="12" name="Oval 11">
            <a:extLst>
              <a:ext uri="{FF2B5EF4-FFF2-40B4-BE49-F238E27FC236}">
                <a16:creationId xmlns:a16="http://schemas.microsoft.com/office/drawing/2014/main" id="{9672FE2F-476A-413C-B1C1-F3BE36F0BFF9}"/>
              </a:ext>
            </a:extLst>
          </p:cNvPr>
          <p:cNvSpPr/>
          <p:nvPr/>
        </p:nvSpPr>
        <p:spPr>
          <a:xfrm>
            <a:off x="4230729" y="2505185"/>
            <a:ext cx="3738591" cy="1725922"/>
          </a:xfrm>
          <a:prstGeom prst="ellipse">
            <a:avLst/>
          </a:prstGeom>
          <a:solidFill>
            <a:srgbClr val="CAD4C1"/>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630" rtl="0" eaLnBrk="1" fontAlgn="auto" latinLnBrk="0" hangingPunct="1">
              <a:lnSpc>
                <a:spcPct val="100000"/>
              </a:lnSpc>
              <a:spcBef>
                <a:spcPts val="0"/>
              </a:spcBef>
              <a:spcAft>
                <a:spcPts val="0"/>
              </a:spcAft>
              <a:buClrTx/>
              <a:buSzTx/>
              <a:buFontTx/>
              <a:buNone/>
              <a:tabLst/>
              <a:defRPr/>
            </a:pPr>
            <a:r>
              <a:rPr kumimoji="0" lang="fr-FR" sz="2400" b="1" i="0" u="none" strike="noStrike" cap="none" normalizeH="0" baseline="0" noProof="0" dirty="0">
                <a:ln>
                  <a:noFill/>
                </a:ln>
                <a:solidFill>
                  <a:prstClr val="black"/>
                </a:solidFill>
                <a:effectLst/>
                <a:uLnTx/>
                <a:uFillTx/>
                <a:latin typeface="IBM Plex Sans Condensed Thin Bold" panose="020B0604020202020204" charset="0"/>
                <a:ea typeface="+mn-ea"/>
                <a:cs typeface="IBM Plex Sans Condensed Thin Bold" panose="020B0604020202020204" charset="0"/>
              </a:rPr>
              <a:t>La meilleure approche suivant le principe « ne pas nuire » consiste à se préparer ! </a:t>
            </a:r>
          </a:p>
        </p:txBody>
      </p:sp>
      <p:cxnSp>
        <p:nvCxnSpPr>
          <p:cNvPr id="14" name="Straight Connector 13">
            <a:extLst>
              <a:ext uri="{FF2B5EF4-FFF2-40B4-BE49-F238E27FC236}">
                <a16:creationId xmlns:a16="http://schemas.microsoft.com/office/drawing/2014/main" id="{67B5634E-1200-48F9-8719-760002D8E2B1}"/>
              </a:ext>
            </a:extLst>
          </p:cNvPr>
          <p:cNvCxnSpPr>
            <a:stCxn id="8" idx="2"/>
            <a:endCxn id="10" idx="0"/>
          </p:cNvCxnSpPr>
          <p:nvPr/>
        </p:nvCxnSpPr>
        <p:spPr>
          <a:xfrm>
            <a:off x="2217175" y="2669309"/>
            <a:ext cx="0" cy="300033"/>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4D67914A-A491-4BE5-BA83-AAD6DD86A21E}"/>
              </a:ext>
            </a:extLst>
          </p:cNvPr>
          <p:cNvCxnSpPr/>
          <p:nvPr/>
        </p:nvCxnSpPr>
        <p:spPr>
          <a:xfrm>
            <a:off x="9861758" y="2472604"/>
            <a:ext cx="0" cy="49293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16" name="Arc 15">
            <a:extLst>
              <a:ext uri="{FF2B5EF4-FFF2-40B4-BE49-F238E27FC236}">
                <a16:creationId xmlns:a16="http://schemas.microsoft.com/office/drawing/2014/main" id="{D3114D4C-DA4A-4602-97CA-FB7D066E5AF6}"/>
              </a:ext>
            </a:extLst>
          </p:cNvPr>
          <p:cNvSpPr/>
          <p:nvPr/>
        </p:nvSpPr>
        <p:spPr>
          <a:xfrm rot="17011131">
            <a:off x="3199258" y="3824124"/>
            <a:ext cx="1598454" cy="734732"/>
          </a:xfrm>
          <a:prstGeom prst="arc">
            <a:avLst/>
          </a:prstGeom>
          <a:ln w="28575">
            <a:solidFill>
              <a:srgbClr val="FF0000"/>
            </a:solidFill>
            <a:tailEnd type="stealt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0963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IBM Plex Sans Condensed Thin Bold" panose="020B0604020202020204" charset="0"/>
              <a:ea typeface="+mn-ea"/>
              <a:cs typeface="IBM Plex Sans Condensed Thin Bold" panose="020B0604020202020204" charset="0"/>
            </a:endParaRPr>
          </a:p>
        </p:txBody>
      </p:sp>
      <p:sp>
        <p:nvSpPr>
          <p:cNvPr id="17" name="Arc 16">
            <a:extLst>
              <a:ext uri="{FF2B5EF4-FFF2-40B4-BE49-F238E27FC236}">
                <a16:creationId xmlns:a16="http://schemas.microsoft.com/office/drawing/2014/main" id="{7F408890-50E6-4D02-B541-775B5728E8F8}"/>
              </a:ext>
            </a:extLst>
          </p:cNvPr>
          <p:cNvSpPr/>
          <p:nvPr/>
        </p:nvSpPr>
        <p:spPr>
          <a:xfrm rot="16200000" flipV="1">
            <a:off x="7171713" y="3490092"/>
            <a:ext cx="1378245" cy="1138392"/>
          </a:xfrm>
          <a:prstGeom prst="arc">
            <a:avLst/>
          </a:prstGeom>
          <a:ln w="28575">
            <a:solidFill>
              <a:srgbClr val="FF0000"/>
            </a:solidFill>
            <a:tailEnd type="stealt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0963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IBM Plex Sans Condensed Thin Bold" panose="020B0604020202020204" charset="0"/>
              <a:ea typeface="+mn-ea"/>
              <a:cs typeface="IBM Plex Sans Condensed Thin Bold" panose="020B0604020202020204" charset="0"/>
            </a:endParaRPr>
          </a:p>
        </p:txBody>
      </p:sp>
    </p:spTree>
    <p:extLst>
      <p:ext uri="{BB962C8B-B14F-4D97-AF65-F5344CB8AC3E}">
        <p14:creationId xmlns:p14="http://schemas.microsoft.com/office/powerpoint/2010/main" val="205247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7"/>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6"/>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6" grpId="0" animBg="1"/>
      <p:bldP spid="17"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DAF6F1-4881-422A-A252-EB7E318294E2}"/>
              </a:ext>
            </a:extLst>
          </p:cNvPr>
          <p:cNvSpPr>
            <a:spLocks noGrp="1"/>
          </p:cNvSpPr>
          <p:nvPr>
            <p:ph type="title"/>
          </p:nvPr>
        </p:nvSpPr>
        <p:spPr/>
        <p:txBody>
          <a:bodyPr/>
          <a:lstStyle/>
          <a:p>
            <a:r>
              <a:rPr lang="fr-FR" dirty="0"/>
              <a:t>Approche centrée sur les personnes survivantes</a:t>
            </a:r>
          </a:p>
        </p:txBody>
      </p:sp>
      <p:sp>
        <p:nvSpPr>
          <p:cNvPr id="3" name="Content Placeholder 2">
            <a:extLst>
              <a:ext uri="{FF2B5EF4-FFF2-40B4-BE49-F238E27FC236}">
                <a16:creationId xmlns:a16="http://schemas.microsoft.com/office/drawing/2014/main" id="{A38D1DA3-3C6D-4465-9FA0-9AF0BB380E11}"/>
              </a:ext>
            </a:extLst>
          </p:cNvPr>
          <p:cNvSpPr>
            <a:spLocks noGrp="1"/>
          </p:cNvSpPr>
          <p:nvPr>
            <p:ph idx="1"/>
          </p:nvPr>
        </p:nvSpPr>
        <p:spPr/>
        <p:txBody>
          <a:bodyPr/>
          <a:lstStyle/>
          <a:p>
            <a:pPr marL="457200" indent="-457200" algn="l">
              <a:buFont typeface="Arial" panose="020B0604020202020204" pitchFamily="34" charset="0"/>
              <a:buChar char="•"/>
            </a:pPr>
            <a:r>
              <a:rPr lang="fr-FR" dirty="0"/>
              <a:t>https://vimeo.com/423974094</a:t>
            </a:r>
          </a:p>
        </p:txBody>
      </p:sp>
    </p:spTree>
    <p:extLst>
      <p:ext uri="{BB962C8B-B14F-4D97-AF65-F5344CB8AC3E}">
        <p14:creationId xmlns:p14="http://schemas.microsoft.com/office/powerpoint/2010/main" val="175991771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43C5679-C071-453B-98DF-FD9208EB469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73044" y="141943"/>
            <a:ext cx="9295781" cy="6574114"/>
          </a:xfrm>
          <a:prstGeom prst="rect">
            <a:avLst/>
          </a:prstGeom>
        </p:spPr>
      </p:pic>
      <p:sp>
        <p:nvSpPr>
          <p:cNvPr id="5" name="Rectangle 4">
            <a:extLst>
              <a:ext uri="{FF2B5EF4-FFF2-40B4-BE49-F238E27FC236}">
                <a16:creationId xmlns:a16="http://schemas.microsoft.com/office/drawing/2014/main" id="{4EEE746F-6B65-4D4B-A00C-AE6C0A5560E3}"/>
              </a:ext>
            </a:extLst>
          </p:cNvPr>
          <p:cNvSpPr/>
          <p:nvPr/>
        </p:nvSpPr>
        <p:spPr>
          <a:xfrm>
            <a:off x="0" y="0"/>
            <a:ext cx="628650" cy="6858000"/>
          </a:xfrm>
          <a:prstGeom prst="rect">
            <a:avLst/>
          </a:prstGeom>
          <a:solidFill>
            <a:srgbClr val="005BA4"/>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US" dirty="0"/>
          </a:p>
          <a:p>
            <a:pPr algn="ctr"/>
            <a:endParaRPr lang="fr-CH" dirty="0"/>
          </a:p>
        </p:txBody>
      </p:sp>
      <p:sp>
        <p:nvSpPr>
          <p:cNvPr id="6" name="TextBox 5">
            <a:extLst>
              <a:ext uri="{FF2B5EF4-FFF2-40B4-BE49-F238E27FC236}">
                <a16:creationId xmlns:a16="http://schemas.microsoft.com/office/drawing/2014/main" id="{8980C324-D877-4DCE-8D27-D0663F499A3B}"/>
              </a:ext>
            </a:extLst>
          </p:cNvPr>
          <p:cNvSpPr txBox="1"/>
          <p:nvPr/>
        </p:nvSpPr>
        <p:spPr>
          <a:xfrm>
            <a:off x="83492" y="5079184"/>
            <a:ext cx="461665" cy="1493294"/>
          </a:xfrm>
          <a:prstGeom prst="rect">
            <a:avLst/>
          </a:prstGeom>
          <a:noFill/>
        </p:spPr>
        <p:txBody>
          <a:bodyPr vert="vert270" wrap="none" rtlCol="0">
            <a:spAutoFit/>
          </a:bodyPr>
          <a:lstStyle/>
          <a:p>
            <a:r>
              <a:rPr lang="fr-FR" dirty="0">
                <a:solidFill>
                  <a:schemeClr val="bg1"/>
                </a:solidFill>
              </a:rPr>
              <a:t>Cours H.E.L.P. </a:t>
            </a:r>
          </a:p>
        </p:txBody>
      </p:sp>
    </p:spTree>
    <p:extLst>
      <p:ext uri="{BB962C8B-B14F-4D97-AF65-F5344CB8AC3E}">
        <p14:creationId xmlns:p14="http://schemas.microsoft.com/office/powerpoint/2010/main" val="134293884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2" name="Group 2"/>
          <p:cNvGrpSpPr/>
          <p:nvPr/>
        </p:nvGrpSpPr>
        <p:grpSpPr>
          <a:xfrm rot="5400000">
            <a:off x="5776183" y="-5523082"/>
            <a:ext cx="623593" cy="12192000"/>
            <a:chOff x="0" y="0"/>
            <a:chExt cx="463973" cy="6186311"/>
          </a:xfrm>
        </p:grpSpPr>
        <p:sp>
          <p:nvSpPr>
            <p:cNvPr id="3" name="Freeform 3"/>
            <p:cNvSpPr/>
            <p:nvPr/>
          </p:nvSpPr>
          <p:spPr>
            <a:xfrm>
              <a:off x="0" y="0"/>
              <a:ext cx="463973" cy="6186311"/>
            </a:xfrm>
            <a:custGeom>
              <a:avLst/>
              <a:gdLst/>
              <a:ahLst/>
              <a:cxnLst/>
              <a:rect l="l" t="t" r="r" b="b"/>
              <a:pathLst>
                <a:path w="463973" h="6186311">
                  <a:moveTo>
                    <a:pt x="0" y="0"/>
                  </a:moveTo>
                  <a:lnTo>
                    <a:pt x="463973" y="0"/>
                  </a:lnTo>
                  <a:lnTo>
                    <a:pt x="463973" y="6186311"/>
                  </a:lnTo>
                  <a:lnTo>
                    <a:pt x="0" y="6186311"/>
                  </a:lnTo>
                  <a:close/>
                </a:path>
              </a:pathLst>
            </a:custGeom>
            <a:solidFill>
              <a:srgbClr val="4D7568"/>
            </a:solidFill>
          </p:spPr>
        </p:sp>
      </p:grpSp>
      <p:sp>
        <p:nvSpPr>
          <p:cNvPr id="14" name="TextBox 14"/>
          <p:cNvSpPr txBox="1"/>
          <p:nvPr/>
        </p:nvSpPr>
        <p:spPr>
          <a:xfrm>
            <a:off x="341424" y="261122"/>
            <a:ext cx="9971790" cy="523092"/>
          </a:xfrm>
          <a:prstGeom prst="rect">
            <a:avLst/>
          </a:prstGeom>
        </p:spPr>
        <p:txBody>
          <a:bodyPr lIns="0" tIns="0" rIns="0" bIns="0" rtlCol="0" anchor="t">
            <a:spAutoFit/>
          </a:bodyPr>
          <a:lstStyle/>
          <a:p>
            <a:pPr marL="0" marR="0" lvl="0" indent="0" algn="ctr" defTabSz="609630" rtl="0" eaLnBrk="1" fontAlgn="auto" latinLnBrk="0" hangingPunct="1">
              <a:lnSpc>
                <a:spcPts val="4534"/>
              </a:lnSpc>
              <a:spcBef>
                <a:spcPts val="0"/>
              </a:spcBef>
              <a:spcAft>
                <a:spcPts val="0"/>
              </a:spcAft>
              <a:buClrTx/>
              <a:buSzTx/>
              <a:buFontTx/>
              <a:buNone/>
              <a:tabLst/>
              <a:defRPr/>
            </a:pPr>
            <a:r>
              <a:rPr kumimoji="0" lang="fr-FR" sz="2667" b="0" i="0" u="none" strike="noStrike" cap="none" normalizeH="0" baseline="0" noProof="0" dirty="0">
                <a:ln>
                  <a:noFill/>
                </a:ln>
                <a:solidFill>
                  <a:srgbClr val="FFFFFF"/>
                </a:solidFill>
                <a:effectLst/>
                <a:uLnTx/>
                <a:uFillTx/>
                <a:latin typeface="IBM Plex Sans Bold"/>
                <a:ea typeface="+mn-ea"/>
                <a:cs typeface="+mn-cs"/>
              </a:rPr>
              <a:t>L’approche centrée sur les personnes survivantes</a:t>
            </a:r>
          </a:p>
        </p:txBody>
      </p:sp>
      <p:sp>
        <p:nvSpPr>
          <p:cNvPr id="7" name="TextBox 6">
            <a:extLst>
              <a:ext uri="{FF2B5EF4-FFF2-40B4-BE49-F238E27FC236}">
                <a16:creationId xmlns:a16="http://schemas.microsoft.com/office/drawing/2014/main" id="{BEEDF311-8A3C-47A9-89A0-A53A0DE774FD}"/>
              </a:ext>
            </a:extLst>
          </p:cNvPr>
          <p:cNvSpPr txBox="1"/>
          <p:nvPr/>
        </p:nvSpPr>
        <p:spPr>
          <a:xfrm>
            <a:off x="1117600" y="1041762"/>
            <a:ext cx="10820400" cy="748795"/>
          </a:xfrm>
          <a:prstGeom prst="rect">
            <a:avLst/>
          </a:prstGeom>
          <a:noFill/>
        </p:spPr>
        <p:txBody>
          <a:bodyPr wrap="square" rtlCol="0">
            <a:spAutoFit/>
          </a:bodyPr>
          <a:lstStyle/>
          <a:p>
            <a:pPr marL="0" marR="0" lvl="0" indent="0" algn="l" defTabSz="609630" rtl="0" eaLnBrk="1" fontAlgn="auto" latinLnBrk="0" hangingPunct="1">
              <a:lnSpc>
                <a:spcPct val="100000"/>
              </a:lnSpc>
              <a:spcBef>
                <a:spcPts val="0"/>
              </a:spcBef>
              <a:spcAft>
                <a:spcPts val="0"/>
              </a:spcAft>
              <a:buClrTx/>
              <a:buSzTx/>
              <a:buFontTx/>
              <a:buNone/>
              <a:tabLst/>
              <a:defRPr/>
            </a:pPr>
            <a:r>
              <a:rPr kumimoji="0" lang="fr-FR" sz="2133" b="1" i="1" u="none" strike="noStrike" cap="none" normalizeH="0" baseline="0" noProof="0" dirty="0">
                <a:ln>
                  <a:noFill/>
                </a:ln>
                <a:solidFill>
                  <a:srgbClr val="4D7568"/>
                </a:solidFill>
                <a:effectLst/>
                <a:uLnTx/>
                <a:uFillTx/>
                <a:latin typeface="Calibri Light" panose="020F0302020204030204"/>
                <a:ea typeface="+mn-ea"/>
                <a:cs typeface="+mn-cs"/>
              </a:rPr>
              <a:t>La façon dont nous réagissons et dont nous répondons à la violence sexuelle a un impact important sur les personnes survivantes. Notre comportement détermine si cet impact sera positif ou négatif. </a:t>
            </a:r>
          </a:p>
        </p:txBody>
      </p:sp>
      <p:sp>
        <p:nvSpPr>
          <p:cNvPr id="15" name="TextBox 14">
            <a:extLst>
              <a:ext uri="{FF2B5EF4-FFF2-40B4-BE49-F238E27FC236}">
                <a16:creationId xmlns:a16="http://schemas.microsoft.com/office/drawing/2014/main" id="{F87CD190-233B-4622-9D5E-2FB35A55A12B}"/>
              </a:ext>
            </a:extLst>
          </p:cNvPr>
          <p:cNvSpPr txBox="1"/>
          <p:nvPr/>
        </p:nvSpPr>
        <p:spPr>
          <a:xfrm>
            <a:off x="974039" y="2198710"/>
            <a:ext cx="10060754" cy="3785652"/>
          </a:xfrm>
          <a:prstGeom prst="rect">
            <a:avLst/>
          </a:prstGeom>
          <a:noFill/>
        </p:spPr>
        <p:txBody>
          <a:bodyPr wrap="square" rtlCol="0">
            <a:spAutoFit/>
          </a:bodyPr>
          <a:lstStyle/>
          <a:p>
            <a:pPr marL="0" marR="0" lvl="0" indent="0" algn="l" defTabSz="609630" rtl="0" eaLnBrk="1" fontAlgn="auto" latinLnBrk="0" hangingPunct="1">
              <a:lnSpc>
                <a:spcPct val="100000"/>
              </a:lnSpc>
              <a:spcBef>
                <a:spcPts val="0"/>
              </a:spcBef>
              <a:spcAft>
                <a:spcPts val="0"/>
              </a:spcAft>
              <a:buClrTx/>
              <a:buSzTx/>
              <a:buFontTx/>
              <a:buNone/>
              <a:tabLst/>
              <a:defRPr/>
            </a:pPr>
            <a:r>
              <a:rPr kumimoji="0" lang="fr-FR" sz="2400" b="0" i="0" u="none" strike="noStrike" cap="none" normalizeH="0" baseline="0" noProof="0" dirty="0">
                <a:ln>
                  <a:noFill/>
                </a:ln>
                <a:solidFill>
                  <a:prstClr val="black"/>
                </a:solidFill>
                <a:effectLst/>
                <a:uLnTx/>
                <a:uFillTx/>
                <a:latin typeface="Calibri" panose="020F0502020204030204"/>
                <a:ea typeface="+mn-ea"/>
                <a:cs typeface="+mn-cs"/>
              </a:rPr>
              <a:t>Les quatre principes suivants garantissent que la réponse apportée ne provoquera pas la revictimisation de la personne survivante :</a:t>
            </a:r>
          </a:p>
          <a:p>
            <a:pPr marL="0" marR="0" lvl="0" indent="0" algn="l" defTabSz="60963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190510" marR="0" lvl="0" indent="-190510" algn="l" defTabSz="60963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2400" b="0" i="0" u="sng" strike="noStrike" cap="none" normalizeH="0" baseline="0" noProof="0" dirty="0">
                <a:ln>
                  <a:noFill/>
                </a:ln>
                <a:solidFill>
                  <a:prstClr val="black"/>
                </a:solidFill>
                <a:effectLst/>
                <a:uLnTx/>
                <a:uFillTx/>
                <a:latin typeface="Calibri" panose="020F0502020204030204"/>
                <a:ea typeface="+mn-ea"/>
                <a:cs typeface="+mn-cs"/>
              </a:rPr>
              <a:t>1) Sécurité </a:t>
            </a:r>
          </a:p>
          <a:p>
            <a:pPr marL="190510" marR="0" lvl="0" indent="-190510" algn="l" defTabSz="60963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2400" b="0" i="0" u="sng" strike="noStrike" cap="none" normalizeH="0" baseline="0" noProof="0" dirty="0">
                <a:ln>
                  <a:noFill/>
                </a:ln>
                <a:solidFill>
                  <a:prstClr val="black"/>
                </a:solidFill>
                <a:effectLst/>
                <a:uLnTx/>
                <a:uFillTx/>
                <a:latin typeface="Calibri" panose="020F0502020204030204"/>
                <a:ea typeface="+mn-ea"/>
                <a:cs typeface="+mn-cs"/>
              </a:rPr>
              <a:t>2) Confidentialité </a:t>
            </a:r>
          </a:p>
          <a:p>
            <a:pPr marL="190510" marR="0" lvl="0" indent="-190510" algn="l" defTabSz="60963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2400" b="0" i="0" u="sng" strike="noStrike" cap="none" normalizeH="0" baseline="0" noProof="0" dirty="0">
                <a:ln>
                  <a:noFill/>
                </a:ln>
                <a:solidFill>
                  <a:prstClr val="black"/>
                </a:solidFill>
                <a:effectLst/>
                <a:uLnTx/>
                <a:uFillTx/>
                <a:latin typeface="Calibri" panose="020F0502020204030204"/>
                <a:ea typeface="+mn-ea"/>
                <a:cs typeface="+mn-cs"/>
              </a:rPr>
              <a:t>3) Respect </a:t>
            </a:r>
          </a:p>
          <a:p>
            <a:pPr marL="190510" marR="0" lvl="0" indent="-190510" algn="l" defTabSz="60963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2400" b="0" i="0" u="sng" strike="noStrike" cap="none" normalizeH="0" baseline="0" noProof="0" dirty="0">
                <a:ln>
                  <a:noFill/>
                </a:ln>
                <a:solidFill>
                  <a:prstClr val="black"/>
                </a:solidFill>
                <a:effectLst/>
                <a:uLnTx/>
                <a:uFillTx/>
                <a:latin typeface="Calibri" panose="020F0502020204030204"/>
                <a:ea typeface="+mn-ea"/>
                <a:cs typeface="+mn-cs"/>
              </a:rPr>
              <a:t>4) Non-discrimination</a:t>
            </a:r>
          </a:p>
          <a:p>
            <a:pPr marL="190510" marR="0" lvl="0" indent="-190510" algn="l" defTabSz="60963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609630" rtl="0" eaLnBrk="1" fontAlgn="auto" latinLnBrk="0" hangingPunct="1">
              <a:lnSpc>
                <a:spcPct val="100000"/>
              </a:lnSpc>
              <a:spcBef>
                <a:spcPts val="0"/>
              </a:spcBef>
              <a:spcAft>
                <a:spcPts val="0"/>
              </a:spcAft>
              <a:buClrTx/>
              <a:buSzTx/>
              <a:buFontTx/>
              <a:buNone/>
              <a:tabLst/>
              <a:defRPr/>
            </a:pPr>
            <a:r>
              <a:rPr kumimoji="0" lang="fr-FR" sz="2400" b="0" i="0" u="none" strike="noStrike" cap="none" normalizeH="0" baseline="0" noProof="0" dirty="0">
                <a:ln>
                  <a:noFill/>
                </a:ln>
                <a:solidFill>
                  <a:prstClr val="black"/>
                </a:solidFill>
                <a:effectLst/>
                <a:uLnTx/>
                <a:uFillTx/>
                <a:latin typeface="Calibri" panose="020F0502020204030204"/>
                <a:ea typeface="+mn-ea"/>
                <a:cs typeface="+mn-cs"/>
              </a:rPr>
              <a:t>L’approche centrée sur les personnes survivantes place les besoins des survivants et le consentement éclairé au centre des programmes.</a:t>
            </a:r>
          </a:p>
        </p:txBody>
      </p:sp>
      <p:pic>
        <p:nvPicPr>
          <p:cNvPr id="16" name="Picture 15">
            <a:extLst>
              <a:ext uri="{FF2B5EF4-FFF2-40B4-BE49-F238E27FC236}">
                <a16:creationId xmlns:a16="http://schemas.microsoft.com/office/drawing/2014/main" id="{0F0CCB8D-F72E-4ADA-8298-DC781CC2F514}"/>
              </a:ext>
            </a:extLst>
          </p:cNvPr>
          <p:cNvPicPr>
            <a:picLocks noChangeAspect="1"/>
          </p:cNvPicPr>
          <p:nvPr/>
        </p:nvPicPr>
        <p:blipFill>
          <a:blip r:embed="rId3">
            <a:lum bright="70000" contrast="-70000"/>
            <a:extLst>
              <a:ext uri="{28A0092B-C50C-407E-A947-70E740481C1C}">
                <a14:useLocalDpi xmlns:a14="http://schemas.microsoft.com/office/drawing/2010/main" val="0"/>
              </a:ext>
            </a:extLst>
          </a:blip>
          <a:stretch>
            <a:fillRect/>
          </a:stretch>
        </p:blipFill>
        <p:spPr>
          <a:xfrm>
            <a:off x="380862" y="1140324"/>
            <a:ext cx="593176" cy="623593"/>
          </a:xfrm>
          <a:prstGeom prst="rect">
            <a:avLst/>
          </a:prstGeom>
        </p:spPr>
      </p:pic>
    </p:spTree>
    <p:extLst>
      <p:ext uri="{BB962C8B-B14F-4D97-AF65-F5344CB8AC3E}">
        <p14:creationId xmlns:p14="http://schemas.microsoft.com/office/powerpoint/2010/main" val="359245933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rgbClr val="4D7568"/>
        </a:solidFill>
        <a:effectLst/>
      </p:bgPr>
    </p:bg>
    <p:spTree>
      <p:nvGrpSpPr>
        <p:cNvPr id="1" name=""/>
        <p:cNvGrpSpPr/>
        <p:nvPr/>
      </p:nvGrpSpPr>
      <p:grpSpPr>
        <a:xfrm>
          <a:off x="0" y="0"/>
          <a:ext cx="0" cy="0"/>
          <a:chOff x="0" y="0"/>
          <a:chExt cx="0" cy="0"/>
        </a:xfrm>
      </p:grpSpPr>
      <p:pic>
        <p:nvPicPr>
          <p:cNvPr id="53" name="Picture 52">
            <a:extLst>
              <a:ext uri="{FF2B5EF4-FFF2-40B4-BE49-F238E27FC236}">
                <a16:creationId xmlns:a16="http://schemas.microsoft.com/office/drawing/2014/main" id="{3AF4F8BE-2390-4CF3-9DC5-1875F46D6104}"/>
              </a:ext>
            </a:extLst>
          </p:cNvPr>
          <p:cNvPicPr>
            <a:picLocks noChangeAspect="1"/>
          </p:cNvPicPr>
          <p:nvPr/>
        </p:nvPicPr>
        <p:blipFill>
          <a:blip r:embed="rId3"/>
          <a:stretch>
            <a:fillRect/>
          </a:stretch>
        </p:blipFill>
        <p:spPr>
          <a:xfrm rot="10800000">
            <a:off x="4022750" y="3508445"/>
            <a:ext cx="2805808" cy="1477454"/>
          </a:xfrm>
          <a:prstGeom prst="rect">
            <a:avLst/>
          </a:prstGeom>
        </p:spPr>
      </p:pic>
      <p:pic>
        <p:nvPicPr>
          <p:cNvPr id="51" name="Picture 50">
            <a:extLst>
              <a:ext uri="{FF2B5EF4-FFF2-40B4-BE49-F238E27FC236}">
                <a16:creationId xmlns:a16="http://schemas.microsoft.com/office/drawing/2014/main" id="{53A96075-3F76-43EE-A050-4ABDA2B2E62C}"/>
              </a:ext>
            </a:extLst>
          </p:cNvPr>
          <p:cNvPicPr>
            <a:picLocks noChangeAspect="1"/>
          </p:cNvPicPr>
          <p:nvPr/>
        </p:nvPicPr>
        <p:blipFill>
          <a:blip r:embed="rId3"/>
          <a:stretch>
            <a:fillRect/>
          </a:stretch>
        </p:blipFill>
        <p:spPr>
          <a:xfrm>
            <a:off x="3993017" y="2146676"/>
            <a:ext cx="2805808" cy="1477454"/>
          </a:xfrm>
          <a:prstGeom prst="rect">
            <a:avLst/>
          </a:prstGeom>
        </p:spPr>
      </p:pic>
      <p:grpSp>
        <p:nvGrpSpPr>
          <p:cNvPr id="2" name="Group 2"/>
          <p:cNvGrpSpPr>
            <a:grpSpLocks noChangeAspect="1"/>
          </p:cNvGrpSpPr>
          <p:nvPr/>
        </p:nvGrpSpPr>
        <p:grpSpPr>
          <a:xfrm>
            <a:off x="3114410" y="1354830"/>
            <a:ext cx="4603518" cy="4603518"/>
            <a:chOff x="-2540" y="-2540"/>
            <a:chExt cx="6355080" cy="6355080"/>
          </a:xfrm>
        </p:grpSpPr>
        <p:sp>
          <p:nvSpPr>
            <p:cNvPr id="3" name="Freeform 3"/>
            <p:cNvSpPr/>
            <p:nvPr/>
          </p:nvSpPr>
          <p:spPr>
            <a:xfrm>
              <a:off x="-2540" y="-2540"/>
              <a:ext cx="6355080" cy="6355080"/>
            </a:xfrm>
            <a:custGeom>
              <a:avLst/>
              <a:gdLst/>
              <a:ahLst/>
              <a:cxnLst/>
              <a:rect l="l" t="t" r="r" b="b"/>
              <a:pathLst>
                <a:path w="6355080" h="6355080">
                  <a:moveTo>
                    <a:pt x="3177540" y="6355080"/>
                  </a:moveTo>
                  <a:cubicBezTo>
                    <a:pt x="2329180" y="6355080"/>
                    <a:pt x="1530350" y="6024880"/>
                    <a:pt x="930910" y="5424170"/>
                  </a:cubicBezTo>
                  <a:cubicBezTo>
                    <a:pt x="330200" y="4824730"/>
                    <a:pt x="0" y="4025900"/>
                    <a:pt x="0" y="3177540"/>
                  </a:cubicBezTo>
                  <a:cubicBezTo>
                    <a:pt x="0" y="2329180"/>
                    <a:pt x="330200" y="1530350"/>
                    <a:pt x="930910" y="930910"/>
                  </a:cubicBezTo>
                  <a:cubicBezTo>
                    <a:pt x="1530350" y="330200"/>
                    <a:pt x="2329180" y="0"/>
                    <a:pt x="3177540" y="0"/>
                  </a:cubicBezTo>
                  <a:cubicBezTo>
                    <a:pt x="4025900" y="0"/>
                    <a:pt x="4824730" y="330200"/>
                    <a:pt x="5424170" y="930910"/>
                  </a:cubicBezTo>
                  <a:cubicBezTo>
                    <a:pt x="6024880" y="1531620"/>
                    <a:pt x="6355080" y="2329180"/>
                    <a:pt x="6355080" y="3177540"/>
                  </a:cubicBezTo>
                  <a:cubicBezTo>
                    <a:pt x="6355080" y="4025900"/>
                    <a:pt x="6024880" y="4824730"/>
                    <a:pt x="5424170" y="5424170"/>
                  </a:cubicBezTo>
                  <a:cubicBezTo>
                    <a:pt x="4824730" y="6024880"/>
                    <a:pt x="4025900" y="6355080"/>
                    <a:pt x="3177540" y="6355080"/>
                  </a:cubicBezTo>
                  <a:close/>
                  <a:moveTo>
                    <a:pt x="3177540" y="190500"/>
                  </a:moveTo>
                  <a:cubicBezTo>
                    <a:pt x="2379980" y="190500"/>
                    <a:pt x="1629410" y="501650"/>
                    <a:pt x="1065530" y="1065530"/>
                  </a:cubicBezTo>
                  <a:cubicBezTo>
                    <a:pt x="501650" y="1629410"/>
                    <a:pt x="190500" y="2379980"/>
                    <a:pt x="190500" y="3177540"/>
                  </a:cubicBezTo>
                  <a:cubicBezTo>
                    <a:pt x="190500" y="3975100"/>
                    <a:pt x="501650" y="4725670"/>
                    <a:pt x="1065530" y="5289550"/>
                  </a:cubicBezTo>
                  <a:cubicBezTo>
                    <a:pt x="1629410" y="5853430"/>
                    <a:pt x="2379980" y="6164580"/>
                    <a:pt x="3177540" y="6164580"/>
                  </a:cubicBezTo>
                  <a:cubicBezTo>
                    <a:pt x="3975100" y="6164580"/>
                    <a:pt x="4725670" y="5853430"/>
                    <a:pt x="5289550" y="5289550"/>
                  </a:cubicBezTo>
                  <a:cubicBezTo>
                    <a:pt x="5853430" y="4725670"/>
                    <a:pt x="6164580" y="3975100"/>
                    <a:pt x="6164580" y="3177540"/>
                  </a:cubicBezTo>
                  <a:cubicBezTo>
                    <a:pt x="6164580" y="2379980"/>
                    <a:pt x="5853430" y="1629410"/>
                    <a:pt x="5289550" y="1065530"/>
                  </a:cubicBezTo>
                  <a:cubicBezTo>
                    <a:pt x="4725670" y="501650"/>
                    <a:pt x="3975100" y="190500"/>
                    <a:pt x="3177540" y="190500"/>
                  </a:cubicBezTo>
                  <a:close/>
                </a:path>
              </a:pathLst>
            </a:custGeom>
            <a:solidFill>
              <a:srgbClr val="FFFFFF"/>
            </a:solidFill>
          </p:spPr>
        </p:sp>
      </p:grpSp>
      <p:grpSp>
        <p:nvGrpSpPr>
          <p:cNvPr id="4" name="Group 4"/>
          <p:cNvGrpSpPr/>
          <p:nvPr/>
        </p:nvGrpSpPr>
        <p:grpSpPr>
          <a:xfrm>
            <a:off x="6195022" y="4763453"/>
            <a:ext cx="1194894" cy="1194894"/>
            <a:chOff x="0" y="0"/>
            <a:chExt cx="6350000" cy="6350000"/>
          </a:xfrm>
        </p:grpSpPr>
        <p:sp>
          <p:nvSpPr>
            <p:cNvPr id="5" name="Freeform 5"/>
            <p:cNvSpPr/>
            <p:nvPr/>
          </p:nvSpPr>
          <p:spPr>
            <a:xfrm>
              <a:off x="14167" y="0"/>
              <a:ext cx="6321665" cy="6350000"/>
            </a:xfrm>
            <a:custGeom>
              <a:avLst/>
              <a:gdLst/>
              <a:ahLst/>
              <a:cxnLst/>
              <a:rect l="l" t="t" r="r" b="b"/>
              <a:pathLst>
                <a:path w="6321665" h="6350000">
                  <a:moveTo>
                    <a:pt x="3160833" y="0"/>
                  </a:moveTo>
                  <a:lnTo>
                    <a:pt x="3160833" y="0"/>
                  </a:lnTo>
                  <a:cubicBezTo>
                    <a:pt x="4908795" y="7817"/>
                    <a:pt x="6321666" y="1427021"/>
                    <a:pt x="6321666" y="3175000"/>
                  </a:cubicBezTo>
                  <a:cubicBezTo>
                    <a:pt x="6321666" y="4922979"/>
                    <a:pt x="4908795" y="6342183"/>
                    <a:pt x="3160833" y="6350000"/>
                  </a:cubicBezTo>
                  <a:cubicBezTo>
                    <a:pt x="1412871" y="6342183"/>
                    <a:pt x="0" y="4922979"/>
                    <a:pt x="0" y="3175000"/>
                  </a:cubicBezTo>
                  <a:cubicBezTo>
                    <a:pt x="0" y="1427021"/>
                    <a:pt x="1412871" y="7817"/>
                    <a:pt x="3160833" y="0"/>
                  </a:cubicBezTo>
                  <a:close/>
                </a:path>
              </a:pathLst>
            </a:custGeom>
            <a:solidFill>
              <a:srgbClr val="A6CDB6"/>
            </a:solidFill>
          </p:spPr>
        </p:sp>
      </p:grpSp>
      <p:grpSp>
        <p:nvGrpSpPr>
          <p:cNvPr id="6" name="Group 6"/>
          <p:cNvGrpSpPr/>
          <p:nvPr/>
        </p:nvGrpSpPr>
        <p:grpSpPr>
          <a:xfrm>
            <a:off x="4847589" y="853858"/>
            <a:ext cx="1194894" cy="1194894"/>
            <a:chOff x="0" y="0"/>
            <a:chExt cx="6350000" cy="6350000"/>
          </a:xfrm>
        </p:grpSpPr>
        <p:sp>
          <p:nvSpPr>
            <p:cNvPr id="7" name="Freeform 7"/>
            <p:cNvSpPr/>
            <p:nvPr/>
          </p:nvSpPr>
          <p:spPr>
            <a:xfrm>
              <a:off x="14167" y="0"/>
              <a:ext cx="6321665" cy="6350000"/>
            </a:xfrm>
            <a:custGeom>
              <a:avLst/>
              <a:gdLst/>
              <a:ahLst/>
              <a:cxnLst/>
              <a:rect l="l" t="t" r="r" b="b"/>
              <a:pathLst>
                <a:path w="6321665" h="6350000">
                  <a:moveTo>
                    <a:pt x="3160833" y="0"/>
                  </a:moveTo>
                  <a:lnTo>
                    <a:pt x="3160833" y="0"/>
                  </a:lnTo>
                  <a:cubicBezTo>
                    <a:pt x="4908795" y="7817"/>
                    <a:pt x="6321666" y="1427021"/>
                    <a:pt x="6321666" y="3175000"/>
                  </a:cubicBezTo>
                  <a:cubicBezTo>
                    <a:pt x="6321666" y="4922979"/>
                    <a:pt x="4908795" y="6342183"/>
                    <a:pt x="3160833" y="6350000"/>
                  </a:cubicBezTo>
                  <a:cubicBezTo>
                    <a:pt x="1412871" y="6342183"/>
                    <a:pt x="0" y="4922979"/>
                    <a:pt x="0" y="3175000"/>
                  </a:cubicBezTo>
                  <a:cubicBezTo>
                    <a:pt x="0" y="1427021"/>
                    <a:pt x="1412871" y="7817"/>
                    <a:pt x="3160833" y="0"/>
                  </a:cubicBezTo>
                  <a:close/>
                </a:path>
              </a:pathLst>
            </a:custGeom>
            <a:solidFill>
              <a:srgbClr val="A6CDB6"/>
            </a:solidFill>
          </p:spPr>
        </p:sp>
      </p:grpSp>
      <p:grpSp>
        <p:nvGrpSpPr>
          <p:cNvPr id="8" name="Group 8"/>
          <p:cNvGrpSpPr/>
          <p:nvPr/>
        </p:nvGrpSpPr>
        <p:grpSpPr>
          <a:xfrm>
            <a:off x="6817652" y="2322476"/>
            <a:ext cx="1194894" cy="1194894"/>
            <a:chOff x="0" y="0"/>
            <a:chExt cx="6350000" cy="6350000"/>
          </a:xfrm>
        </p:grpSpPr>
        <p:sp>
          <p:nvSpPr>
            <p:cNvPr id="9" name="Freeform 9"/>
            <p:cNvSpPr/>
            <p:nvPr/>
          </p:nvSpPr>
          <p:spPr>
            <a:xfrm>
              <a:off x="14167" y="0"/>
              <a:ext cx="6321665" cy="6350000"/>
            </a:xfrm>
            <a:custGeom>
              <a:avLst/>
              <a:gdLst/>
              <a:ahLst/>
              <a:cxnLst/>
              <a:rect l="l" t="t" r="r" b="b"/>
              <a:pathLst>
                <a:path w="6321665" h="6350000">
                  <a:moveTo>
                    <a:pt x="3160833" y="0"/>
                  </a:moveTo>
                  <a:lnTo>
                    <a:pt x="3160833" y="0"/>
                  </a:lnTo>
                  <a:cubicBezTo>
                    <a:pt x="4908795" y="7817"/>
                    <a:pt x="6321666" y="1427021"/>
                    <a:pt x="6321666" y="3175000"/>
                  </a:cubicBezTo>
                  <a:cubicBezTo>
                    <a:pt x="6321666" y="4922979"/>
                    <a:pt x="4908795" y="6342183"/>
                    <a:pt x="3160833" y="6350000"/>
                  </a:cubicBezTo>
                  <a:cubicBezTo>
                    <a:pt x="1412871" y="6342183"/>
                    <a:pt x="0" y="4922979"/>
                    <a:pt x="0" y="3175000"/>
                  </a:cubicBezTo>
                  <a:cubicBezTo>
                    <a:pt x="0" y="1427021"/>
                    <a:pt x="1412871" y="7817"/>
                    <a:pt x="3160833" y="0"/>
                  </a:cubicBezTo>
                  <a:close/>
                </a:path>
              </a:pathLst>
            </a:custGeom>
            <a:solidFill>
              <a:srgbClr val="A6CDB6"/>
            </a:solidFill>
          </p:spPr>
        </p:sp>
      </p:grpSp>
      <p:grpSp>
        <p:nvGrpSpPr>
          <p:cNvPr id="10" name="Group 10"/>
          <p:cNvGrpSpPr/>
          <p:nvPr/>
        </p:nvGrpSpPr>
        <p:grpSpPr>
          <a:xfrm>
            <a:off x="4708702" y="2947923"/>
            <a:ext cx="1414934" cy="1414934"/>
            <a:chOff x="0" y="0"/>
            <a:chExt cx="6350000" cy="6350000"/>
          </a:xfrm>
        </p:grpSpPr>
        <p:sp>
          <p:nvSpPr>
            <p:cNvPr id="11" name="Freeform 11"/>
            <p:cNvSpPr/>
            <p:nvPr/>
          </p:nvSpPr>
          <p:spPr>
            <a:xfrm>
              <a:off x="14167" y="0"/>
              <a:ext cx="6321665" cy="6350000"/>
            </a:xfrm>
            <a:custGeom>
              <a:avLst/>
              <a:gdLst/>
              <a:ahLst/>
              <a:cxnLst/>
              <a:rect l="l" t="t" r="r" b="b"/>
              <a:pathLst>
                <a:path w="6321665" h="6350000">
                  <a:moveTo>
                    <a:pt x="3160833" y="0"/>
                  </a:moveTo>
                  <a:lnTo>
                    <a:pt x="3160833" y="0"/>
                  </a:lnTo>
                  <a:cubicBezTo>
                    <a:pt x="4908795" y="7817"/>
                    <a:pt x="6321666" y="1427021"/>
                    <a:pt x="6321666" y="3175000"/>
                  </a:cubicBezTo>
                  <a:cubicBezTo>
                    <a:pt x="6321666" y="4922979"/>
                    <a:pt x="4908795" y="6342183"/>
                    <a:pt x="3160833" y="6350000"/>
                  </a:cubicBezTo>
                  <a:cubicBezTo>
                    <a:pt x="1412871" y="6342183"/>
                    <a:pt x="0" y="4922979"/>
                    <a:pt x="0" y="3175000"/>
                  </a:cubicBezTo>
                  <a:cubicBezTo>
                    <a:pt x="0" y="1427021"/>
                    <a:pt x="1412871" y="7817"/>
                    <a:pt x="3160833" y="0"/>
                  </a:cubicBezTo>
                  <a:close/>
                </a:path>
              </a:pathLst>
            </a:custGeom>
            <a:solidFill>
              <a:srgbClr val="A6CDB6"/>
            </a:solidFill>
          </p:spPr>
        </p:sp>
      </p:grpSp>
      <p:grpSp>
        <p:nvGrpSpPr>
          <p:cNvPr id="12" name="Group 12"/>
          <p:cNvGrpSpPr/>
          <p:nvPr/>
        </p:nvGrpSpPr>
        <p:grpSpPr>
          <a:xfrm>
            <a:off x="2744354" y="2350476"/>
            <a:ext cx="1194894" cy="1194894"/>
            <a:chOff x="0" y="0"/>
            <a:chExt cx="6350000" cy="6350000"/>
          </a:xfrm>
        </p:grpSpPr>
        <p:sp>
          <p:nvSpPr>
            <p:cNvPr id="13" name="Freeform 13"/>
            <p:cNvSpPr/>
            <p:nvPr/>
          </p:nvSpPr>
          <p:spPr>
            <a:xfrm>
              <a:off x="14167" y="0"/>
              <a:ext cx="6321665" cy="6350000"/>
            </a:xfrm>
            <a:custGeom>
              <a:avLst/>
              <a:gdLst/>
              <a:ahLst/>
              <a:cxnLst/>
              <a:rect l="l" t="t" r="r" b="b"/>
              <a:pathLst>
                <a:path w="6321665" h="6350000">
                  <a:moveTo>
                    <a:pt x="3160833" y="0"/>
                  </a:moveTo>
                  <a:lnTo>
                    <a:pt x="3160833" y="0"/>
                  </a:lnTo>
                  <a:cubicBezTo>
                    <a:pt x="4908795" y="7817"/>
                    <a:pt x="6321666" y="1427021"/>
                    <a:pt x="6321666" y="3175000"/>
                  </a:cubicBezTo>
                  <a:cubicBezTo>
                    <a:pt x="6321666" y="4922979"/>
                    <a:pt x="4908795" y="6342183"/>
                    <a:pt x="3160833" y="6350000"/>
                  </a:cubicBezTo>
                  <a:cubicBezTo>
                    <a:pt x="1412871" y="6342183"/>
                    <a:pt x="0" y="4922979"/>
                    <a:pt x="0" y="3175000"/>
                  </a:cubicBezTo>
                  <a:cubicBezTo>
                    <a:pt x="0" y="1427021"/>
                    <a:pt x="1412871" y="7817"/>
                    <a:pt x="3160833" y="0"/>
                  </a:cubicBezTo>
                  <a:close/>
                </a:path>
              </a:pathLst>
            </a:custGeom>
            <a:solidFill>
              <a:srgbClr val="A6CDB6"/>
            </a:solidFill>
          </p:spPr>
        </p:sp>
      </p:grpSp>
      <p:grpSp>
        <p:nvGrpSpPr>
          <p:cNvPr id="14" name="Group 14"/>
          <p:cNvGrpSpPr/>
          <p:nvPr/>
        </p:nvGrpSpPr>
        <p:grpSpPr>
          <a:xfrm>
            <a:off x="3224736" y="4740264"/>
            <a:ext cx="1194894" cy="1194894"/>
            <a:chOff x="0" y="0"/>
            <a:chExt cx="6350000" cy="6350000"/>
          </a:xfrm>
        </p:grpSpPr>
        <p:sp>
          <p:nvSpPr>
            <p:cNvPr id="15" name="Freeform 15"/>
            <p:cNvSpPr/>
            <p:nvPr/>
          </p:nvSpPr>
          <p:spPr>
            <a:xfrm>
              <a:off x="14167" y="0"/>
              <a:ext cx="6321665" cy="6350000"/>
            </a:xfrm>
            <a:custGeom>
              <a:avLst/>
              <a:gdLst/>
              <a:ahLst/>
              <a:cxnLst/>
              <a:rect l="l" t="t" r="r" b="b"/>
              <a:pathLst>
                <a:path w="6321665" h="6350000">
                  <a:moveTo>
                    <a:pt x="3160833" y="0"/>
                  </a:moveTo>
                  <a:lnTo>
                    <a:pt x="3160833" y="0"/>
                  </a:lnTo>
                  <a:cubicBezTo>
                    <a:pt x="4908795" y="7817"/>
                    <a:pt x="6321666" y="1427021"/>
                    <a:pt x="6321666" y="3175000"/>
                  </a:cubicBezTo>
                  <a:cubicBezTo>
                    <a:pt x="6321666" y="4922979"/>
                    <a:pt x="4908795" y="6342183"/>
                    <a:pt x="3160833" y="6350000"/>
                  </a:cubicBezTo>
                  <a:cubicBezTo>
                    <a:pt x="1412871" y="6342183"/>
                    <a:pt x="0" y="4922979"/>
                    <a:pt x="0" y="3175000"/>
                  </a:cubicBezTo>
                  <a:cubicBezTo>
                    <a:pt x="0" y="1427021"/>
                    <a:pt x="1412871" y="7817"/>
                    <a:pt x="3160833" y="0"/>
                  </a:cubicBezTo>
                  <a:close/>
                </a:path>
              </a:pathLst>
            </a:custGeom>
            <a:solidFill>
              <a:srgbClr val="A6CDB6"/>
            </a:solidFill>
          </p:spPr>
        </p:sp>
      </p:grpSp>
      <p:sp>
        <p:nvSpPr>
          <p:cNvPr id="17" name="TextBox 17"/>
          <p:cNvSpPr txBox="1"/>
          <p:nvPr/>
        </p:nvSpPr>
        <p:spPr>
          <a:xfrm>
            <a:off x="4756736" y="3242250"/>
            <a:ext cx="1414934" cy="687752"/>
          </a:xfrm>
          <a:prstGeom prst="rect">
            <a:avLst/>
          </a:prstGeom>
        </p:spPr>
        <p:txBody>
          <a:bodyPr lIns="0" tIns="0" rIns="0" bIns="0" rtlCol="0" anchor="t">
            <a:spAutoFit/>
          </a:bodyPr>
          <a:lstStyle/>
          <a:p>
            <a:pPr marL="0" marR="0" lvl="0" indent="0" algn="ctr" defTabSz="609630" rtl="0" eaLnBrk="1" fontAlgn="auto" latinLnBrk="0" hangingPunct="1">
              <a:lnSpc>
                <a:spcPts val="2847"/>
              </a:lnSpc>
              <a:spcBef>
                <a:spcPts val="0"/>
              </a:spcBef>
              <a:spcAft>
                <a:spcPts val="0"/>
              </a:spcAft>
              <a:buClrTx/>
              <a:buSzTx/>
              <a:buFontTx/>
              <a:buNone/>
              <a:tabLst/>
              <a:defRPr/>
            </a:pPr>
            <a:r>
              <a:rPr kumimoji="0" lang="fr-FR" sz="2034" b="0" i="0" u="none" strike="noStrike" cap="none" normalizeH="0" baseline="0" noProof="0" dirty="0">
                <a:ln>
                  <a:noFill/>
                </a:ln>
                <a:solidFill>
                  <a:srgbClr val="394D47"/>
                </a:solidFill>
                <a:effectLst/>
                <a:uLnTx/>
                <a:uFillTx/>
                <a:latin typeface="HK Grotesk Medium"/>
                <a:ea typeface="+mn-ea"/>
                <a:cs typeface="+mn-cs"/>
              </a:rPr>
              <a:t>Victime /</a:t>
            </a:r>
          </a:p>
          <a:p>
            <a:pPr marL="0" marR="0" lvl="0" indent="0" algn="ctr" defTabSz="609630" rtl="0" eaLnBrk="1" fontAlgn="auto" latinLnBrk="0" hangingPunct="1">
              <a:lnSpc>
                <a:spcPts val="2847"/>
              </a:lnSpc>
              <a:spcBef>
                <a:spcPts val="0"/>
              </a:spcBef>
              <a:spcAft>
                <a:spcPts val="0"/>
              </a:spcAft>
              <a:buClrTx/>
              <a:buSzTx/>
              <a:buFontTx/>
              <a:buNone/>
              <a:tabLst/>
              <a:defRPr/>
            </a:pPr>
            <a:r>
              <a:rPr kumimoji="0" lang="fr-FR" sz="2034" b="0" i="0" u="none" strike="noStrike" cap="none" normalizeH="0" baseline="0" noProof="0" dirty="0">
                <a:ln>
                  <a:noFill/>
                </a:ln>
                <a:solidFill>
                  <a:srgbClr val="394D47"/>
                </a:solidFill>
                <a:effectLst/>
                <a:uLnTx/>
                <a:uFillTx/>
                <a:latin typeface="HK Grotesk Medium"/>
                <a:ea typeface="+mn-ea"/>
                <a:cs typeface="+mn-cs"/>
              </a:rPr>
              <a:t>Personne survivante</a:t>
            </a:r>
          </a:p>
        </p:txBody>
      </p:sp>
      <p:sp>
        <p:nvSpPr>
          <p:cNvPr id="19" name="TextBox 19"/>
          <p:cNvSpPr txBox="1"/>
          <p:nvPr/>
        </p:nvSpPr>
        <p:spPr>
          <a:xfrm>
            <a:off x="555584" y="162045"/>
            <a:ext cx="3624149" cy="1855316"/>
          </a:xfrm>
          <a:prstGeom prst="rect">
            <a:avLst/>
          </a:prstGeom>
        </p:spPr>
        <p:txBody>
          <a:bodyPr wrap="square" lIns="0" tIns="0" rIns="0" bIns="0" rtlCol="0" anchor="t">
            <a:spAutoFit/>
          </a:bodyPr>
          <a:lstStyle/>
          <a:p>
            <a:pPr marL="179925" marR="0" lvl="1" indent="0" algn="l" defTabSz="609630" rtl="0" eaLnBrk="1" fontAlgn="auto" latinLnBrk="0" hangingPunct="1">
              <a:lnSpc>
                <a:spcPts val="2333"/>
              </a:lnSpc>
              <a:spcBef>
                <a:spcPts val="0"/>
              </a:spcBef>
              <a:spcAft>
                <a:spcPts val="0"/>
              </a:spcAft>
              <a:buClrTx/>
              <a:buSzTx/>
              <a:buFontTx/>
              <a:buNone/>
              <a:tabLst/>
              <a:defRPr/>
            </a:pPr>
            <a:r>
              <a:rPr kumimoji="0" lang="fr-FR" sz="1667" b="1" i="0" u="none" strike="noStrike" cap="none" normalizeH="0" baseline="0" noProof="0" dirty="0">
                <a:ln>
                  <a:noFill/>
                </a:ln>
                <a:solidFill>
                  <a:srgbClr val="FFFFFF"/>
                </a:solidFill>
                <a:effectLst/>
                <a:uLnTx/>
                <a:uFillTx/>
                <a:latin typeface="HK Grotesk Medium"/>
                <a:ea typeface="+mn-ea"/>
                <a:cs typeface="+mn-cs"/>
              </a:rPr>
              <a:t>Coordination</a:t>
            </a:r>
            <a:r>
              <a:rPr kumimoji="0" lang="fr-FR" sz="1667" i="0" u="none" strike="noStrike" cap="none" normalizeH="0" baseline="0" noProof="0" dirty="0">
                <a:ln>
                  <a:noFill/>
                </a:ln>
                <a:solidFill>
                  <a:srgbClr val="FFFFFF"/>
                </a:solidFill>
                <a:effectLst/>
                <a:uLnTx/>
                <a:uFillTx/>
                <a:latin typeface="HK Grotesk Medium"/>
                <a:ea typeface="+mn-ea"/>
                <a:cs typeface="+mn-cs"/>
              </a:rPr>
              <a:t> (interne et externe)</a:t>
            </a:r>
          </a:p>
          <a:p>
            <a:pPr marL="359851" marR="0" lvl="1" indent="-179926" algn="l" defTabSz="609630" rtl="0" eaLnBrk="1" fontAlgn="auto" latinLnBrk="0" hangingPunct="1">
              <a:lnSpc>
                <a:spcPct val="100000"/>
              </a:lnSpc>
              <a:spcBef>
                <a:spcPts val="0"/>
              </a:spcBef>
              <a:spcAft>
                <a:spcPts val="0"/>
              </a:spcAft>
              <a:buClrTx/>
              <a:buSzTx/>
              <a:buFont typeface="Arial"/>
              <a:buChar char="•"/>
              <a:tabLst/>
              <a:defRPr/>
            </a:pPr>
            <a:r>
              <a:rPr kumimoji="0" lang="fr-FR" sz="1667" b="0" i="0" u="none" strike="noStrike" cap="none" normalizeH="0" baseline="0" noProof="0" dirty="0">
                <a:ln>
                  <a:noFill/>
                </a:ln>
                <a:solidFill>
                  <a:srgbClr val="FFFFFF"/>
                </a:solidFill>
                <a:effectLst/>
                <a:uLnTx/>
                <a:uFillTx/>
                <a:latin typeface="HK Grotesk Medium"/>
                <a:ea typeface="+mn-ea"/>
                <a:cs typeface="+mn-cs"/>
              </a:rPr>
              <a:t>Réorientation</a:t>
            </a:r>
          </a:p>
          <a:p>
            <a:pPr marL="359851" marR="0" lvl="1" indent="-179926" algn="l" defTabSz="609630" rtl="0" eaLnBrk="1" fontAlgn="auto" latinLnBrk="0" hangingPunct="1">
              <a:lnSpc>
                <a:spcPct val="100000"/>
              </a:lnSpc>
              <a:spcBef>
                <a:spcPts val="0"/>
              </a:spcBef>
              <a:spcAft>
                <a:spcPts val="0"/>
              </a:spcAft>
              <a:buClrTx/>
              <a:buSzTx/>
              <a:buFont typeface="Arial"/>
              <a:buChar char="•"/>
              <a:tabLst/>
              <a:defRPr/>
            </a:pPr>
            <a:r>
              <a:rPr kumimoji="0" lang="fr-FR" sz="1667" b="0" i="0" u="none" strike="noStrike" cap="none" normalizeH="0" baseline="0" noProof="0" dirty="0">
                <a:ln>
                  <a:noFill/>
                </a:ln>
                <a:solidFill>
                  <a:srgbClr val="FFFFFF"/>
                </a:solidFill>
                <a:effectLst/>
                <a:uLnTx/>
                <a:uFillTx/>
                <a:latin typeface="HK Grotesk Medium"/>
                <a:ea typeface="+mn-ea"/>
                <a:cs typeface="+mn-cs"/>
              </a:rPr>
              <a:t>Enregistrement et suivi</a:t>
            </a:r>
          </a:p>
          <a:p>
            <a:pPr marL="359851" marR="0" lvl="1" indent="-179926" algn="l" defTabSz="609630" rtl="0" eaLnBrk="1" fontAlgn="auto" latinLnBrk="0" hangingPunct="1">
              <a:lnSpc>
                <a:spcPct val="100000"/>
              </a:lnSpc>
              <a:spcBef>
                <a:spcPts val="0"/>
              </a:spcBef>
              <a:spcAft>
                <a:spcPts val="0"/>
              </a:spcAft>
              <a:buClrTx/>
              <a:buSzTx/>
              <a:buFont typeface="Arial"/>
              <a:buChar char="•"/>
              <a:tabLst/>
              <a:defRPr/>
            </a:pPr>
            <a:r>
              <a:rPr kumimoji="0" lang="fr-FR" sz="1667" b="0" i="0" u="none" strike="noStrike" cap="none" normalizeH="0" baseline="0" noProof="0" dirty="0">
                <a:ln>
                  <a:noFill/>
                </a:ln>
                <a:solidFill>
                  <a:srgbClr val="FFFFFF"/>
                </a:solidFill>
                <a:effectLst/>
                <a:uLnTx/>
                <a:uFillTx/>
                <a:latin typeface="HK Grotesk Medium"/>
                <a:ea typeface="+mn-ea"/>
                <a:cs typeface="+mn-cs"/>
              </a:rPr>
              <a:t>Gestion des cas (renvoi vers d’autres agences spécialisées dans la gestion des cas)</a:t>
            </a:r>
          </a:p>
          <a:p>
            <a:pPr marL="0" marR="0" lvl="0" indent="0" algn="l" defTabSz="609630" rtl="0" eaLnBrk="1" fontAlgn="auto" latinLnBrk="0" hangingPunct="1">
              <a:lnSpc>
                <a:spcPts val="2333"/>
              </a:lnSpc>
              <a:spcBef>
                <a:spcPts val="0"/>
              </a:spcBef>
              <a:spcAft>
                <a:spcPts val="0"/>
              </a:spcAft>
              <a:buClrTx/>
              <a:buSzTx/>
              <a:buFontTx/>
              <a:buNone/>
              <a:tabLst/>
              <a:defRPr/>
            </a:pPr>
            <a:endParaRPr kumimoji="0" lang="en-US" sz="1666" b="0" i="0" u="none" strike="noStrike" kern="1200" cap="none" spc="0" normalizeH="0" baseline="0" noProof="0" dirty="0">
              <a:ln>
                <a:noFill/>
              </a:ln>
              <a:solidFill>
                <a:srgbClr val="FFFFFF"/>
              </a:solidFill>
              <a:effectLst/>
              <a:uLnTx/>
              <a:uFillTx/>
              <a:latin typeface="HK Grotesk Medium"/>
              <a:ea typeface="+mn-ea"/>
              <a:cs typeface="+mn-cs"/>
            </a:endParaRPr>
          </a:p>
        </p:txBody>
      </p:sp>
      <p:grpSp>
        <p:nvGrpSpPr>
          <p:cNvPr id="20" name="Group 20"/>
          <p:cNvGrpSpPr/>
          <p:nvPr/>
        </p:nvGrpSpPr>
        <p:grpSpPr>
          <a:xfrm>
            <a:off x="755229" y="1038903"/>
            <a:ext cx="101600" cy="101600"/>
            <a:chOff x="0" y="0"/>
            <a:chExt cx="1913890" cy="1913889"/>
          </a:xfrm>
        </p:grpSpPr>
        <p:sp>
          <p:nvSpPr>
            <p:cNvPr id="21" name="Freeform 21"/>
            <p:cNvSpPr/>
            <p:nvPr/>
          </p:nvSpPr>
          <p:spPr>
            <a:xfrm>
              <a:off x="0" y="0"/>
              <a:ext cx="1913890" cy="1913889"/>
            </a:xfrm>
            <a:custGeom>
              <a:avLst/>
              <a:gdLst/>
              <a:ahLst/>
              <a:cxnLst/>
              <a:rect l="l" t="t" r="r" b="b"/>
              <a:pathLst>
                <a:path w="1913890" h="1913890">
                  <a:moveTo>
                    <a:pt x="0" y="0"/>
                  </a:moveTo>
                  <a:lnTo>
                    <a:pt x="1913890" y="0"/>
                  </a:lnTo>
                  <a:lnTo>
                    <a:pt x="1913890" y="1913890"/>
                  </a:lnTo>
                  <a:lnTo>
                    <a:pt x="0" y="1913890"/>
                  </a:lnTo>
                  <a:close/>
                </a:path>
              </a:pathLst>
            </a:custGeom>
            <a:solidFill>
              <a:srgbClr val="A6CDB6"/>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H"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30" name="Group 30"/>
          <p:cNvGrpSpPr/>
          <p:nvPr/>
        </p:nvGrpSpPr>
        <p:grpSpPr>
          <a:xfrm>
            <a:off x="7552828" y="5795950"/>
            <a:ext cx="101600" cy="101600"/>
            <a:chOff x="0" y="0"/>
            <a:chExt cx="1913890" cy="1913890"/>
          </a:xfrm>
        </p:grpSpPr>
        <p:sp>
          <p:nvSpPr>
            <p:cNvPr id="31" name="Freeform 31"/>
            <p:cNvSpPr/>
            <p:nvPr/>
          </p:nvSpPr>
          <p:spPr>
            <a:xfrm>
              <a:off x="0" y="0"/>
              <a:ext cx="1913890" cy="1913890"/>
            </a:xfrm>
            <a:custGeom>
              <a:avLst/>
              <a:gdLst/>
              <a:ahLst/>
              <a:cxnLst/>
              <a:rect l="l" t="t" r="r" b="b"/>
              <a:pathLst>
                <a:path w="1913890" h="1913890">
                  <a:moveTo>
                    <a:pt x="0" y="0"/>
                  </a:moveTo>
                  <a:lnTo>
                    <a:pt x="1913890" y="0"/>
                  </a:lnTo>
                  <a:lnTo>
                    <a:pt x="1913890" y="1913890"/>
                  </a:lnTo>
                  <a:lnTo>
                    <a:pt x="0" y="1913890"/>
                  </a:lnTo>
                  <a:close/>
                </a:path>
              </a:pathLst>
            </a:custGeom>
            <a:solidFill>
              <a:srgbClr val="A6CDB6"/>
            </a:solidFill>
          </p:spPr>
        </p:sp>
      </p:grpSp>
      <p:pic>
        <p:nvPicPr>
          <p:cNvPr id="32" name="Picture 32"/>
          <p:cNvPicPr>
            <a:picLocks noChangeAspect="1"/>
          </p:cNvPicPr>
          <p:nvPr/>
        </p:nvPicPr>
        <p:blipFill>
          <a:blip r:embed="rId4"/>
          <a:srcRect/>
          <a:stretch>
            <a:fillRect/>
          </a:stretch>
        </p:blipFill>
        <p:spPr>
          <a:xfrm>
            <a:off x="7533172" y="5201740"/>
            <a:ext cx="127607" cy="176341"/>
          </a:xfrm>
          <a:prstGeom prst="rect">
            <a:avLst/>
          </a:prstGeom>
        </p:spPr>
      </p:pic>
      <p:pic>
        <p:nvPicPr>
          <p:cNvPr id="33" name="Picture 33"/>
          <p:cNvPicPr>
            <a:picLocks noChangeAspect="1"/>
          </p:cNvPicPr>
          <p:nvPr/>
        </p:nvPicPr>
        <p:blipFill>
          <a:blip r:embed="rId4"/>
          <a:srcRect/>
          <a:stretch>
            <a:fillRect/>
          </a:stretch>
        </p:blipFill>
        <p:spPr>
          <a:xfrm>
            <a:off x="7533172" y="6064980"/>
            <a:ext cx="127607" cy="176341"/>
          </a:xfrm>
          <a:prstGeom prst="rect">
            <a:avLst/>
          </a:prstGeom>
        </p:spPr>
      </p:pic>
      <p:grpSp>
        <p:nvGrpSpPr>
          <p:cNvPr id="34" name="Group 34"/>
          <p:cNvGrpSpPr/>
          <p:nvPr/>
        </p:nvGrpSpPr>
        <p:grpSpPr>
          <a:xfrm>
            <a:off x="10118907" y="4457236"/>
            <a:ext cx="1890909" cy="1954404"/>
            <a:chOff x="0" y="0"/>
            <a:chExt cx="1822396" cy="1932167"/>
          </a:xfrm>
        </p:grpSpPr>
        <p:sp>
          <p:nvSpPr>
            <p:cNvPr id="35" name="Freeform 35"/>
            <p:cNvSpPr/>
            <p:nvPr/>
          </p:nvSpPr>
          <p:spPr>
            <a:xfrm>
              <a:off x="0" y="0"/>
              <a:ext cx="1822397" cy="1932167"/>
            </a:xfrm>
            <a:custGeom>
              <a:avLst/>
              <a:gdLst/>
              <a:ahLst/>
              <a:cxnLst/>
              <a:rect l="l" t="t" r="r" b="b"/>
              <a:pathLst>
                <a:path w="1822397" h="1932167">
                  <a:moveTo>
                    <a:pt x="0" y="0"/>
                  </a:moveTo>
                  <a:lnTo>
                    <a:pt x="0" y="1932167"/>
                  </a:lnTo>
                  <a:lnTo>
                    <a:pt x="1822397" y="1932167"/>
                  </a:lnTo>
                  <a:lnTo>
                    <a:pt x="1822397" y="0"/>
                  </a:lnTo>
                  <a:lnTo>
                    <a:pt x="0" y="0"/>
                  </a:lnTo>
                  <a:close/>
                  <a:moveTo>
                    <a:pt x="1761436" y="1871207"/>
                  </a:moveTo>
                  <a:lnTo>
                    <a:pt x="59690" y="1871207"/>
                  </a:lnTo>
                  <a:lnTo>
                    <a:pt x="59690" y="59690"/>
                  </a:lnTo>
                  <a:lnTo>
                    <a:pt x="1761436" y="59690"/>
                  </a:lnTo>
                  <a:lnTo>
                    <a:pt x="1761436" y="1871207"/>
                  </a:lnTo>
                  <a:close/>
                </a:path>
              </a:pathLst>
            </a:custGeom>
            <a:solidFill>
              <a:srgbClr val="A6CDB6"/>
            </a:solidFill>
          </p:spPr>
        </p:sp>
      </p:grpSp>
      <p:grpSp>
        <p:nvGrpSpPr>
          <p:cNvPr id="16" name="Group 15">
            <a:extLst>
              <a:ext uri="{FF2B5EF4-FFF2-40B4-BE49-F238E27FC236}">
                <a16:creationId xmlns:a16="http://schemas.microsoft.com/office/drawing/2014/main" id="{51C3DAEC-B51A-4DD1-861E-9FEC25942D0D}"/>
              </a:ext>
            </a:extLst>
          </p:cNvPr>
          <p:cNvGrpSpPr/>
          <p:nvPr/>
        </p:nvGrpSpPr>
        <p:grpSpPr>
          <a:xfrm>
            <a:off x="8146597" y="1949001"/>
            <a:ext cx="3719202" cy="2308132"/>
            <a:chOff x="8275320" y="2188227"/>
            <a:chExt cx="3521902" cy="1807023"/>
          </a:xfrm>
        </p:grpSpPr>
        <p:grpSp>
          <p:nvGrpSpPr>
            <p:cNvPr id="22" name="Group 22"/>
            <p:cNvGrpSpPr/>
            <p:nvPr/>
          </p:nvGrpSpPr>
          <p:grpSpPr>
            <a:xfrm>
              <a:off x="8275320" y="2383617"/>
              <a:ext cx="62230" cy="49415"/>
              <a:chOff x="741632" y="-283660"/>
              <a:chExt cx="1172258" cy="930866"/>
            </a:xfrm>
          </p:grpSpPr>
          <p:sp>
            <p:nvSpPr>
              <p:cNvPr id="23" name="Freeform 23"/>
              <p:cNvSpPr/>
              <p:nvPr/>
            </p:nvSpPr>
            <p:spPr>
              <a:xfrm>
                <a:off x="741632" y="-283660"/>
                <a:ext cx="1172258" cy="930866"/>
              </a:xfrm>
              <a:custGeom>
                <a:avLst/>
                <a:gdLst>
                  <a:gd name="connsiteX0" fmla="*/ 0 w 1913890"/>
                  <a:gd name="connsiteY0" fmla="*/ 1913890 h 1913890"/>
                  <a:gd name="connsiteX1" fmla="*/ 1913890 w 1913890"/>
                  <a:gd name="connsiteY1" fmla="*/ 0 h 1913890"/>
                  <a:gd name="connsiteX2" fmla="*/ 1913890 w 1913890"/>
                  <a:gd name="connsiteY2" fmla="*/ 1913890 h 1913890"/>
                  <a:gd name="connsiteX3" fmla="*/ 0 w 1913890"/>
                  <a:gd name="connsiteY3" fmla="*/ 1913890 h 1913890"/>
                  <a:gd name="connsiteX0" fmla="*/ 0 w 1913890"/>
                  <a:gd name="connsiteY0" fmla="*/ 1913890 h 1913890"/>
                  <a:gd name="connsiteX1" fmla="*/ 1913890 w 1913890"/>
                  <a:gd name="connsiteY1" fmla="*/ 0 h 1913890"/>
                  <a:gd name="connsiteX2" fmla="*/ 0 w 1913890"/>
                  <a:gd name="connsiteY2" fmla="*/ 1913890 h 1913890"/>
                  <a:gd name="connsiteX0" fmla="*/ 0 w 1913890"/>
                  <a:gd name="connsiteY0" fmla="*/ 1913890 h 1913890"/>
                  <a:gd name="connsiteX1" fmla="*/ 810589 w 1913890"/>
                  <a:gd name="connsiteY1" fmla="*/ 810716 h 1913890"/>
                  <a:gd name="connsiteX2" fmla="*/ 1913890 w 1913890"/>
                  <a:gd name="connsiteY2" fmla="*/ 0 h 1913890"/>
                  <a:gd name="connsiteX3" fmla="*/ 0 w 1913890"/>
                  <a:gd name="connsiteY3" fmla="*/ 1913890 h 1913890"/>
                  <a:gd name="connsiteX0" fmla="*/ 1103301 w 1103301"/>
                  <a:gd name="connsiteY0" fmla="*/ 0 h 810716"/>
                  <a:gd name="connsiteX1" fmla="*/ 0 w 1103301"/>
                  <a:gd name="connsiteY1" fmla="*/ 810716 h 810716"/>
                  <a:gd name="connsiteX2" fmla="*/ 1103301 w 1103301"/>
                  <a:gd name="connsiteY2" fmla="*/ 0 h 810716"/>
                </a:gdLst>
                <a:ahLst/>
                <a:cxnLst>
                  <a:cxn ang="0">
                    <a:pos x="connsiteX0" y="connsiteY0"/>
                  </a:cxn>
                  <a:cxn ang="0">
                    <a:pos x="connsiteX1" y="connsiteY1"/>
                  </a:cxn>
                  <a:cxn ang="0">
                    <a:pos x="connsiteX2" y="connsiteY2"/>
                  </a:cxn>
                </a:cxnLst>
                <a:rect l="l" t="t" r="r" b="b"/>
                <a:pathLst>
                  <a:path w="1103301" h="810716">
                    <a:moveTo>
                      <a:pt x="1103301" y="0"/>
                    </a:moveTo>
                    <a:lnTo>
                      <a:pt x="0" y="810716"/>
                    </a:lnTo>
                    <a:lnTo>
                      <a:pt x="1103301" y="0"/>
                    </a:lnTo>
                    <a:close/>
                  </a:path>
                </a:pathLst>
              </a:custGeom>
              <a:solidFill>
                <a:srgbClr val="A6CDB6"/>
              </a:solidFill>
            </p:spPr>
          </p:sp>
        </p:grpSp>
        <p:grpSp>
          <p:nvGrpSpPr>
            <p:cNvPr id="28" name="Group 28"/>
            <p:cNvGrpSpPr/>
            <p:nvPr/>
          </p:nvGrpSpPr>
          <p:grpSpPr>
            <a:xfrm>
              <a:off x="8622545" y="3438998"/>
              <a:ext cx="101599" cy="287085"/>
              <a:chOff x="7282615" y="-2380785"/>
              <a:chExt cx="1913906" cy="5407965"/>
            </a:xfrm>
          </p:grpSpPr>
          <p:sp>
            <p:nvSpPr>
              <p:cNvPr id="52" name="Freeform 29">
                <a:extLst>
                  <a:ext uri="{FF2B5EF4-FFF2-40B4-BE49-F238E27FC236}">
                    <a16:creationId xmlns:a16="http://schemas.microsoft.com/office/drawing/2014/main" id="{D72CF86B-9E4D-4FC5-B010-D66F5C03637D}"/>
                  </a:ext>
                </a:extLst>
              </p:cNvPr>
              <p:cNvSpPr/>
              <p:nvPr/>
            </p:nvSpPr>
            <p:spPr>
              <a:xfrm>
                <a:off x="7282615" y="-2380785"/>
                <a:ext cx="1913906" cy="1913892"/>
              </a:xfrm>
              <a:custGeom>
                <a:avLst/>
                <a:gdLst/>
                <a:ahLst/>
                <a:cxnLst/>
                <a:rect l="l" t="t" r="r" b="b"/>
                <a:pathLst>
                  <a:path w="1913890" h="1913890">
                    <a:moveTo>
                      <a:pt x="0" y="0"/>
                    </a:moveTo>
                    <a:lnTo>
                      <a:pt x="1913890" y="0"/>
                    </a:lnTo>
                    <a:lnTo>
                      <a:pt x="1913890" y="1913890"/>
                    </a:lnTo>
                    <a:lnTo>
                      <a:pt x="0" y="1913890"/>
                    </a:lnTo>
                    <a:close/>
                  </a:path>
                </a:pathLst>
              </a:custGeom>
              <a:solidFill>
                <a:srgbClr val="A6CDB6"/>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H"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4" name="Freeform 29">
                <a:extLst>
                  <a:ext uri="{FF2B5EF4-FFF2-40B4-BE49-F238E27FC236}">
                    <a16:creationId xmlns:a16="http://schemas.microsoft.com/office/drawing/2014/main" id="{7AFF31F8-5275-44F9-9769-008FCFC59E40}"/>
                  </a:ext>
                </a:extLst>
              </p:cNvPr>
              <p:cNvSpPr/>
              <p:nvPr/>
            </p:nvSpPr>
            <p:spPr>
              <a:xfrm>
                <a:off x="7282645" y="1113302"/>
                <a:ext cx="1913876" cy="1913878"/>
              </a:xfrm>
              <a:custGeom>
                <a:avLst/>
                <a:gdLst/>
                <a:ahLst/>
                <a:cxnLst/>
                <a:rect l="l" t="t" r="r" b="b"/>
                <a:pathLst>
                  <a:path w="1913890" h="1913890">
                    <a:moveTo>
                      <a:pt x="0" y="0"/>
                    </a:moveTo>
                    <a:lnTo>
                      <a:pt x="1913890" y="0"/>
                    </a:lnTo>
                    <a:lnTo>
                      <a:pt x="1913890" y="1913890"/>
                    </a:lnTo>
                    <a:lnTo>
                      <a:pt x="0" y="1913890"/>
                    </a:lnTo>
                    <a:close/>
                  </a:path>
                </a:pathLst>
              </a:custGeom>
              <a:solidFill>
                <a:srgbClr val="A6CDB6"/>
              </a:solidFill>
            </p:spPr>
          </p:sp>
        </p:grpSp>
        <p:sp>
          <p:nvSpPr>
            <p:cNvPr id="36" name="TextBox 36"/>
            <p:cNvSpPr txBox="1"/>
            <p:nvPr/>
          </p:nvSpPr>
          <p:spPr>
            <a:xfrm>
              <a:off x="8797642" y="2188227"/>
              <a:ext cx="2999580" cy="1807023"/>
            </a:xfrm>
            <a:prstGeom prst="rect">
              <a:avLst/>
            </a:prstGeom>
          </p:spPr>
          <p:txBody>
            <a:bodyPr wrap="square" lIns="0" tIns="0" rIns="0" bIns="0" rtlCol="0" anchor="t">
              <a:spAutoFit/>
            </a:bodyPr>
            <a:lstStyle/>
            <a:p>
              <a:pPr marL="0" marR="0" lvl="0" indent="0" algn="l" defTabSz="609630" rtl="0" eaLnBrk="1" fontAlgn="auto" latinLnBrk="0" hangingPunct="1">
                <a:lnSpc>
                  <a:spcPct val="100000"/>
                </a:lnSpc>
                <a:spcBef>
                  <a:spcPts val="0"/>
                </a:spcBef>
                <a:spcAft>
                  <a:spcPts val="0"/>
                </a:spcAft>
                <a:buClrTx/>
                <a:buSzTx/>
                <a:buFontTx/>
                <a:buNone/>
                <a:tabLst/>
                <a:defRPr/>
              </a:pPr>
              <a:r>
                <a:rPr kumimoji="0" lang="fr-FR" sz="1667" b="1" i="0" u="none" strike="noStrike" cap="none" normalizeH="0" baseline="0" noProof="0" dirty="0">
                  <a:ln>
                    <a:noFill/>
                  </a:ln>
                  <a:solidFill>
                    <a:srgbClr val="FFFFFF"/>
                  </a:solidFill>
                  <a:effectLst/>
                  <a:uLnTx/>
                  <a:uFillTx/>
                  <a:latin typeface="HK Grotesk Medium"/>
                  <a:ea typeface="+mn-ea"/>
                  <a:cs typeface="+mn-cs"/>
                </a:rPr>
                <a:t>Protection</a:t>
              </a:r>
            </a:p>
            <a:p>
              <a:pPr marL="285750" marR="0" lvl="0" indent="-285750" algn="l" defTabSz="60963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667" b="0" i="0" u="none" strike="noStrike" cap="none" normalizeH="0" baseline="0" noProof="0" dirty="0">
                  <a:ln>
                    <a:noFill/>
                  </a:ln>
                  <a:solidFill>
                    <a:srgbClr val="FFFFFF"/>
                  </a:solidFill>
                  <a:effectLst/>
                  <a:uLnTx/>
                  <a:uFillTx/>
                  <a:latin typeface="HK Grotesk Medium"/>
                  <a:ea typeface="+mn-ea"/>
                  <a:cs typeface="+mn-cs"/>
                </a:rPr>
                <a:t>Entretiens / Enregistrements des individus et suivi individuel éventuel</a:t>
              </a:r>
            </a:p>
            <a:p>
              <a:pPr marL="285750" marR="0" lvl="0" indent="-285750" algn="l" defTabSz="60963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666" b="0" i="0" u="none" strike="noStrike" cap="none" normalizeH="0" baseline="0" noProof="0" dirty="0">
                  <a:ln>
                    <a:noFill/>
                  </a:ln>
                  <a:solidFill>
                    <a:srgbClr val="FFFFFF"/>
                  </a:solidFill>
                  <a:effectLst/>
                  <a:uLnTx/>
                  <a:uFillTx/>
                  <a:latin typeface="HK Grotesk Medium"/>
                  <a:ea typeface="+mn-ea"/>
                  <a:cs typeface="+mn-cs"/>
                </a:rPr>
                <a:t>Intervention communautaire</a:t>
              </a:r>
            </a:p>
            <a:p>
              <a:pPr marL="285750" marR="0" lvl="0" indent="-285750" algn="l" defTabSz="60963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666" b="0" i="0" u="none" strike="noStrike" cap="none" normalizeH="0" baseline="0" noProof="0" dirty="0">
                  <a:ln>
                    <a:noFill/>
                  </a:ln>
                  <a:solidFill>
                    <a:srgbClr val="FFFFFF"/>
                  </a:solidFill>
                  <a:effectLst/>
                  <a:uLnTx/>
                  <a:uFillTx/>
                  <a:latin typeface="HK Grotesk Medium"/>
                  <a:ea typeface="+mn-ea"/>
                  <a:cs typeface="+mn-cs"/>
                </a:rPr>
                <a:t>Lignes d’assistance téléphonique</a:t>
              </a:r>
            </a:p>
            <a:p>
              <a:pPr marL="285750" marR="0" lvl="0" indent="-285750" algn="l" defTabSz="60963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666" b="0" i="0" u="none" strike="noStrike" cap="none" normalizeH="0" baseline="0" noProof="0" dirty="0">
                  <a:ln>
                    <a:noFill/>
                  </a:ln>
                  <a:solidFill>
                    <a:srgbClr val="FFFFFF"/>
                  </a:solidFill>
                  <a:effectLst/>
                  <a:uLnTx/>
                  <a:uFillTx/>
                  <a:latin typeface="HK Grotesk Medium"/>
                  <a:ea typeface="+mn-ea"/>
                  <a:cs typeface="+mn-cs"/>
                </a:rPr>
                <a:t>Plans de sécurité</a:t>
              </a:r>
            </a:p>
            <a:p>
              <a:pPr marL="0" marR="0" lvl="0" indent="0" algn="l" defTabSz="609630" rtl="0" eaLnBrk="1" fontAlgn="auto" latinLnBrk="0" hangingPunct="1">
                <a:lnSpc>
                  <a:spcPct val="100000"/>
                </a:lnSpc>
                <a:spcBef>
                  <a:spcPts val="0"/>
                </a:spcBef>
                <a:spcAft>
                  <a:spcPts val="0"/>
                </a:spcAft>
                <a:buClrTx/>
                <a:buSzTx/>
                <a:buFontTx/>
                <a:buNone/>
                <a:tabLst/>
                <a:defRPr/>
              </a:pPr>
              <a:r>
                <a:rPr kumimoji="0" lang="fr-FR" sz="1667" b="0" i="0" u="none" strike="noStrike" cap="none" normalizeH="0" baseline="0" noProof="0" dirty="0">
                  <a:ln>
                    <a:noFill/>
                  </a:ln>
                  <a:solidFill>
                    <a:srgbClr val="FFFFFF"/>
                  </a:solidFill>
                  <a:effectLst/>
                  <a:uLnTx/>
                  <a:uFillTx/>
                  <a:latin typeface="HK Grotesk Medium"/>
                  <a:ea typeface="+mn-ea"/>
                  <a:cs typeface="+mn-cs"/>
                </a:rPr>
                <a:t> Logement sûr</a:t>
              </a:r>
            </a:p>
            <a:p>
              <a:pPr marL="0" marR="0" lvl="0" indent="0" algn="l" defTabSz="609630" rtl="0" eaLnBrk="1" fontAlgn="auto" latinLnBrk="0" hangingPunct="1">
                <a:lnSpc>
                  <a:spcPct val="100000"/>
                </a:lnSpc>
                <a:spcBef>
                  <a:spcPts val="0"/>
                </a:spcBef>
                <a:spcAft>
                  <a:spcPts val="0"/>
                </a:spcAft>
                <a:buClrTx/>
                <a:buSzTx/>
                <a:buFontTx/>
                <a:buNone/>
                <a:tabLst/>
                <a:defRPr/>
              </a:pPr>
              <a:r>
                <a:rPr kumimoji="0" lang="fr-FR" sz="1666" b="0" i="0" u="none" strike="noStrike" cap="none" normalizeH="0" baseline="0" noProof="0" dirty="0">
                  <a:ln>
                    <a:noFill/>
                  </a:ln>
                  <a:solidFill>
                    <a:srgbClr val="FFFFFF"/>
                  </a:solidFill>
                  <a:effectLst/>
                  <a:uLnTx/>
                  <a:uFillTx/>
                  <a:latin typeface="HK Grotesk Medium"/>
                  <a:ea typeface="+mn-ea"/>
                  <a:cs typeface="+mn-cs"/>
                </a:rPr>
                <a:t>Maintien de l’ordre </a:t>
              </a:r>
            </a:p>
          </p:txBody>
        </p:sp>
      </p:grpSp>
      <p:sp>
        <p:nvSpPr>
          <p:cNvPr id="37" name="TextBox 37"/>
          <p:cNvSpPr txBox="1"/>
          <p:nvPr/>
        </p:nvSpPr>
        <p:spPr>
          <a:xfrm>
            <a:off x="4708702" y="1316730"/>
            <a:ext cx="1414934" cy="269882"/>
          </a:xfrm>
          <a:prstGeom prst="rect">
            <a:avLst/>
          </a:prstGeom>
        </p:spPr>
        <p:txBody>
          <a:bodyPr lIns="0" tIns="0" rIns="0" bIns="0" rtlCol="0" anchor="t">
            <a:spAutoFit/>
          </a:bodyPr>
          <a:lstStyle/>
          <a:p>
            <a:pPr marL="0" marR="0" lvl="0" indent="0" algn="ctr" defTabSz="609630" rtl="0" eaLnBrk="1" fontAlgn="auto" latinLnBrk="0" hangingPunct="1">
              <a:lnSpc>
                <a:spcPts val="2333"/>
              </a:lnSpc>
              <a:spcBef>
                <a:spcPts val="0"/>
              </a:spcBef>
              <a:spcAft>
                <a:spcPts val="0"/>
              </a:spcAft>
              <a:buClrTx/>
              <a:buSzTx/>
              <a:buFontTx/>
              <a:buNone/>
              <a:tabLst/>
              <a:defRPr/>
            </a:pPr>
            <a:r>
              <a:rPr kumimoji="0" lang="fr-FR" sz="1667" b="0" i="0" u="none" strike="noStrike" cap="none" normalizeH="0" baseline="0" noProof="0" dirty="0">
                <a:ln>
                  <a:noFill/>
                </a:ln>
                <a:solidFill>
                  <a:srgbClr val="394D47"/>
                </a:solidFill>
                <a:effectLst/>
                <a:uLnTx/>
                <a:uFillTx/>
                <a:latin typeface="HK Grotesk Medium"/>
                <a:ea typeface="+mn-ea"/>
                <a:cs typeface="+mn-cs"/>
              </a:rPr>
              <a:t>SMSPS</a:t>
            </a:r>
          </a:p>
        </p:txBody>
      </p:sp>
      <p:sp>
        <p:nvSpPr>
          <p:cNvPr id="38" name="TextBox 38"/>
          <p:cNvSpPr txBox="1"/>
          <p:nvPr/>
        </p:nvSpPr>
        <p:spPr>
          <a:xfrm>
            <a:off x="6080302" y="5172612"/>
            <a:ext cx="1414934" cy="269882"/>
          </a:xfrm>
          <a:prstGeom prst="rect">
            <a:avLst/>
          </a:prstGeom>
        </p:spPr>
        <p:txBody>
          <a:bodyPr lIns="0" tIns="0" rIns="0" bIns="0" rtlCol="0" anchor="t">
            <a:spAutoFit/>
          </a:bodyPr>
          <a:lstStyle/>
          <a:p>
            <a:pPr marL="0" marR="0" lvl="0" indent="0" algn="ctr" defTabSz="609630" rtl="0" eaLnBrk="1" fontAlgn="auto" latinLnBrk="0" hangingPunct="1">
              <a:lnSpc>
                <a:spcPts val="2333"/>
              </a:lnSpc>
              <a:spcBef>
                <a:spcPts val="0"/>
              </a:spcBef>
              <a:spcAft>
                <a:spcPts val="0"/>
              </a:spcAft>
              <a:buClrTx/>
              <a:buSzTx/>
              <a:buFontTx/>
              <a:buNone/>
              <a:tabLst/>
              <a:defRPr/>
            </a:pPr>
            <a:r>
              <a:rPr kumimoji="0" lang="fr-FR" sz="1667" b="0" i="0" u="none" strike="noStrike" cap="none" normalizeH="0" baseline="0" noProof="0" dirty="0">
                <a:ln>
                  <a:noFill/>
                </a:ln>
                <a:solidFill>
                  <a:srgbClr val="394D47"/>
                </a:solidFill>
                <a:effectLst/>
                <a:uLnTx/>
                <a:uFillTx/>
                <a:latin typeface="HK Grotesk Medium"/>
                <a:ea typeface="+mn-ea"/>
                <a:cs typeface="+mn-cs"/>
              </a:rPr>
              <a:t>Justice</a:t>
            </a:r>
          </a:p>
        </p:txBody>
      </p:sp>
      <p:sp>
        <p:nvSpPr>
          <p:cNvPr id="39" name="TextBox 39"/>
          <p:cNvSpPr txBox="1"/>
          <p:nvPr/>
        </p:nvSpPr>
        <p:spPr>
          <a:xfrm>
            <a:off x="6707632" y="2754822"/>
            <a:ext cx="1414934" cy="269882"/>
          </a:xfrm>
          <a:prstGeom prst="rect">
            <a:avLst/>
          </a:prstGeom>
        </p:spPr>
        <p:txBody>
          <a:bodyPr lIns="0" tIns="0" rIns="0" bIns="0" rtlCol="0" anchor="t">
            <a:spAutoFit/>
          </a:bodyPr>
          <a:lstStyle/>
          <a:p>
            <a:pPr marL="0" marR="0" lvl="0" indent="0" algn="ctr" defTabSz="609630" rtl="0" eaLnBrk="1" fontAlgn="auto" latinLnBrk="0" hangingPunct="1">
              <a:lnSpc>
                <a:spcPts val="2333"/>
              </a:lnSpc>
              <a:spcBef>
                <a:spcPts val="0"/>
              </a:spcBef>
              <a:spcAft>
                <a:spcPts val="0"/>
              </a:spcAft>
              <a:buClrTx/>
              <a:buSzTx/>
              <a:buFontTx/>
              <a:buNone/>
              <a:tabLst/>
              <a:defRPr/>
            </a:pPr>
            <a:r>
              <a:rPr kumimoji="0" lang="fr-FR" sz="1667" b="0" i="0" u="none" strike="noStrike" cap="none" normalizeH="0" baseline="0" noProof="0" dirty="0">
                <a:ln>
                  <a:noFill/>
                </a:ln>
                <a:solidFill>
                  <a:srgbClr val="394D47"/>
                </a:solidFill>
                <a:effectLst/>
                <a:uLnTx/>
                <a:uFillTx/>
                <a:latin typeface="HK Grotesk Medium"/>
                <a:ea typeface="+mn-ea"/>
                <a:cs typeface="+mn-cs"/>
              </a:rPr>
              <a:t>Protection</a:t>
            </a:r>
          </a:p>
        </p:txBody>
      </p:sp>
      <p:sp>
        <p:nvSpPr>
          <p:cNvPr id="40" name="TextBox 40"/>
          <p:cNvSpPr txBox="1"/>
          <p:nvPr/>
        </p:nvSpPr>
        <p:spPr>
          <a:xfrm>
            <a:off x="2634334" y="2756021"/>
            <a:ext cx="1414934" cy="269882"/>
          </a:xfrm>
          <a:prstGeom prst="rect">
            <a:avLst/>
          </a:prstGeom>
        </p:spPr>
        <p:txBody>
          <a:bodyPr lIns="0" tIns="0" rIns="0" bIns="0" rtlCol="0" anchor="t">
            <a:spAutoFit/>
          </a:bodyPr>
          <a:lstStyle/>
          <a:p>
            <a:pPr marL="0" marR="0" lvl="0" indent="0" algn="ctr" defTabSz="609630" rtl="0" eaLnBrk="1" fontAlgn="auto" latinLnBrk="0" hangingPunct="1">
              <a:lnSpc>
                <a:spcPts val="2333"/>
              </a:lnSpc>
              <a:spcBef>
                <a:spcPts val="0"/>
              </a:spcBef>
              <a:spcAft>
                <a:spcPts val="0"/>
              </a:spcAft>
              <a:buClrTx/>
              <a:buSzTx/>
              <a:buFontTx/>
              <a:buNone/>
              <a:tabLst/>
              <a:defRPr/>
            </a:pPr>
            <a:r>
              <a:rPr kumimoji="0" lang="fr-FR" sz="1667" b="0" i="0" u="none" strike="noStrike" cap="none" normalizeH="0" baseline="0" noProof="0" dirty="0">
                <a:ln>
                  <a:noFill/>
                </a:ln>
                <a:solidFill>
                  <a:srgbClr val="394D47"/>
                </a:solidFill>
                <a:effectLst/>
                <a:uLnTx/>
                <a:uFillTx/>
                <a:latin typeface="HK Grotesk Medium"/>
                <a:ea typeface="+mn-ea"/>
                <a:cs typeface="+mn-cs"/>
              </a:rPr>
              <a:t>Soins</a:t>
            </a:r>
          </a:p>
        </p:txBody>
      </p:sp>
      <p:sp>
        <p:nvSpPr>
          <p:cNvPr id="41" name="TextBox 41"/>
          <p:cNvSpPr txBox="1"/>
          <p:nvPr/>
        </p:nvSpPr>
        <p:spPr>
          <a:xfrm>
            <a:off x="3114716" y="5144611"/>
            <a:ext cx="1414934" cy="269882"/>
          </a:xfrm>
          <a:prstGeom prst="rect">
            <a:avLst/>
          </a:prstGeom>
        </p:spPr>
        <p:txBody>
          <a:bodyPr lIns="0" tIns="0" rIns="0" bIns="0" rtlCol="0" anchor="t">
            <a:spAutoFit/>
          </a:bodyPr>
          <a:lstStyle/>
          <a:p>
            <a:pPr marL="0" marR="0" lvl="0" indent="0" algn="ctr" defTabSz="609630" rtl="0" eaLnBrk="1" fontAlgn="auto" latinLnBrk="0" hangingPunct="1">
              <a:lnSpc>
                <a:spcPts val="2333"/>
              </a:lnSpc>
              <a:spcBef>
                <a:spcPts val="0"/>
              </a:spcBef>
              <a:spcAft>
                <a:spcPts val="0"/>
              </a:spcAft>
              <a:buClrTx/>
              <a:buSzTx/>
              <a:buFontTx/>
              <a:buNone/>
              <a:tabLst/>
              <a:defRPr/>
            </a:pPr>
            <a:r>
              <a:rPr kumimoji="0" lang="fr-FR" sz="1667" b="0" i="0" u="none" strike="noStrike" cap="none" normalizeH="0" baseline="0" noProof="0" dirty="0">
                <a:ln>
                  <a:noFill/>
                </a:ln>
                <a:solidFill>
                  <a:srgbClr val="394D47"/>
                </a:solidFill>
                <a:effectLst/>
                <a:uLnTx/>
                <a:uFillTx/>
                <a:latin typeface="HK Grotesk Medium"/>
                <a:ea typeface="+mn-ea"/>
                <a:cs typeface="+mn-cs"/>
              </a:rPr>
              <a:t>Économie</a:t>
            </a:r>
          </a:p>
        </p:txBody>
      </p:sp>
      <p:sp>
        <p:nvSpPr>
          <p:cNvPr id="42" name="TextBox 42"/>
          <p:cNvSpPr txBox="1"/>
          <p:nvPr/>
        </p:nvSpPr>
        <p:spPr>
          <a:xfrm>
            <a:off x="4608404" y="2402363"/>
            <a:ext cx="1634500" cy="367355"/>
          </a:xfrm>
          <a:prstGeom prst="rect">
            <a:avLst/>
          </a:prstGeom>
        </p:spPr>
        <p:txBody>
          <a:bodyPr spcFirstLastPara="1" lIns="0" tIns="0" rIns="0" bIns="0" numCol="1" rtlCol="0" anchor="t">
            <a:prstTxWarp prst="textArchUp">
              <a:avLst/>
            </a:prstTxWarp>
            <a:spAutoFit/>
          </a:bodyPr>
          <a:lstStyle/>
          <a:p>
            <a:pPr marL="0" marR="0" lvl="0" indent="0" algn="ctr" defTabSz="609630" rtl="0" eaLnBrk="1" fontAlgn="auto" latinLnBrk="0" hangingPunct="1">
              <a:lnSpc>
                <a:spcPts val="2333"/>
              </a:lnSpc>
              <a:spcBef>
                <a:spcPts val="0"/>
              </a:spcBef>
              <a:spcAft>
                <a:spcPts val="0"/>
              </a:spcAft>
              <a:buClrTx/>
              <a:buSzTx/>
              <a:buFontTx/>
              <a:buNone/>
              <a:tabLst/>
              <a:defRPr/>
            </a:pPr>
            <a:r>
              <a:rPr kumimoji="0" lang="fr-FR" sz="1667" b="0" i="0" u="none" strike="noStrike" cap="none" normalizeH="0" baseline="0" noProof="0" dirty="0">
                <a:ln>
                  <a:noFill/>
                </a:ln>
                <a:solidFill>
                  <a:srgbClr val="FFFFFF"/>
                </a:solidFill>
                <a:effectLst/>
                <a:uLnTx/>
                <a:uFillTx/>
                <a:latin typeface="HK Grotesk Medium"/>
                <a:ea typeface="+mn-ea"/>
                <a:cs typeface="+mn-cs"/>
              </a:rPr>
              <a:t>Ne pas nuire</a:t>
            </a:r>
          </a:p>
        </p:txBody>
      </p:sp>
      <p:sp>
        <p:nvSpPr>
          <p:cNvPr id="43" name="TextBox 43"/>
          <p:cNvSpPr txBox="1"/>
          <p:nvPr/>
        </p:nvSpPr>
        <p:spPr>
          <a:xfrm>
            <a:off x="6707630" y="391883"/>
            <a:ext cx="4821739" cy="1321131"/>
          </a:xfrm>
          <a:prstGeom prst="rect">
            <a:avLst/>
          </a:prstGeom>
        </p:spPr>
        <p:txBody>
          <a:bodyPr wrap="square" lIns="0" tIns="0" rIns="0" bIns="0" rtlCol="0" anchor="t">
            <a:spAutoFit/>
          </a:bodyPr>
          <a:lstStyle/>
          <a:p>
            <a:pPr marL="179925" marR="0" lvl="1" indent="0" algn="l" defTabSz="609630" rtl="0" eaLnBrk="1" fontAlgn="auto" latinLnBrk="0" hangingPunct="1">
              <a:lnSpc>
                <a:spcPts val="2333"/>
              </a:lnSpc>
              <a:spcBef>
                <a:spcPts val="0"/>
              </a:spcBef>
              <a:spcAft>
                <a:spcPts val="0"/>
              </a:spcAft>
              <a:buClrTx/>
              <a:buSzTx/>
              <a:buFontTx/>
              <a:buNone/>
              <a:tabLst/>
              <a:defRPr/>
            </a:pPr>
            <a:r>
              <a:rPr kumimoji="0" lang="fr-FR" sz="1667" b="1" i="0" u="none" strike="noStrike" cap="none" normalizeH="0" baseline="0" noProof="0" dirty="0">
                <a:ln>
                  <a:noFill/>
                </a:ln>
                <a:solidFill>
                  <a:srgbClr val="FFFFFF"/>
                </a:solidFill>
                <a:effectLst/>
                <a:uLnTx/>
                <a:uFillTx/>
                <a:latin typeface="HK Grotesk Medium"/>
                <a:ea typeface="+mn-ea"/>
                <a:cs typeface="+mn-cs"/>
              </a:rPr>
              <a:t>Santé mentale et soutien psychosocial</a:t>
            </a:r>
          </a:p>
          <a:p>
            <a:pPr marL="465675" marR="0" lvl="1" indent="-285750" algn="l" defTabSz="60963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667" b="0" i="0" u="none" strike="noStrike" cap="none" normalizeH="0" baseline="0" noProof="0" dirty="0">
                <a:ln>
                  <a:noFill/>
                </a:ln>
                <a:solidFill>
                  <a:srgbClr val="FFFFFF"/>
                </a:solidFill>
                <a:effectLst/>
                <a:uLnTx/>
                <a:uFillTx/>
                <a:latin typeface="HK Grotesk Medium"/>
                <a:ea typeface="+mn-ea"/>
                <a:cs typeface="+mn-cs"/>
              </a:rPr>
              <a:t>Séances individuelles</a:t>
            </a:r>
          </a:p>
          <a:p>
            <a:pPr marL="359851" marR="0" lvl="1" indent="-179926" algn="l" defTabSz="609630" rtl="0" eaLnBrk="1" fontAlgn="auto" latinLnBrk="0" hangingPunct="1">
              <a:lnSpc>
                <a:spcPct val="100000"/>
              </a:lnSpc>
              <a:spcBef>
                <a:spcPts val="0"/>
              </a:spcBef>
              <a:spcAft>
                <a:spcPts val="0"/>
              </a:spcAft>
              <a:buClrTx/>
              <a:buSzTx/>
              <a:buFont typeface="Arial"/>
              <a:buChar char="•"/>
              <a:tabLst/>
              <a:defRPr/>
            </a:pPr>
            <a:r>
              <a:rPr kumimoji="0" lang="fr-FR" sz="1667" b="0" i="0" u="none" strike="noStrike" cap="none" normalizeH="0" baseline="0" noProof="0" dirty="0">
                <a:ln>
                  <a:noFill/>
                </a:ln>
                <a:solidFill>
                  <a:srgbClr val="FFFFFF"/>
                </a:solidFill>
                <a:effectLst/>
                <a:uLnTx/>
                <a:uFillTx/>
                <a:latin typeface="HK Grotesk Medium"/>
                <a:ea typeface="+mn-ea"/>
                <a:cs typeface="+mn-cs"/>
              </a:rPr>
              <a:t>Thérapie de groupe</a:t>
            </a:r>
          </a:p>
          <a:p>
            <a:pPr marL="359851" marR="0" lvl="1" indent="-179926" algn="l" defTabSz="609630" rtl="0" eaLnBrk="1" fontAlgn="auto" latinLnBrk="0" hangingPunct="1">
              <a:lnSpc>
                <a:spcPct val="100000"/>
              </a:lnSpc>
              <a:spcBef>
                <a:spcPts val="0"/>
              </a:spcBef>
              <a:spcAft>
                <a:spcPts val="0"/>
              </a:spcAft>
              <a:buClrTx/>
              <a:buSzTx/>
              <a:buFont typeface="Arial"/>
              <a:buChar char="•"/>
              <a:tabLst/>
              <a:defRPr/>
            </a:pPr>
            <a:r>
              <a:rPr kumimoji="0" lang="fr-FR" sz="1667" b="0" i="0" u="none" strike="noStrike" cap="none" normalizeH="0" baseline="0" noProof="0" dirty="0">
                <a:ln>
                  <a:noFill/>
                </a:ln>
                <a:solidFill>
                  <a:srgbClr val="FFFFFF"/>
                </a:solidFill>
                <a:effectLst/>
                <a:uLnTx/>
                <a:uFillTx/>
                <a:latin typeface="HK Grotesk Medium"/>
                <a:ea typeface="+mn-ea"/>
                <a:cs typeface="+mn-cs"/>
              </a:rPr>
              <a:t>Activités sociales</a:t>
            </a:r>
          </a:p>
          <a:p>
            <a:pPr marL="359851" marR="0" lvl="1" indent="-179926" algn="l" defTabSz="609630" rtl="0" eaLnBrk="1" fontAlgn="auto" latinLnBrk="0" hangingPunct="1">
              <a:lnSpc>
                <a:spcPct val="100000"/>
              </a:lnSpc>
              <a:spcBef>
                <a:spcPts val="0"/>
              </a:spcBef>
              <a:spcAft>
                <a:spcPts val="0"/>
              </a:spcAft>
              <a:buClrTx/>
              <a:buSzTx/>
              <a:buFont typeface="Arial"/>
              <a:buChar char="•"/>
              <a:tabLst/>
              <a:defRPr/>
            </a:pPr>
            <a:r>
              <a:rPr kumimoji="0" lang="fr-FR" sz="1667" b="0" i="0" u="none" strike="noStrike" cap="none" normalizeH="0" baseline="0" noProof="0" dirty="0">
                <a:ln>
                  <a:noFill/>
                </a:ln>
                <a:solidFill>
                  <a:srgbClr val="FFFFFF"/>
                </a:solidFill>
                <a:effectLst/>
                <a:uLnTx/>
                <a:uFillTx/>
                <a:latin typeface="HK Grotesk Medium"/>
                <a:ea typeface="+mn-ea"/>
                <a:cs typeface="+mn-cs"/>
              </a:rPr>
              <a:t>Soutien par les pairs </a:t>
            </a:r>
          </a:p>
        </p:txBody>
      </p:sp>
      <p:sp>
        <p:nvSpPr>
          <p:cNvPr id="44" name="TextBox 44"/>
          <p:cNvSpPr txBox="1"/>
          <p:nvPr/>
        </p:nvSpPr>
        <p:spPr>
          <a:xfrm>
            <a:off x="252406" y="2048752"/>
            <a:ext cx="2277805" cy="2565446"/>
          </a:xfrm>
          <a:prstGeom prst="rect">
            <a:avLst/>
          </a:prstGeom>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67" b="1" i="0" u="none" strike="noStrike" cap="none" normalizeH="0" baseline="0" noProof="0" dirty="0">
                <a:ln>
                  <a:noFill/>
                </a:ln>
                <a:solidFill>
                  <a:srgbClr val="FFFFFF"/>
                </a:solidFill>
                <a:effectLst/>
                <a:uLnTx/>
                <a:uFillTx/>
                <a:latin typeface="HK Grotesk Medium"/>
                <a:ea typeface="+mn-ea"/>
                <a:cs typeface="+mn-cs"/>
              </a:rPr>
              <a:t>Soins médicaux</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667" dirty="0">
                <a:solidFill>
                  <a:srgbClr val="FFFFFF"/>
                </a:solidFill>
                <a:latin typeface="HK Grotesk Medium"/>
              </a:rPr>
              <a:t>P</a:t>
            </a:r>
            <a:r>
              <a:rPr kumimoji="0" lang="fr-FR" sz="1667" b="0" i="0" u="none" strike="noStrike" cap="none" normalizeH="0" baseline="0" noProof="0" dirty="0">
                <a:ln>
                  <a:noFill/>
                </a:ln>
                <a:solidFill>
                  <a:srgbClr val="FFFFFF"/>
                </a:solidFill>
                <a:effectLst/>
                <a:uLnTx/>
                <a:uFillTx/>
                <a:latin typeface="HK Grotesk Medium"/>
                <a:ea typeface="+mn-ea"/>
                <a:cs typeface="+mn-cs"/>
              </a:rPr>
              <a:t>rise en charge clinique des victimes de viol se présentant dans les 72 heures suivant l’incident ou plus de 72 heures après l’inciden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667" b="0" i="0" u="none" strike="noStrike" cap="none" normalizeH="0" baseline="0" noProof="0" dirty="0">
                <a:ln>
                  <a:noFill/>
                </a:ln>
                <a:solidFill>
                  <a:srgbClr val="FFFFFF"/>
                </a:solidFill>
                <a:effectLst/>
                <a:uLnTx/>
                <a:uFillTx/>
                <a:latin typeface="HK Grotesk Medium"/>
                <a:ea typeface="+mn-ea"/>
                <a:cs typeface="+mn-cs"/>
              </a:rPr>
              <a:t>Suivi des victimes et personnes survivantes</a:t>
            </a:r>
          </a:p>
        </p:txBody>
      </p:sp>
      <p:sp>
        <p:nvSpPr>
          <p:cNvPr id="45" name="TextBox 45"/>
          <p:cNvSpPr txBox="1"/>
          <p:nvPr/>
        </p:nvSpPr>
        <p:spPr>
          <a:xfrm>
            <a:off x="252406" y="4690769"/>
            <a:ext cx="2791737" cy="1833835"/>
          </a:xfrm>
          <a:prstGeom prst="rect">
            <a:avLst/>
          </a:prstGeom>
        </p:spPr>
        <p:txBody>
          <a:bodyPr wrap="square" lIns="0" tIns="0" rIns="0" bIns="0" rtlCol="0" anchor="t">
            <a:spAutoFit/>
          </a:bodyPr>
          <a:lstStyle/>
          <a:p>
            <a:pPr marL="179925" marR="0" lvl="1" indent="0" algn="l" defTabSz="609630" rtl="0" eaLnBrk="1" fontAlgn="auto" latinLnBrk="0" hangingPunct="1">
              <a:lnSpc>
                <a:spcPts val="2333"/>
              </a:lnSpc>
              <a:spcBef>
                <a:spcPts val="0"/>
              </a:spcBef>
              <a:spcAft>
                <a:spcPts val="0"/>
              </a:spcAft>
              <a:buClrTx/>
              <a:buSzTx/>
              <a:buFontTx/>
              <a:buNone/>
              <a:tabLst/>
              <a:defRPr/>
            </a:pPr>
            <a:r>
              <a:rPr kumimoji="0" lang="fr-FR" sz="1667" b="1" i="0" u="none" strike="noStrike" cap="none" normalizeH="0" baseline="0" noProof="0" dirty="0">
                <a:ln>
                  <a:noFill/>
                </a:ln>
                <a:solidFill>
                  <a:srgbClr val="FFFFFF"/>
                </a:solidFill>
                <a:effectLst/>
                <a:uLnTx/>
                <a:uFillTx/>
                <a:latin typeface="HK Grotesk Medium"/>
                <a:ea typeface="+mn-ea"/>
                <a:cs typeface="+mn-cs"/>
              </a:rPr>
              <a:t>Aide d’urgence </a:t>
            </a:r>
            <a:r>
              <a:rPr kumimoji="0" lang="fr-FR" sz="1667" b="0" i="0" u="none" strike="noStrike" cap="none" normalizeH="0" baseline="0" noProof="0" dirty="0">
                <a:ln>
                  <a:noFill/>
                </a:ln>
                <a:solidFill>
                  <a:srgbClr val="FFFFFF"/>
                </a:solidFill>
                <a:effectLst/>
                <a:uLnTx/>
                <a:uFillTx/>
                <a:latin typeface="HK Grotesk Medium"/>
                <a:ea typeface="+mn-ea"/>
                <a:cs typeface="+mn-cs"/>
              </a:rPr>
              <a:t>:</a:t>
            </a:r>
            <a:r>
              <a:rPr kumimoji="0" lang="fr-FR" sz="1667" b="1" i="0" u="none" strike="noStrike" cap="none" normalizeH="0" baseline="0" noProof="0" dirty="0">
                <a:ln>
                  <a:noFill/>
                </a:ln>
                <a:solidFill>
                  <a:srgbClr val="FFFFFF"/>
                </a:solidFill>
                <a:effectLst/>
                <a:uLnTx/>
                <a:uFillTx/>
                <a:latin typeface="HK Grotesk Medium"/>
                <a:ea typeface="+mn-ea"/>
                <a:cs typeface="+mn-cs"/>
              </a:rPr>
              <a:t> </a:t>
            </a:r>
          </a:p>
          <a:p>
            <a:pPr marL="285750" marR="0" lvl="0" indent="-285750" algn="l" defTabSz="60963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667" b="0" i="0" u="none" strike="noStrike" cap="none" normalizeH="0" baseline="0" noProof="0" dirty="0">
                <a:ln>
                  <a:noFill/>
                </a:ln>
                <a:solidFill>
                  <a:srgbClr val="FFFFFF"/>
                </a:solidFill>
                <a:effectLst/>
                <a:uLnTx/>
                <a:uFillTx/>
                <a:latin typeface="HK Grotesk Medium"/>
                <a:ea typeface="+mn-ea"/>
                <a:cs typeface="+mn-cs"/>
              </a:rPr>
              <a:t>Distribution de vivres et d’autres articles, dépenses indispensables (en nature, transferts monétaires et/ou bons</a:t>
            </a:r>
          </a:p>
          <a:p>
            <a:pPr marL="359851" marR="0" lvl="1" indent="-179926" algn="l" defTabSz="609630" rtl="0" eaLnBrk="1" fontAlgn="auto" latinLnBrk="0" hangingPunct="1">
              <a:lnSpc>
                <a:spcPct val="100000"/>
              </a:lnSpc>
              <a:spcBef>
                <a:spcPts val="0"/>
              </a:spcBef>
              <a:spcAft>
                <a:spcPts val="0"/>
              </a:spcAft>
              <a:buClrTx/>
              <a:buSzTx/>
              <a:buFont typeface="Arial"/>
              <a:buChar char="•"/>
              <a:tabLst/>
              <a:defRPr/>
            </a:pPr>
            <a:r>
              <a:rPr kumimoji="0" lang="fr-FR" sz="1666" b="0" i="0" u="none" strike="noStrike" cap="none" normalizeH="0" baseline="0" noProof="0" dirty="0">
                <a:ln>
                  <a:noFill/>
                </a:ln>
                <a:solidFill>
                  <a:srgbClr val="FFFFFF"/>
                </a:solidFill>
                <a:effectLst/>
                <a:uLnTx/>
                <a:uFillTx/>
                <a:latin typeface="HK Grotesk Medium"/>
                <a:ea typeface="+mn-ea"/>
                <a:cs typeface="+mn-cs"/>
              </a:rPr>
              <a:t>Mise en lien avec les filets de sécurité sociale</a:t>
            </a:r>
          </a:p>
        </p:txBody>
      </p:sp>
      <p:sp>
        <p:nvSpPr>
          <p:cNvPr id="46" name="TextBox 46"/>
          <p:cNvSpPr txBox="1"/>
          <p:nvPr/>
        </p:nvSpPr>
        <p:spPr>
          <a:xfrm>
            <a:off x="7736977" y="5111970"/>
            <a:ext cx="2381930" cy="1457450"/>
          </a:xfrm>
          <a:prstGeom prst="rect">
            <a:avLst/>
          </a:prstGeom>
        </p:spPr>
        <p:txBody>
          <a:bodyPr wrap="square" lIns="0" tIns="0" rIns="0" bIns="0" rtlCol="0" anchor="t">
            <a:spAutoFit/>
          </a:bodyPr>
          <a:lstStyle/>
          <a:p>
            <a:pPr marL="0" marR="0" lvl="0" indent="0" algn="l" defTabSz="609630" rtl="0" eaLnBrk="1" fontAlgn="auto" latinLnBrk="0" hangingPunct="1">
              <a:lnSpc>
                <a:spcPts val="2333"/>
              </a:lnSpc>
              <a:spcBef>
                <a:spcPts val="0"/>
              </a:spcBef>
              <a:spcAft>
                <a:spcPts val="0"/>
              </a:spcAft>
              <a:buClrTx/>
              <a:buSzTx/>
              <a:buFontTx/>
              <a:buNone/>
              <a:tabLst/>
              <a:defRPr/>
            </a:pPr>
            <a:r>
              <a:rPr kumimoji="0" lang="fr-FR" sz="1667" b="0" i="0" u="none" strike="noStrike" cap="none" normalizeH="0" baseline="0" noProof="0" dirty="0">
                <a:ln>
                  <a:noFill/>
                </a:ln>
                <a:solidFill>
                  <a:srgbClr val="FFFFFF"/>
                </a:solidFill>
                <a:effectLst/>
                <a:uLnTx/>
                <a:uFillTx/>
                <a:latin typeface="HK Grotesk Medium"/>
                <a:ea typeface="+mn-ea"/>
                <a:cs typeface="+mn-cs"/>
              </a:rPr>
              <a:t>Soutien juridique et représentation</a:t>
            </a:r>
          </a:p>
          <a:p>
            <a:pPr marL="0" marR="0" lvl="0" indent="0" algn="l" defTabSz="609630" rtl="0" eaLnBrk="1" fontAlgn="auto" latinLnBrk="0" hangingPunct="1">
              <a:lnSpc>
                <a:spcPts val="2333"/>
              </a:lnSpc>
              <a:spcBef>
                <a:spcPts val="0"/>
              </a:spcBef>
              <a:spcAft>
                <a:spcPts val="0"/>
              </a:spcAft>
              <a:buClrTx/>
              <a:buSzTx/>
              <a:buFontTx/>
              <a:buNone/>
              <a:tabLst/>
              <a:defRPr/>
            </a:pPr>
            <a:r>
              <a:rPr kumimoji="0" lang="fr-FR" sz="1666" b="0" i="0" u="none" strike="noStrike" cap="none" normalizeH="0" baseline="0" noProof="0" dirty="0">
                <a:ln>
                  <a:noFill/>
                </a:ln>
                <a:solidFill>
                  <a:srgbClr val="FFFFFF"/>
                </a:solidFill>
                <a:effectLst/>
                <a:uLnTx/>
                <a:uFillTx/>
                <a:latin typeface="HK Grotesk Medium"/>
                <a:ea typeface="+mn-ea"/>
                <a:cs typeface="+mn-cs"/>
              </a:rPr>
              <a:t>Procédures forensiques</a:t>
            </a:r>
          </a:p>
          <a:p>
            <a:pPr marL="0" marR="0" lvl="0" indent="0" algn="l" defTabSz="609630" rtl="0" eaLnBrk="1" fontAlgn="auto" latinLnBrk="0" hangingPunct="1">
              <a:lnSpc>
                <a:spcPts val="2333"/>
              </a:lnSpc>
              <a:spcBef>
                <a:spcPts val="0"/>
              </a:spcBef>
              <a:spcAft>
                <a:spcPts val="0"/>
              </a:spcAft>
              <a:buClrTx/>
              <a:buSzTx/>
              <a:buFontTx/>
              <a:buNone/>
              <a:tabLst/>
              <a:defRPr/>
            </a:pPr>
            <a:r>
              <a:rPr kumimoji="0" lang="fr-FR" sz="1666" b="0" i="0" u="none" strike="noStrike" cap="none" normalizeH="0" baseline="0" noProof="0" dirty="0">
                <a:ln>
                  <a:noFill/>
                </a:ln>
                <a:solidFill>
                  <a:srgbClr val="FFFFFF"/>
                </a:solidFill>
                <a:effectLst/>
                <a:uLnTx/>
                <a:uFillTx/>
                <a:latin typeface="HK Grotesk Medium"/>
                <a:ea typeface="+mn-ea"/>
                <a:cs typeface="+mn-cs"/>
              </a:rPr>
              <a:t>Sanction des auteurs de violences sexuelles</a:t>
            </a:r>
          </a:p>
        </p:txBody>
      </p:sp>
      <p:grpSp>
        <p:nvGrpSpPr>
          <p:cNvPr id="47" name="Group 47"/>
          <p:cNvGrpSpPr/>
          <p:nvPr/>
        </p:nvGrpSpPr>
        <p:grpSpPr>
          <a:xfrm>
            <a:off x="10362072" y="4795589"/>
            <a:ext cx="101600" cy="101600"/>
            <a:chOff x="0" y="0"/>
            <a:chExt cx="1913890" cy="1913890"/>
          </a:xfrm>
        </p:grpSpPr>
        <p:sp>
          <p:nvSpPr>
            <p:cNvPr id="48" name="Freeform 48"/>
            <p:cNvSpPr/>
            <p:nvPr/>
          </p:nvSpPr>
          <p:spPr>
            <a:xfrm>
              <a:off x="0" y="0"/>
              <a:ext cx="1913890" cy="1913890"/>
            </a:xfrm>
            <a:custGeom>
              <a:avLst/>
              <a:gdLst/>
              <a:ahLst/>
              <a:cxnLst/>
              <a:rect l="l" t="t" r="r" b="b"/>
              <a:pathLst>
                <a:path w="1913890" h="1913890">
                  <a:moveTo>
                    <a:pt x="0" y="0"/>
                  </a:moveTo>
                  <a:lnTo>
                    <a:pt x="1913890" y="0"/>
                  </a:lnTo>
                  <a:lnTo>
                    <a:pt x="1913890" y="1913890"/>
                  </a:lnTo>
                  <a:lnTo>
                    <a:pt x="0" y="1913890"/>
                  </a:lnTo>
                  <a:close/>
                </a:path>
              </a:pathLst>
            </a:custGeom>
            <a:solidFill>
              <a:srgbClr val="A6CDB6"/>
            </a:solidFill>
          </p:spPr>
        </p:sp>
      </p:grpSp>
      <p:sp>
        <p:nvSpPr>
          <p:cNvPr id="49" name="TextBox 49"/>
          <p:cNvSpPr txBox="1"/>
          <p:nvPr/>
        </p:nvSpPr>
        <p:spPr>
          <a:xfrm>
            <a:off x="10523377" y="4732867"/>
            <a:ext cx="1425462" cy="1591333"/>
          </a:xfrm>
          <a:prstGeom prst="rect">
            <a:avLst/>
          </a:prstGeom>
        </p:spPr>
        <p:txBody>
          <a:bodyPr lIns="0" tIns="0" rIns="0" bIns="0" rtlCol="0" anchor="t">
            <a:spAutoFit/>
          </a:bodyPr>
          <a:lstStyle/>
          <a:p>
            <a:pPr marL="0" marR="0" lvl="0" indent="0" algn="l" defTabSz="609630" rtl="0" eaLnBrk="1" fontAlgn="auto" latinLnBrk="0" hangingPunct="1">
              <a:lnSpc>
                <a:spcPts val="2053"/>
              </a:lnSpc>
              <a:spcBef>
                <a:spcPts val="0"/>
              </a:spcBef>
              <a:spcAft>
                <a:spcPts val="0"/>
              </a:spcAft>
              <a:buClrTx/>
              <a:buSzTx/>
              <a:buFontTx/>
              <a:buNone/>
              <a:tabLst/>
              <a:defRPr/>
            </a:pPr>
            <a:r>
              <a:rPr kumimoji="0" lang="fr-FR" sz="1467" b="0" i="0" u="none" strike="noStrike" cap="none" normalizeH="0" baseline="0" noProof="0" dirty="0">
                <a:ln>
                  <a:noFill/>
                </a:ln>
                <a:solidFill>
                  <a:srgbClr val="FFFFFF"/>
                </a:solidFill>
                <a:effectLst/>
                <a:uLnTx/>
                <a:uFillTx/>
                <a:latin typeface="HK Grotesk Medium"/>
                <a:ea typeface="+mn-ea"/>
                <a:cs typeface="+mn-cs"/>
              </a:rPr>
              <a:t>Généralement non prises en charge par le CICR</a:t>
            </a:r>
          </a:p>
          <a:p>
            <a:pPr marL="0" marR="0" lvl="0" indent="0" algn="l" defTabSz="609630" rtl="0" eaLnBrk="1" fontAlgn="auto" latinLnBrk="0" hangingPunct="1">
              <a:lnSpc>
                <a:spcPts val="2053"/>
              </a:lnSpc>
              <a:spcBef>
                <a:spcPts val="0"/>
              </a:spcBef>
              <a:spcAft>
                <a:spcPts val="0"/>
              </a:spcAft>
              <a:buClrTx/>
              <a:buSzTx/>
              <a:buFontTx/>
              <a:buNone/>
              <a:tabLst/>
              <a:defRPr/>
            </a:pPr>
            <a:endParaRPr kumimoji="0" lang="en-US" sz="1467" b="0" i="0" u="none" strike="noStrike" kern="1200" cap="none" spc="0" normalizeH="0" baseline="0" noProof="0" dirty="0">
              <a:ln>
                <a:noFill/>
              </a:ln>
              <a:solidFill>
                <a:srgbClr val="FFFFFF"/>
              </a:solidFill>
              <a:effectLst/>
              <a:uLnTx/>
              <a:uFillTx/>
              <a:latin typeface="HK Grotesk Medium"/>
              <a:ea typeface="+mn-ea"/>
              <a:cs typeface="+mn-cs"/>
            </a:endParaRPr>
          </a:p>
          <a:p>
            <a:pPr marL="0" marR="0" lvl="0" indent="0" algn="l" defTabSz="609630" rtl="0" eaLnBrk="1" fontAlgn="auto" latinLnBrk="0" hangingPunct="1">
              <a:lnSpc>
                <a:spcPts val="2053"/>
              </a:lnSpc>
              <a:spcBef>
                <a:spcPts val="0"/>
              </a:spcBef>
              <a:spcAft>
                <a:spcPts val="0"/>
              </a:spcAft>
              <a:buClrTx/>
              <a:buSzTx/>
              <a:buFontTx/>
              <a:buNone/>
              <a:tabLst/>
              <a:defRPr/>
            </a:pPr>
            <a:r>
              <a:rPr kumimoji="0" lang="fr-FR" sz="1467" b="0" i="0" u="none" strike="noStrike" cap="none" normalizeH="0" baseline="0" noProof="0" dirty="0">
                <a:ln>
                  <a:noFill/>
                </a:ln>
                <a:solidFill>
                  <a:srgbClr val="FFFFFF"/>
                </a:solidFill>
                <a:effectLst/>
                <a:uLnTx/>
                <a:uFillTx/>
                <a:latin typeface="HK Grotesk Medium"/>
                <a:ea typeface="+mn-ea"/>
                <a:cs typeface="+mn-cs"/>
              </a:rPr>
              <a:t>En dehors du mandat du CICR</a:t>
            </a:r>
          </a:p>
        </p:txBody>
      </p:sp>
      <p:pic>
        <p:nvPicPr>
          <p:cNvPr id="50" name="Picture 50"/>
          <p:cNvPicPr>
            <a:picLocks noChangeAspect="1"/>
          </p:cNvPicPr>
          <p:nvPr/>
        </p:nvPicPr>
        <p:blipFill>
          <a:blip r:embed="rId4"/>
          <a:srcRect/>
          <a:stretch>
            <a:fillRect/>
          </a:stretch>
        </p:blipFill>
        <p:spPr>
          <a:xfrm>
            <a:off x="10349069" y="5612227"/>
            <a:ext cx="127607" cy="176341"/>
          </a:xfrm>
          <a:prstGeom prst="rect">
            <a:avLst/>
          </a:prstGeom>
        </p:spPr>
      </p:pic>
      <p:sp>
        <p:nvSpPr>
          <p:cNvPr id="24" name="TextBox 23">
            <a:extLst>
              <a:ext uri="{FF2B5EF4-FFF2-40B4-BE49-F238E27FC236}">
                <a16:creationId xmlns:a16="http://schemas.microsoft.com/office/drawing/2014/main" id="{3D689A1C-0D27-46D9-A9B9-5937666E304D}"/>
              </a:ext>
            </a:extLst>
          </p:cNvPr>
          <p:cNvSpPr txBox="1"/>
          <p:nvPr/>
        </p:nvSpPr>
        <p:spPr>
          <a:xfrm flipH="1">
            <a:off x="7504636" y="4557879"/>
            <a:ext cx="2595220" cy="60542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67" b="1" i="0" u="none" strike="noStrike" cap="none" normalizeH="0" baseline="0" noProof="0" dirty="0">
                <a:ln>
                  <a:noFill/>
                </a:ln>
                <a:solidFill>
                  <a:srgbClr val="FFFFFF"/>
                </a:solidFill>
                <a:effectLst/>
                <a:uLnTx/>
                <a:uFillTx/>
                <a:latin typeface="HK Grotesk Medium"/>
                <a:ea typeface="+mn-ea"/>
                <a:cs typeface="+mn-cs"/>
              </a:rPr>
              <a:t>Justi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67" b="0" i="0" u="none" strike="noStrike" cap="none" normalizeH="0" baseline="0" noProof="0" dirty="0">
                <a:ln>
                  <a:noFill/>
                </a:ln>
                <a:solidFill>
                  <a:srgbClr val="FFFFFF"/>
                </a:solidFill>
                <a:effectLst/>
                <a:uLnTx/>
                <a:uFillTx/>
                <a:latin typeface="HK Grotesk Medium"/>
                <a:ea typeface="+mn-ea"/>
                <a:cs typeface="+mn-cs"/>
                <a:sym typeface="Symbol" panose="05050102010706020507" pitchFamily="18" charset="2"/>
              </a:rPr>
              <a:t> « Orientation juridique »</a:t>
            </a:r>
          </a:p>
        </p:txBody>
      </p:sp>
    </p:spTree>
    <p:extLst>
      <p:ext uri="{BB962C8B-B14F-4D97-AF65-F5344CB8AC3E}">
        <p14:creationId xmlns:p14="http://schemas.microsoft.com/office/powerpoint/2010/main" val="36944388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9F1965-E03C-4807-9A7C-D74DF73AE04B}"/>
              </a:ext>
            </a:extLst>
          </p:cNvPr>
          <p:cNvSpPr>
            <a:spLocks noGrp="1"/>
          </p:cNvSpPr>
          <p:nvPr>
            <p:ph type="title"/>
          </p:nvPr>
        </p:nvSpPr>
        <p:spPr/>
        <p:txBody>
          <a:bodyPr/>
          <a:lstStyle/>
          <a:p>
            <a:r>
              <a:rPr lang="fr-FR" dirty="0"/>
              <a:t>Réagir face à une révélation – en général</a:t>
            </a:r>
          </a:p>
        </p:txBody>
      </p:sp>
      <p:sp>
        <p:nvSpPr>
          <p:cNvPr id="3" name="Content Placeholder 2">
            <a:extLst>
              <a:ext uri="{FF2B5EF4-FFF2-40B4-BE49-F238E27FC236}">
                <a16:creationId xmlns:a16="http://schemas.microsoft.com/office/drawing/2014/main" id="{2EFED6A2-EDD5-4760-8E43-5E1D322A3D0E}"/>
              </a:ext>
            </a:extLst>
          </p:cNvPr>
          <p:cNvSpPr>
            <a:spLocks noGrp="1"/>
          </p:cNvSpPr>
          <p:nvPr>
            <p:ph idx="13"/>
          </p:nvPr>
        </p:nvSpPr>
        <p:spPr/>
        <p:txBody>
          <a:bodyPr/>
          <a:lstStyle/>
          <a:p>
            <a:r>
              <a:rPr lang="fr-FR" dirty="0"/>
              <a:t>Écouter</a:t>
            </a:r>
          </a:p>
          <a:p>
            <a:r>
              <a:rPr lang="fr-FR" dirty="0"/>
              <a:t>Mesurer</a:t>
            </a:r>
          </a:p>
        </p:txBody>
      </p:sp>
    </p:spTree>
    <p:extLst>
      <p:ext uri="{BB962C8B-B14F-4D97-AF65-F5344CB8AC3E}">
        <p14:creationId xmlns:p14="http://schemas.microsoft.com/office/powerpoint/2010/main" val="183265702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3F7F95-E63E-4F39-A166-3A6198B6C71F}"/>
              </a:ext>
            </a:extLst>
          </p:cNvPr>
          <p:cNvSpPr>
            <a:spLocks noGrp="1"/>
          </p:cNvSpPr>
          <p:nvPr>
            <p:ph type="title"/>
          </p:nvPr>
        </p:nvSpPr>
        <p:spPr/>
        <p:txBody>
          <a:bodyPr/>
          <a:lstStyle/>
          <a:p>
            <a:r>
              <a:rPr lang="fr-FR" dirty="0"/>
              <a:t>La réponse humanitaire en matière de santé</a:t>
            </a:r>
          </a:p>
        </p:txBody>
      </p:sp>
    </p:spTree>
    <p:extLst>
      <p:ext uri="{BB962C8B-B14F-4D97-AF65-F5344CB8AC3E}">
        <p14:creationId xmlns:p14="http://schemas.microsoft.com/office/powerpoint/2010/main" val="105362636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A395E0-035C-4E61-B99E-42868FCB7287}"/>
              </a:ext>
            </a:extLst>
          </p:cNvPr>
          <p:cNvSpPr>
            <a:spLocks noGrp="1"/>
          </p:cNvSpPr>
          <p:nvPr>
            <p:ph type="title"/>
          </p:nvPr>
        </p:nvSpPr>
        <p:spPr/>
        <p:txBody>
          <a:bodyPr/>
          <a:lstStyle/>
          <a:p>
            <a:r>
              <a:rPr lang="fr-FR" dirty="0"/>
              <a:t>Santé – premiers secours, soins de santé primaire et secondaire</a:t>
            </a:r>
          </a:p>
        </p:txBody>
      </p:sp>
      <p:sp>
        <p:nvSpPr>
          <p:cNvPr id="3" name="Content Placeholder 2">
            <a:extLst>
              <a:ext uri="{FF2B5EF4-FFF2-40B4-BE49-F238E27FC236}">
                <a16:creationId xmlns:a16="http://schemas.microsoft.com/office/drawing/2014/main" id="{880328F0-3DAA-4CA9-8F56-42B26781E88F}"/>
              </a:ext>
            </a:extLst>
          </p:cNvPr>
          <p:cNvSpPr>
            <a:spLocks noGrp="1"/>
          </p:cNvSpPr>
          <p:nvPr>
            <p:ph idx="13"/>
          </p:nvPr>
        </p:nvSpPr>
        <p:spPr>
          <a:xfrm>
            <a:off x="399099" y="1782699"/>
            <a:ext cx="11388348" cy="4985980"/>
          </a:xfrm>
        </p:spPr>
        <p:txBody>
          <a:bodyPr wrap="square">
            <a:spAutoFit/>
          </a:bodyPr>
          <a:lstStyle/>
          <a:p>
            <a:pPr fontAlgn="base">
              <a:buFont typeface="Wingdings" panose="05000000000000000000" pitchFamily="2" charset="2"/>
              <a:buChar char="q"/>
            </a:pPr>
            <a:r>
              <a:rPr lang="fr-FR" sz="1800" b="0" dirty="0"/>
              <a:t>Intégrer l’analyse des problèmes existants de violence sexuelle et de violence basée sur le genre, ainsi que les services ou les lacunes dans les approches d’évaluation existantes (</a:t>
            </a:r>
            <a:r>
              <a:rPr lang="fr-FR" sz="1800" u="sng" dirty="0"/>
              <a:t>disponibilité, acceptabilité, accessibilité, qualité</a:t>
            </a:r>
            <a:r>
              <a:rPr lang="fr-FR" sz="1800" b="0" dirty="0"/>
              <a:t>)</a:t>
            </a:r>
          </a:p>
          <a:p>
            <a:pPr fontAlgn="base">
              <a:buFont typeface="Wingdings" panose="05000000000000000000" pitchFamily="2" charset="2"/>
              <a:buChar char="q"/>
            </a:pPr>
            <a:r>
              <a:rPr lang="fr-FR" sz="1800" b="0" dirty="0"/>
              <a:t>Fourniture d’un accès et d’un soutien clinique aux victimes / personnes survivantes de violence sexuelle et sexiste</a:t>
            </a:r>
          </a:p>
          <a:p>
            <a:pPr fontAlgn="base">
              <a:buFont typeface="Wingdings" panose="05000000000000000000" pitchFamily="2" charset="2"/>
              <a:buChar char="q"/>
            </a:pPr>
            <a:r>
              <a:rPr lang="fr-FR" sz="1800" b="0" dirty="0"/>
              <a:t>Identification et soins</a:t>
            </a:r>
          </a:p>
          <a:p>
            <a:pPr fontAlgn="base">
              <a:buFont typeface="Wingdings" panose="05000000000000000000" pitchFamily="2" charset="2"/>
              <a:buChar char="q"/>
            </a:pPr>
            <a:r>
              <a:rPr lang="fr-FR" sz="1800" b="0" dirty="0"/>
              <a:t>Transport et logistique</a:t>
            </a:r>
          </a:p>
          <a:p>
            <a:pPr fontAlgn="base">
              <a:buFont typeface="Wingdings" panose="05000000000000000000" pitchFamily="2" charset="2"/>
              <a:buChar char="q"/>
            </a:pPr>
            <a:r>
              <a:rPr lang="fr-FR" sz="1800" b="0" dirty="0"/>
              <a:t>Fourniture de médicaments, et formation d’agents de santé aux soins spécialisés pour les survivants </a:t>
            </a:r>
          </a:p>
          <a:p>
            <a:pPr fontAlgn="base">
              <a:buFont typeface="Wingdings" panose="05000000000000000000" pitchFamily="2" charset="2"/>
              <a:buChar char="q"/>
            </a:pPr>
            <a:r>
              <a:rPr lang="fr-FR" sz="1800" b="0" dirty="0"/>
              <a:t>Soins cliniques dans le cadre de la prise en charge des victimes de violence sexuelle basée sur les normes sectorielles (qui peuvent inclure la PPE et d’autres soins spécialisés de SSR, comme les modules du DMU)</a:t>
            </a:r>
          </a:p>
          <a:p>
            <a:pPr fontAlgn="base">
              <a:buFont typeface="Wingdings" panose="05000000000000000000" pitchFamily="2" charset="2"/>
              <a:buChar char="q"/>
            </a:pPr>
            <a:r>
              <a:rPr lang="fr-FR" sz="1800" b="0" dirty="0"/>
              <a:t>Collecte de données d’une manière sûre et éthique</a:t>
            </a:r>
          </a:p>
          <a:p>
            <a:pPr fontAlgn="base">
              <a:buFont typeface="Wingdings" panose="05000000000000000000" pitchFamily="2" charset="2"/>
              <a:buChar char="q"/>
            </a:pPr>
            <a:r>
              <a:rPr lang="fr-FR" sz="1800" b="0" dirty="0"/>
              <a:t>Orientation vers des services supplémentaires (ou communication d’informations sur ces services et fourniture d’un soutien pour y accéder)</a:t>
            </a:r>
          </a:p>
          <a:p>
            <a:pPr fontAlgn="base">
              <a:buFont typeface="Wingdings" panose="05000000000000000000" pitchFamily="2" charset="2"/>
              <a:buChar char="q"/>
            </a:pPr>
            <a:r>
              <a:rPr lang="fr-FR" sz="1800" b="0" dirty="0"/>
              <a:t>Intégrer dans les premiers secours et les soins paramédicaux / préhospitaliers</a:t>
            </a:r>
          </a:p>
          <a:p>
            <a:pPr fontAlgn="base">
              <a:buFont typeface="Wingdings" panose="05000000000000000000" pitchFamily="2" charset="2"/>
              <a:buChar char="q"/>
            </a:pPr>
            <a:r>
              <a:rPr lang="fr-FR" sz="1800" b="0" dirty="0"/>
              <a:t>Intégrer dans l’assistance sous forme d’espèces et de bons ou dans le soutien en nature (comme les trousses d’hygiène et la nourriture)</a:t>
            </a:r>
          </a:p>
        </p:txBody>
      </p:sp>
    </p:spTree>
    <p:extLst>
      <p:ext uri="{BB962C8B-B14F-4D97-AF65-F5344CB8AC3E}">
        <p14:creationId xmlns:p14="http://schemas.microsoft.com/office/powerpoint/2010/main" val="398515892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8F2DE3-0D7A-42BB-8D99-8E0B0467E823}"/>
              </a:ext>
            </a:extLst>
          </p:cNvPr>
          <p:cNvSpPr>
            <a:spLocks noGrp="1"/>
          </p:cNvSpPr>
          <p:nvPr>
            <p:ph type="title"/>
          </p:nvPr>
        </p:nvSpPr>
        <p:spPr/>
        <p:txBody>
          <a:bodyPr/>
          <a:lstStyle/>
          <a:p>
            <a:pPr marL="0" algn="ctr"/>
            <a:r>
              <a:rPr lang="fr-FR" dirty="0"/>
              <a:t>Définition de la violence sexuelle établie par le CICR</a:t>
            </a:r>
          </a:p>
        </p:txBody>
      </p:sp>
      <p:sp>
        <p:nvSpPr>
          <p:cNvPr id="3" name="Content Placeholder 2">
            <a:extLst>
              <a:ext uri="{FF2B5EF4-FFF2-40B4-BE49-F238E27FC236}">
                <a16:creationId xmlns:a16="http://schemas.microsoft.com/office/drawing/2014/main" id="{4A966BFC-E5C7-4235-9267-859DA46857B9}"/>
              </a:ext>
            </a:extLst>
          </p:cNvPr>
          <p:cNvSpPr>
            <a:spLocks noGrp="1"/>
          </p:cNvSpPr>
          <p:nvPr>
            <p:ph idx="13"/>
          </p:nvPr>
        </p:nvSpPr>
        <p:spPr>
          <a:xfrm>
            <a:off x="6852744" y="1770941"/>
            <a:ext cx="4761185" cy="4721933"/>
          </a:xfrm>
        </p:spPr>
        <p:txBody>
          <a:bodyPr/>
          <a:lstStyle/>
          <a:p>
            <a:pPr marL="542925" indent="0">
              <a:buNone/>
            </a:pPr>
            <a:endParaRPr lang="fr-CH" sz="2400" dirty="0"/>
          </a:p>
          <a:p>
            <a:endParaRPr lang="fr-CH" dirty="0"/>
          </a:p>
        </p:txBody>
      </p:sp>
      <p:pic>
        <p:nvPicPr>
          <p:cNvPr id="6" name="Picture 5">
            <a:extLst>
              <a:ext uri="{FF2B5EF4-FFF2-40B4-BE49-F238E27FC236}">
                <a16:creationId xmlns:a16="http://schemas.microsoft.com/office/drawing/2014/main" id="{F645F5B3-634E-408F-A2D7-05182C0673FA}"/>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7031419" y="2082424"/>
            <a:ext cx="4403834" cy="4322371"/>
          </a:xfrm>
          <a:prstGeom prst="rect">
            <a:avLst/>
          </a:prstGeom>
          <a:noFill/>
          <a:ln>
            <a:noFill/>
          </a:ln>
        </p:spPr>
      </p:pic>
      <p:sp>
        <p:nvSpPr>
          <p:cNvPr id="5" name="Content Placeholder 2">
            <a:extLst>
              <a:ext uri="{FF2B5EF4-FFF2-40B4-BE49-F238E27FC236}">
                <a16:creationId xmlns:a16="http://schemas.microsoft.com/office/drawing/2014/main" id="{BC62DB91-A226-4732-8478-E95E820CCAFE}"/>
              </a:ext>
            </a:extLst>
          </p:cNvPr>
          <p:cNvSpPr txBox="1">
            <a:spLocks/>
          </p:cNvSpPr>
          <p:nvPr/>
        </p:nvSpPr>
        <p:spPr>
          <a:xfrm>
            <a:off x="651641" y="1770941"/>
            <a:ext cx="6001408" cy="4721933"/>
          </a:xfrm>
          <a:prstGeom prst="rect">
            <a:avLst/>
          </a:prstGeom>
          <a:solidFill>
            <a:srgbClr val="CAD4C1"/>
          </a:solidFill>
        </p:spPr>
        <p:txBody>
          <a:bodyPr anchor="ctr"/>
          <a:lstStyle>
            <a:lvl1pPr marL="1000125" indent="-457200" algn="l" defTabSz="914400" rtl="0" eaLnBrk="1" latinLnBrk="0" hangingPunct="1">
              <a:lnSpc>
                <a:spcPct val="90000"/>
              </a:lnSpc>
              <a:spcBef>
                <a:spcPts val="1000"/>
              </a:spcBef>
              <a:buFont typeface="Arial" panose="020B0604020202020204" pitchFamily="34" charset="0"/>
              <a:buChar char="•"/>
              <a:defRPr sz="2560" b="1" kern="1200">
                <a:solidFill>
                  <a:srgbClr val="4D7568"/>
                </a:solidFill>
                <a:latin typeface="IBM Plex Sans Condensed Thin Bold" panose="020B060402020202020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42925" indent="0">
              <a:buFont typeface="Arial" panose="020B0604020202020204" pitchFamily="34" charset="0"/>
              <a:buNone/>
            </a:pPr>
            <a:r>
              <a:rPr lang="fr-FR" sz="2000" b="0" dirty="0"/>
              <a:t>« Le droit international définit la violence sexuelle comme </a:t>
            </a:r>
            <a:r>
              <a:rPr lang="fr-FR" sz="2000" dirty="0"/>
              <a:t>les actes de nature sexuelle commis sur une personne en usant de la force, de la menace de la force ou de la coercition</a:t>
            </a:r>
            <a:r>
              <a:rPr lang="fr-FR" sz="2000" b="0" dirty="0"/>
              <a:t>.</a:t>
            </a:r>
            <a:r>
              <a:rPr lang="fr-FR" sz="2000" b="0" baseline="30000" dirty="0"/>
              <a:t> </a:t>
            </a:r>
            <a:r>
              <a:rPr lang="fr-FR" sz="2000" b="0" dirty="0"/>
              <a:t>Cela comprend, sans toutefois s’y limiter, des actes tels que le viol, l’esclavage sexuel, la prostitution forcée, la grossesse forcée et la stérilisation forcée.</a:t>
            </a:r>
            <a:r>
              <a:rPr lang="fr-FR" sz="2000" b="0" baseline="30000" dirty="0"/>
              <a:t> </a:t>
            </a:r>
            <a:r>
              <a:rPr lang="fr-FR" sz="2000" dirty="0"/>
              <a:t>La violence sexuelle contre toute personne </a:t>
            </a:r>
            <a:r>
              <a:rPr lang="fr-FR" sz="2000" b="0" dirty="0"/>
              <a:t>– y compris les hommes, les garçons et les personnes LGBT+ </a:t>
            </a:r>
            <a:r>
              <a:rPr lang="fr-FR" sz="2000" dirty="0"/>
              <a:t>– est interdite par le droit international humanitaire, le droit pénal international et le droit international des droits humains</a:t>
            </a:r>
            <a:r>
              <a:rPr lang="fr-FR" sz="2000" b="0" dirty="0"/>
              <a:t>. »</a:t>
            </a:r>
          </a:p>
        </p:txBody>
      </p:sp>
    </p:spTree>
    <p:extLst>
      <p:ext uri="{BB962C8B-B14F-4D97-AF65-F5344CB8AC3E}">
        <p14:creationId xmlns:p14="http://schemas.microsoft.com/office/powerpoint/2010/main" val="23574548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bg/>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animBg="1"/>
      <p:bldP spid="5"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53DC7A-1FB7-447C-8914-C2CD4513E980}"/>
              </a:ext>
            </a:extLst>
          </p:cNvPr>
          <p:cNvSpPr>
            <a:spLocks noGrp="1"/>
          </p:cNvSpPr>
          <p:nvPr>
            <p:ph type="title"/>
          </p:nvPr>
        </p:nvSpPr>
        <p:spPr/>
        <p:txBody>
          <a:bodyPr>
            <a:normAutofit/>
          </a:bodyPr>
          <a:lstStyle/>
          <a:p>
            <a:r>
              <a:rPr lang="fr-FR" b="1" dirty="0">
                <a:latin typeface="Calibri" panose="020F0502020204030204"/>
              </a:rPr>
              <a:t>Prise en charge clinique dans les situations d’urgence et les contextes à faibles ressources :</a:t>
            </a:r>
          </a:p>
        </p:txBody>
      </p:sp>
      <p:sp>
        <p:nvSpPr>
          <p:cNvPr id="3" name="Content Placeholder 2">
            <a:extLst>
              <a:ext uri="{FF2B5EF4-FFF2-40B4-BE49-F238E27FC236}">
                <a16:creationId xmlns:a16="http://schemas.microsoft.com/office/drawing/2014/main" id="{89EA4C7E-EAD9-4904-BD82-A4228A5D10A3}"/>
              </a:ext>
            </a:extLst>
          </p:cNvPr>
          <p:cNvSpPr>
            <a:spLocks noGrp="1"/>
          </p:cNvSpPr>
          <p:nvPr>
            <p:ph idx="13"/>
          </p:nvPr>
        </p:nvSpPr>
        <p:spPr>
          <a:xfrm>
            <a:off x="232757" y="2123517"/>
            <a:ext cx="11737570" cy="4241161"/>
          </a:xfrm>
        </p:spPr>
        <p:txBody>
          <a:bodyPr wrap="square">
            <a:spAutoFit/>
          </a:bodyPr>
          <a:lstStyle/>
          <a:p>
            <a:pPr marL="88900" indent="0">
              <a:buNone/>
            </a:pPr>
            <a:r>
              <a:rPr lang="fr-FR" sz="2400" dirty="0">
                <a:solidFill>
                  <a:srgbClr val="0000FF"/>
                </a:solidFill>
                <a:ea typeface="Calibri" panose="020F0502020204030204" pitchFamily="34" charset="0"/>
                <a:cs typeface="Times New Roman" panose="02020603050405020304" pitchFamily="18" charset="0"/>
              </a:rPr>
              <a:t>Éviter de poser des questions qui suggèrent que la victime est responsable des actes subis </a:t>
            </a:r>
          </a:p>
          <a:p>
            <a:pPr marL="88900" indent="0">
              <a:buNone/>
            </a:pPr>
            <a:r>
              <a:rPr lang="fr-FR" sz="2000" dirty="0">
                <a:solidFill>
                  <a:prstClr val="black"/>
                </a:solidFill>
                <a:ea typeface="Calibri" panose="020F0502020204030204" pitchFamily="34" charset="0"/>
                <a:cs typeface="Times New Roman" panose="02020603050405020304" pitchFamily="18" charset="0"/>
              </a:rPr>
              <a:t>p. ex. </a:t>
            </a:r>
            <a:r>
              <a:rPr lang="fr-FR" sz="2000" i="1" dirty="0">
                <a:solidFill>
                  <a:prstClr val="black"/>
                </a:solidFill>
                <a:ea typeface="Calibri" panose="020F0502020204030204" pitchFamily="34" charset="0"/>
                <a:cs typeface="Times New Roman" panose="02020603050405020304" pitchFamily="18" charset="0"/>
              </a:rPr>
              <a:t>Pourquoi étiez-vous à X sans personne pour vous accompagner ? Quelle était votre tenue au moment de l’incident ? Avez-vous tenté de vous défendre</a:t>
            </a:r>
            <a:r>
              <a:rPr lang="fr-FR" sz="2000" dirty="0">
                <a:solidFill>
                  <a:prstClr val="black"/>
                </a:solidFill>
                <a:ea typeface="Calibri" panose="020F0502020204030204" pitchFamily="34" charset="0"/>
                <a:cs typeface="Times New Roman" panose="02020603050405020304" pitchFamily="18" charset="0"/>
              </a:rPr>
              <a:t> ? etc. </a:t>
            </a:r>
          </a:p>
          <a:p>
            <a:pPr marL="88900" indent="0">
              <a:buNone/>
            </a:pPr>
            <a:r>
              <a:rPr lang="fr-FR" sz="2000" dirty="0">
                <a:solidFill>
                  <a:srgbClr val="0000FF"/>
                </a:solidFill>
              </a:rPr>
              <a:t>En tant que professionnel de santé, ayez à l’esprit :</a:t>
            </a:r>
          </a:p>
          <a:p>
            <a:pPr marL="342900" indent="-342900"/>
            <a:r>
              <a:rPr lang="fr-FR" sz="2000" dirty="0">
                <a:solidFill>
                  <a:prstClr val="black"/>
                </a:solidFill>
              </a:rPr>
              <a:t>les exigences légales relatives au signalement de cas de violence sexuelle à la police ; s’il existe des lois imposant le signalement, la victime doit en être informée au préalable afin qu’elle puisse prendre une décision éclairée sur la poursuite ou l’interruption des soins. </a:t>
            </a:r>
          </a:p>
          <a:p>
            <a:pPr marL="342900" indent="-342900"/>
            <a:r>
              <a:rPr lang="fr-FR" sz="2000" dirty="0">
                <a:solidFill>
                  <a:prstClr val="black"/>
                </a:solidFill>
              </a:rPr>
              <a:t>les protocoles nationaux et, le cas échéant, locaux, relatifs à l’essai du matériel forensique (nécessaires pour éviter que la collecte de preuves ne puisse pas s’effectuer, etc.).</a:t>
            </a:r>
          </a:p>
          <a:p>
            <a:pPr marL="342900" indent="-342900"/>
            <a:r>
              <a:rPr lang="fr-FR" sz="2000" dirty="0">
                <a:solidFill>
                  <a:prstClr val="black"/>
                </a:solidFill>
              </a:rPr>
              <a:t>les exigences légales relatives au témoignage devant une cour de justice et à la responsabilité vis-à-vis du système judiciaire</a:t>
            </a:r>
          </a:p>
          <a:p>
            <a:pPr marL="342900" indent="-342900"/>
            <a:r>
              <a:rPr lang="fr-FR" sz="2000" dirty="0">
                <a:solidFill>
                  <a:prstClr val="black"/>
                </a:solidFill>
              </a:rPr>
              <a:t>les informations pertinentes pour les renvois devant la justice</a:t>
            </a:r>
          </a:p>
        </p:txBody>
      </p:sp>
    </p:spTree>
    <p:extLst>
      <p:ext uri="{BB962C8B-B14F-4D97-AF65-F5344CB8AC3E}">
        <p14:creationId xmlns:p14="http://schemas.microsoft.com/office/powerpoint/2010/main" val="103662707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Table 19"/>
          <p:cNvGraphicFramePr>
            <a:graphicFrameLocks noGrp="1"/>
          </p:cNvGraphicFramePr>
          <p:nvPr>
            <p:extLst>
              <p:ext uri="{D42A27DB-BD31-4B8C-83A1-F6EECF244321}">
                <p14:modId xmlns:p14="http://schemas.microsoft.com/office/powerpoint/2010/main" val="1857410248"/>
              </p:ext>
            </p:extLst>
          </p:nvPr>
        </p:nvGraphicFramePr>
        <p:xfrm>
          <a:off x="1293541" y="345688"/>
          <a:ext cx="7902004" cy="6057160"/>
        </p:xfrm>
        <a:graphic>
          <a:graphicData uri="http://schemas.openxmlformats.org/drawingml/2006/table">
            <a:tbl>
              <a:tblPr firstRow="1" firstCol="1" bandRow="1"/>
              <a:tblGrid>
                <a:gridCol w="7902004">
                  <a:extLst>
                    <a:ext uri="{9D8B030D-6E8A-4147-A177-3AD203B41FA5}">
                      <a16:colId xmlns:a16="http://schemas.microsoft.com/office/drawing/2014/main" val="20000"/>
                    </a:ext>
                  </a:extLst>
                </a:gridCol>
              </a:tblGrid>
              <a:tr h="241912">
                <a:tc>
                  <a:txBody>
                    <a:bodyPr/>
                    <a:lstStyle/>
                    <a:p>
                      <a:pPr>
                        <a:lnSpc>
                          <a:spcPct val="107000"/>
                        </a:lnSpc>
                        <a:spcAft>
                          <a:spcPts val="0"/>
                        </a:spcAft>
                      </a:pPr>
                      <a:r>
                        <a:rPr lang="fr-FR" sz="1200" b="1" dirty="0">
                          <a:effectLst/>
                          <a:latin typeface="Calibri" panose="020F0502020204030204" pitchFamily="34" charset="0"/>
                          <a:ea typeface="Calibri" panose="020F0502020204030204" pitchFamily="34" charset="0"/>
                          <a:cs typeface="Times New Roman" panose="02020603050405020304" pitchFamily="18" charset="0"/>
                        </a:rPr>
                        <a:t>Protocole</a:t>
                      </a:r>
                    </a:p>
                  </a:txBody>
                  <a:tcPr marL="58741" marR="5874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3DD8B"/>
                    </a:solidFill>
                  </a:tcPr>
                </a:tc>
                <a:extLst>
                  <a:ext uri="{0D108BD9-81ED-4DB2-BD59-A6C34878D82A}">
                    <a16:rowId xmlns:a16="http://schemas.microsoft.com/office/drawing/2014/main" val="10000"/>
                  </a:ext>
                </a:extLst>
              </a:tr>
              <a:tr h="433539">
                <a:tc>
                  <a:txBody>
                    <a:bodyPr/>
                    <a:lstStyle/>
                    <a:p>
                      <a:pPr>
                        <a:lnSpc>
                          <a:spcPct val="107000"/>
                        </a:lnSpc>
                        <a:spcAft>
                          <a:spcPts val="0"/>
                        </a:spcAft>
                      </a:pPr>
                      <a:r>
                        <a:rPr lang="fr-FR" sz="1200" dirty="0">
                          <a:solidFill>
                            <a:srgbClr val="1F1A17"/>
                          </a:solidFill>
                          <a:effectLst/>
                          <a:latin typeface="Calibri" panose="020F0502020204030204" pitchFamily="34" charset="0"/>
                          <a:ea typeface="Calibri" panose="020F0502020204030204" pitchFamily="34" charset="0"/>
                          <a:cs typeface="Arial" panose="020B0604020202020204" pitchFamily="34" charset="0"/>
                        </a:rPr>
                        <a:t>Protocole médical pour la prise en charge clinique du viol, écrit dans la langue du prestataire*</a:t>
                      </a:r>
                    </a:p>
                  </a:txBody>
                  <a:tcPr marL="58741" marR="5874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241912">
                <a:tc>
                  <a:txBody>
                    <a:bodyPr/>
                    <a:lstStyle/>
                    <a:p>
                      <a:pPr>
                        <a:lnSpc>
                          <a:spcPct val="107000"/>
                        </a:lnSpc>
                        <a:spcAft>
                          <a:spcPts val="0"/>
                        </a:spcAft>
                      </a:pPr>
                      <a:r>
                        <a:rPr lang="fr-FR" sz="1200" b="1" dirty="0">
                          <a:effectLst/>
                          <a:latin typeface="Calibri" panose="020F0502020204030204" pitchFamily="34" charset="0"/>
                          <a:ea typeface="Calibri" panose="020F0502020204030204" pitchFamily="34" charset="0"/>
                          <a:cs typeface="Times New Roman" panose="02020603050405020304" pitchFamily="18" charset="0"/>
                        </a:rPr>
                        <a:t>Personnel approprié</a:t>
                      </a:r>
                    </a:p>
                  </a:txBody>
                  <a:tcPr marL="58741" marR="5874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3DD8B"/>
                    </a:solidFill>
                  </a:tcPr>
                </a:tc>
                <a:extLst>
                  <a:ext uri="{0D108BD9-81ED-4DB2-BD59-A6C34878D82A}">
                    <a16:rowId xmlns:a16="http://schemas.microsoft.com/office/drawing/2014/main" val="10002"/>
                  </a:ext>
                </a:extLst>
              </a:tr>
              <a:tr h="1016125">
                <a:tc>
                  <a:txBody>
                    <a:bodyPr/>
                    <a:lstStyle/>
                    <a:p>
                      <a:pPr>
                        <a:lnSpc>
                          <a:spcPct val="107000"/>
                        </a:lnSpc>
                        <a:spcAft>
                          <a:spcPts val="0"/>
                        </a:spcAft>
                      </a:pPr>
                      <a:r>
                        <a:rPr lang="fr-FR" sz="1200" dirty="0">
                          <a:solidFill>
                            <a:srgbClr val="1F1A17"/>
                          </a:solidFill>
                          <a:effectLst/>
                          <a:latin typeface="Calibri" panose="020F0502020204030204" pitchFamily="34" charset="0"/>
                          <a:ea typeface="Calibri" panose="020F0502020204030204" pitchFamily="34" charset="0"/>
                          <a:cs typeface="Arial" panose="020B0604020202020204" pitchFamily="34" charset="0"/>
                        </a:rPr>
                        <a:t>Professionnels de santé (locaux) formés (en garde 24h/24)*</a:t>
                      </a:r>
                    </a:p>
                    <a:p>
                      <a:pPr>
                        <a:lnSpc>
                          <a:spcPct val="107000"/>
                        </a:lnSpc>
                        <a:spcAft>
                          <a:spcPts val="0"/>
                        </a:spcAft>
                      </a:pPr>
                      <a:r>
                        <a:rPr lang="fr-FR" sz="1200" dirty="0">
                          <a:solidFill>
                            <a:srgbClr val="1F1A17"/>
                          </a:solidFill>
                          <a:effectLst/>
                          <a:latin typeface="Calibri" panose="020F0502020204030204" pitchFamily="34" charset="0"/>
                          <a:ea typeface="Calibri" panose="020F0502020204030204" pitchFamily="34" charset="0"/>
                          <a:cs typeface="Arial" panose="020B0604020202020204" pitchFamily="34" charset="0"/>
                        </a:rPr>
                        <a:t>Pour les femmes survivantes, de préférence présence d’une prestataire de soins parlant</a:t>
                      </a:r>
                    </a:p>
                    <a:p>
                      <a:pPr>
                        <a:lnSpc>
                          <a:spcPct val="107000"/>
                        </a:lnSpc>
                        <a:spcAft>
                          <a:spcPts val="0"/>
                        </a:spcAft>
                      </a:pPr>
                      <a:r>
                        <a:rPr lang="fr-FR" sz="1200" dirty="0">
                          <a:solidFill>
                            <a:srgbClr val="1F1A17"/>
                          </a:solidFill>
                          <a:effectLst/>
                          <a:latin typeface="Calibri" panose="020F0502020204030204" pitchFamily="34" charset="0"/>
                          <a:ea typeface="Calibri" panose="020F0502020204030204" pitchFamily="34" charset="0"/>
                          <a:cs typeface="Arial" panose="020B0604020202020204" pitchFamily="34" charset="0"/>
                        </a:rPr>
                        <a:t>leur langue </a:t>
                      </a:r>
                    </a:p>
                    <a:p>
                      <a:pPr>
                        <a:lnSpc>
                          <a:spcPct val="107000"/>
                        </a:lnSpc>
                        <a:spcAft>
                          <a:spcPts val="0"/>
                        </a:spcAft>
                      </a:pPr>
                      <a:r>
                        <a:rPr lang="fr-FR" sz="1200" dirty="0">
                          <a:solidFill>
                            <a:srgbClr val="1F1A17"/>
                          </a:solidFill>
                          <a:effectLst/>
                          <a:latin typeface="Calibri" panose="020F0502020204030204" pitchFamily="34" charset="0"/>
                          <a:ea typeface="Calibri" panose="020F0502020204030204" pitchFamily="34" charset="0"/>
                          <a:cs typeface="Arial" panose="020B0604020202020204" pitchFamily="34" charset="0"/>
                        </a:rPr>
                        <a:t>Si ce n’est pas possible, une agente de santé ou partenaire doit se trouver dans la pièce pendant l’examen*</a:t>
                      </a:r>
                    </a:p>
                  </a:txBody>
                  <a:tcPr marL="58741" marR="5874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241912">
                <a:tc>
                  <a:txBody>
                    <a:bodyPr/>
                    <a:lstStyle/>
                    <a:p>
                      <a:pPr>
                        <a:lnSpc>
                          <a:spcPct val="107000"/>
                        </a:lnSpc>
                        <a:spcAft>
                          <a:spcPts val="0"/>
                        </a:spcAft>
                      </a:pPr>
                      <a:r>
                        <a:rPr lang="fr-FR" sz="1200" b="1" dirty="0">
                          <a:effectLst/>
                          <a:latin typeface="Calibri" panose="020F0502020204030204" pitchFamily="34" charset="0"/>
                          <a:ea typeface="Calibri" panose="020F0502020204030204" pitchFamily="34" charset="0"/>
                          <a:cs typeface="Times New Roman" panose="02020603050405020304" pitchFamily="18" charset="0"/>
                        </a:rPr>
                        <a:t>Mobilier / Cadre</a:t>
                      </a:r>
                    </a:p>
                  </a:txBody>
                  <a:tcPr marL="58741" marR="5874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3DD8B"/>
                    </a:solidFill>
                  </a:tcPr>
                </a:tc>
                <a:extLst>
                  <a:ext uri="{0D108BD9-81ED-4DB2-BD59-A6C34878D82A}">
                    <a16:rowId xmlns:a16="http://schemas.microsoft.com/office/drawing/2014/main" val="10004"/>
                  </a:ext>
                </a:extLst>
              </a:tr>
              <a:tr h="241912">
                <a:tc>
                  <a:txBody>
                    <a:bodyPr/>
                    <a:lstStyle/>
                    <a:p>
                      <a:pPr>
                        <a:lnSpc>
                          <a:spcPct val="107000"/>
                        </a:lnSpc>
                        <a:spcAft>
                          <a:spcPts val="0"/>
                        </a:spcAft>
                      </a:pPr>
                      <a:r>
                        <a:rPr lang="fr-FR" sz="1200" dirty="0">
                          <a:solidFill>
                            <a:srgbClr val="1F1A17"/>
                          </a:solidFill>
                          <a:effectLst/>
                          <a:latin typeface="Calibri" panose="020F0502020204030204" pitchFamily="34" charset="0"/>
                          <a:ea typeface="Calibri" panose="020F0502020204030204" pitchFamily="34" charset="0"/>
                          <a:cs typeface="Arial" panose="020B0604020202020204" pitchFamily="34" charset="0"/>
                        </a:rPr>
                        <a:t>Pièce (privée, calme, accessible, avec accès à des toilettes ou latrines)*</a:t>
                      </a:r>
                    </a:p>
                  </a:txBody>
                  <a:tcPr marL="58741" marR="5874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241912">
                <a:tc>
                  <a:txBody>
                    <a:bodyPr/>
                    <a:lstStyle/>
                    <a:p>
                      <a:pPr>
                        <a:lnSpc>
                          <a:spcPct val="107000"/>
                        </a:lnSpc>
                        <a:spcAft>
                          <a:spcPts val="0"/>
                        </a:spcAft>
                      </a:pPr>
                      <a:r>
                        <a:rPr lang="fr-FR" sz="1200" dirty="0">
                          <a:solidFill>
                            <a:srgbClr val="1F1A17"/>
                          </a:solidFill>
                          <a:effectLst/>
                          <a:latin typeface="Calibri" panose="020F0502020204030204" pitchFamily="34" charset="0"/>
                          <a:ea typeface="Calibri" panose="020F0502020204030204" pitchFamily="34" charset="0"/>
                          <a:cs typeface="Arial" panose="020B0604020202020204" pitchFamily="34" charset="0"/>
                        </a:rPr>
                        <a:t>Table d’examen*</a:t>
                      </a:r>
                    </a:p>
                  </a:txBody>
                  <a:tcPr marL="58741" marR="5874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241912">
                <a:tc>
                  <a:txBody>
                    <a:bodyPr/>
                    <a:lstStyle/>
                    <a:p>
                      <a:pPr>
                        <a:lnSpc>
                          <a:spcPct val="107000"/>
                        </a:lnSpc>
                        <a:spcAft>
                          <a:spcPts val="0"/>
                        </a:spcAft>
                      </a:pPr>
                      <a:r>
                        <a:rPr lang="fr-FR" sz="1200" dirty="0">
                          <a:solidFill>
                            <a:srgbClr val="1F1A17"/>
                          </a:solidFill>
                          <a:effectLst/>
                          <a:latin typeface="Calibri" panose="020F0502020204030204" pitchFamily="34" charset="0"/>
                          <a:ea typeface="Calibri" panose="020F0502020204030204" pitchFamily="34" charset="0"/>
                          <a:cs typeface="Arial" panose="020B0604020202020204" pitchFamily="34" charset="0"/>
                        </a:rPr>
                        <a:t>Éclairage, de préférence fixe (les enfants peuvent se sentir menacés par une lampe-torche)*</a:t>
                      </a:r>
                    </a:p>
                  </a:txBody>
                  <a:tcPr marL="58741" marR="5874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241912">
                <a:tc>
                  <a:txBody>
                    <a:bodyPr/>
                    <a:lstStyle/>
                    <a:p>
                      <a:pPr>
                        <a:lnSpc>
                          <a:spcPct val="107000"/>
                        </a:lnSpc>
                        <a:spcAft>
                          <a:spcPts val="0"/>
                        </a:spcAft>
                      </a:pPr>
                      <a:r>
                        <a:rPr lang="fr-FR" sz="1200" dirty="0">
                          <a:solidFill>
                            <a:srgbClr val="1F1A17"/>
                          </a:solidFill>
                          <a:effectLst/>
                          <a:latin typeface="Calibri" panose="020F0502020204030204" pitchFamily="34" charset="0"/>
                          <a:ea typeface="Calibri" panose="020F0502020204030204" pitchFamily="34" charset="0"/>
                          <a:cs typeface="Arial" panose="020B0604020202020204" pitchFamily="34" charset="0"/>
                        </a:rPr>
                        <a:t>Accès à un autoclave pour stériliser l’équipement*</a:t>
                      </a:r>
                    </a:p>
                  </a:txBody>
                  <a:tcPr marL="58741" marR="5874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241912">
                <a:tc>
                  <a:txBody>
                    <a:bodyPr/>
                    <a:lstStyle/>
                    <a:p>
                      <a:pPr>
                        <a:lnSpc>
                          <a:spcPct val="107000"/>
                        </a:lnSpc>
                        <a:spcAft>
                          <a:spcPts val="0"/>
                        </a:spcAft>
                      </a:pPr>
                      <a:r>
                        <a:rPr lang="fr-FR" sz="1200" b="1" dirty="0">
                          <a:effectLst/>
                          <a:latin typeface="Calibri" panose="020F0502020204030204" pitchFamily="34" charset="0"/>
                          <a:ea typeface="Calibri" panose="020F0502020204030204" pitchFamily="34" charset="0"/>
                          <a:cs typeface="Times New Roman" panose="02020603050405020304" pitchFamily="18" charset="0"/>
                        </a:rPr>
                        <a:t>Fournitures</a:t>
                      </a:r>
                    </a:p>
                  </a:txBody>
                  <a:tcPr marL="58741" marR="5874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3DD8B"/>
                    </a:solidFill>
                  </a:tcPr>
                </a:tc>
                <a:extLst>
                  <a:ext uri="{0D108BD9-81ED-4DB2-BD59-A6C34878D82A}">
                    <a16:rowId xmlns:a16="http://schemas.microsoft.com/office/drawing/2014/main" val="10009"/>
                  </a:ext>
                </a:extLst>
              </a:tr>
              <a:tr h="241912">
                <a:tc>
                  <a:txBody>
                    <a:bodyPr/>
                    <a:lstStyle/>
                    <a:p>
                      <a:pPr>
                        <a:lnSpc>
                          <a:spcPct val="107000"/>
                        </a:lnSpc>
                        <a:spcAft>
                          <a:spcPts val="0"/>
                        </a:spcAft>
                      </a:pPr>
                      <a:r>
                        <a:rPr lang="fr-FR" sz="1200" dirty="0">
                          <a:solidFill>
                            <a:srgbClr val="1F1A17"/>
                          </a:solidFill>
                          <a:effectLst/>
                          <a:latin typeface="Calibri" panose="020F0502020204030204" pitchFamily="34" charset="0"/>
                          <a:ea typeface="Calibri" panose="020F0502020204030204" pitchFamily="34" charset="0"/>
                          <a:cs typeface="Arial" panose="020B0604020202020204" pitchFamily="34" charset="0"/>
                        </a:rPr>
                        <a:t>Spéculum* (de préférence en plastique, jetable, uniquement pour adultes)</a:t>
                      </a:r>
                    </a:p>
                  </a:txBody>
                  <a:tcPr marL="58741" marR="5874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0"/>
                  </a:ext>
                </a:extLst>
              </a:tr>
              <a:tr h="241912">
                <a:tc>
                  <a:txBody>
                    <a:bodyPr/>
                    <a:lstStyle/>
                    <a:p>
                      <a:pPr>
                        <a:lnSpc>
                          <a:spcPct val="107000"/>
                        </a:lnSpc>
                        <a:spcAft>
                          <a:spcPts val="0"/>
                        </a:spcAft>
                      </a:pPr>
                      <a:r>
                        <a:rPr lang="fr-FR" sz="1200" dirty="0">
                          <a:solidFill>
                            <a:srgbClr val="1F1A17"/>
                          </a:solidFill>
                          <a:effectLst/>
                          <a:latin typeface="Calibri" panose="020F0502020204030204" pitchFamily="34" charset="0"/>
                          <a:ea typeface="Calibri" panose="020F0502020204030204" pitchFamily="34" charset="0"/>
                          <a:cs typeface="Arial" panose="020B0604020202020204" pitchFamily="34" charset="0"/>
                        </a:rPr>
                        <a:t>Mètre ruban pour mesurer la taille des ecchymoses, coupures, etc.*</a:t>
                      </a:r>
                    </a:p>
                  </a:txBody>
                  <a:tcPr marL="58741" marR="5874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1"/>
                  </a:ext>
                </a:extLst>
              </a:tr>
              <a:tr h="241912">
                <a:tc>
                  <a:txBody>
                    <a:bodyPr/>
                    <a:lstStyle/>
                    <a:p>
                      <a:pPr>
                        <a:lnSpc>
                          <a:spcPct val="107000"/>
                        </a:lnSpc>
                        <a:spcAft>
                          <a:spcPts val="0"/>
                        </a:spcAft>
                      </a:pPr>
                      <a:r>
                        <a:rPr lang="fr-FR" sz="1200" dirty="0">
                          <a:solidFill>
                            <a:srgbClr val="1F1A17"/>
                          </a:solidFill>
                          <a:effectLst/>
                          <a:latin typeface="Calibri" panose="020F0502020204030204" pitchFamily="34" charset="0"/>
                          <a:ea typeface="Calibri" panose="020F0502020204030204" pitchFamily="34" charset="0"/>
                          <a:cs typeface="Arial" panose="020B0604020202020204" pitchFamily="34" charset="0"/>
                        </a:rPr>
                        <a:t>Sacs en papier pour la collecte de preuves*</a:t>
                      </a:r>
                    </a:p>
                  </a:txBody>
                  <a:tcPr marL="58741" marR="5874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2"/>
                  </a:ext>
                </a:extLst>
              </a:tr>
              <a:tr h="241912">
                <a:tc>
                  <a:txBody>
                    <a:bodyPr/>
                    <a:lstStyle/>
                    <a:p>
                      <a:pPr>
                        <a:lnSpc>
                          <a:spcPct val="107000"/>
                        </a:lnSpc>
                        <a:spcAft>
                          <a:spcPts val="0"/>
                        </a:spcAft>
                      </a:pPr>
                      <a:r>
                        <a:rPr lang="fr-FR" sz="1200" dirty="0">
                          <a:solidFill>
                            <a:srgbClr val="1F1A17"/>
                          </a:solidFill>
                          <a:effectLst/>
                          <a:latin typeface="Calibri" panose="020F0502020204030204" pitchFamily="34" charset="0"/>
                          <a:ea typeface="Calibri" panose="020F0502020204030204" pitchFamily="34" charset="0"/>
                          <a:cs typeface="Arial" panose="020B0604020202020204" pitchFamily="34" charset="0"/>
                        </a:rPr>
                        <a:t>Papier adhésif pour la fermeture et l’étiquetage de conteneurs et sacs*</a:t>
                      </a:r>
                    </a:p>
                  </a:txBody>
                  <a:tcPr marL="58741" marR="5874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3"/>
                  </a:ext>
                </a:extLst>
              </a:tr>
              <a:tr h="494992">
                <a:tc>
                  <a:txBody>
                    <a:bodyPr/>
                    <a:lstStyle/>
                    <a:p>
                      <a:pPr>
                        <a:lnSpc>
                          <a:spcPct val="107000"/>
                        </a:lnSpc>
                        <a:spcAft>
                          <a:spcPts val="0"/>
                        </a:spcAft>
                      </a:pPr>
                      <a:r>
                        <a:rPr lang="fr-FR" sz="1200" dirty="0">
                          <a:solidFill>
                            <a:srgbClr val="1F1A17"/>
                          </a:solidFill>
                          <a:effectLst/>
                          <a:latin typeface="Calibri" panose="020F0502020204030204" pitchFamily="34" charset="0"/>
                          <a:ea typeface="Calibri" panose="020F0502020204030204" pitchFamily="34" charset="0"/>
                          <a:cs typeface="Arial" panose="020B0604020202020204" pitchFamily="34" charset="0"/>
                        </a:rPr>
                        <a:t>Fournitures pour les précautions universelles (gants, boîte destinée à l’élimination sans danger de matériel contaminé et tranchant, savon)*</a:t>
                      </a:r>
                    </a:p>
                  </a:txBody>
                  <a:tcPr marL="58741" marR="5874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4"/>
                  </a:ext>
                </a:extLst>
              </a:tr>
              <a:tr h="241912">
                <a:tc>
                  <a:txBody>
                    <a:bodyPr/>
                    <a:lstStyle/>
                    <a:p>
                      <a:pPr>
                        <a:lnSpc>
                          <a:spcPct val="107000"/>
                        </a:lnSpc>
                        <a:spcAft>
                          <a:spcPts val="0"/>
                        </a:spcAft>
                      </a:pPr>
                      <a:r>
                        <a:rPr lang="fr-FR" sz="1200" dirty="0">
                          <a:solidFill>
                            <a:srgbClr val="1F1A17"/>
                          </a:solidFill>
                          <a:effectLst/>
                          <a:latin typeface="Calibri" panose="020F0502020204030204" pitchFamily="34" charset="0"/>
                          <a:ea typeface="Calibri" panose="020F0502020204030204" pitchFamily="34" charset="0"/>
                          <a:cs typeface="Arial" panose="020B0604020202020204" pitchFamily="34" charset="0"/>
                        </a:rPr>
                        <a:t>Matériel de réanimation*</a:t>
                      </a:r>
                    </a:p>
                  </a:txBody>
                  <a:tcPr marL="58741" marR="5874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5"/>
                  </a:ext>
                </a:extLst>
              </a:tr>
              <a:tr h="241912">
                <a:tc>
                  <a:txBody>
                    <a:bodyPr/>
                    <a:lstStyle/>
                    <a:p>
                      <a:pPr>
                        <a:lnSpc>
                          <a:spcPct val="107000"/>
                        </a:lnSpc>
                        <a:spcAft>
                          <a:spcPts val="0"/>
                        </a:spcAft>
                      </a:pPr>
                      <a:r>
                        <a:rPr lang="fr-FR" sz="1200" dirty="0">
                          <a:solidFill>
                            <a:srgbClr val="1F1A17"/>
                          </a:solidFill>
                          <a:effectLst/>
                          <a:latin typeface="Calibri" panose="020F0502020204030204" pitchFamily="34" charset="0"/>
                          <a:ea typeface="Calibri" panose="020F0502020204030204" pitchFamily="34" charset="0"/>
                          <a:cs typeface="Arial" panose="020B0604020202020204" pitchFamily="34" charset="0"/>
                        </a:rPr>
                        <a:t>Instruments médicaux stériles (kit) pour le traitement des plaies, et matériel de suture*</a:t>
                      </a:r>
                    </a:p>
                  </a:txBody>
                  <a:tcPr marL="58741" marR="5874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6"/>
                  </a:ext>
                </a:extLst>
              </a:tr>
              <a:tr h="241912">
                <a:tc>
                  <a:txBody>
                    <a:bodyPr/>
                    <a:lstStyle/>
                    <a:p>
                      <a:pPr>
                        <a:lnSpc>
                          <a:spcPct val="107000"/>
                        </a:lnSpc>
                        <a:spcAft>
                          <a:spcPts val="0"/>
                        </a:spcAft>
                      </a:pPr>
                      <a:r>
                        <a:rPr lang="fr-FR" sz="1200" dirty="0">
                          <a:solidFill>
                            <a:srgbClr val="1F1A17"/>
                          </a:solidFill>
                          <a:effectLst/>
                          <a:latin typeface="Calibri" panose="020F0502020204030204" pitchFamily="34" charset="0"/>
                          <a:ea typeface="Calibri" panose="020F0502020204030204" pitchFamily="34" charset="0"/>
                          <a:cs typeface="Arial" panose="020B0604020202020204" pitchFamily="34" charset="0"/>
                        </a:rPr>
                        <a:t>Aiguilles, seringues*</a:t>
                      </a:r>
                    </a:p>
                  </a:txBody>
                  <a:tcPr marL="58741" marR="5874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7"/>
                  </a:ext>
                </a:extLst>
              </a:tr>
              <a:tr h="241912">
                <a:tc>
                  <a:txBody>
                    <a:bodyPr/>
                    <a:lstStyle/>
                    <a:p>
                      <a:pPr>
                        <a:lnSpc>
                          <a:spcPct val="107000"/>
                        </a:lnSpc>
                        <a:spcAft>
                          <a:spcPts val="0"/>
                        </a:spcAft>
                      </a:pPr>
                      <a:r>
                        <a:rPr lang="fr-FR" sz="1200" dirty="0">
                          <a:solidFill>
                            <a:srgbClr val="1F1A17"/>
                          </a:solidFill>
                          <a:effectLst/>
                          <a:latin typeface="Calibri" panose="020F0502020204030204" pitchFamily="34" charset="0"/>
                          <a:ea typeface="Calibri" panose="020F0502020204030204" pitchFamily="34" charset="0"/>
                          <a:cs typeface="Arial" panose="020B0604020202020204" pitchFamily="34" charset="0"/>
                        </a:rPr>
                        <a:t>Articles permettant de couvrir la personne survivante pendant l’examen (blouse, tissu, drap)*</a:t>
                      </a:r>
                    </a:p>
                  </a:txBody>
                  <a:tcPr marL="58741" marR="5874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8"/>
                  </a:ext>
                </a:extLst>
              </a:tr>
              <a:tr h="241912">
                <a:tc>
                  <a:txBody>
                    <a:bodyPr/>
                    <a:lstStyle/>
                    <a:p>
                      <a:pPr>
                        <a:lnSpc>
                          <a:spcPct val="107000"/>
                        </a:lnSpc>
                        <a:spcAft>
                          <a:spcPts val="0"/>
                        </a:spcAft>
                      </a:pPr>
                      <a:r>
                        <a:rPr lang="fr-FR" sz="1200" dirty="0">
                          <a:solidFill>
                            <a:srgbClr val="1F1A17"/>
                          </a:solidFill>
                          <a:effectLst/>
                          <a:latin typeface="Calibri" panose="020F0502020204030204" pitchFamily="34" charset="0"/>
                          <a:ea typeface="Calibri" panose="020F0502020204030204" pitchFamily="34" charset="0"/>
                          <a:cs typeface="Arial" panose="020B0604020202020204" pitchFamily="34" charset="0"/>
                        </a:rPr>
                        <a:t>Fournitures sanitaires (serviettes ou tissus locaux)*</a:t>
                      </a:r>
                    </a:p>
                  </a:txBody>
                  <a:tcPr marL="58741" marR="5874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9"/>
                  </a:ext>
                </a:extLst>
              </a:tr>
            </a:tbl>
          </a:graphicData>
        </a:graphic>
      </p:graphicFrame>
    </p:spTree>
    <p:extLst>
      <p:ext uri="{BB962C8B-B14F-4D97-AF65-F5344CB8AC3E}">
        <p14:creationId xmlns:p14="http://schemas.microsoft.com/office/powerpoint/2010/main" val="405093144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B8EA202D-F7E4-45E8-A7B4-E98FAA436CB7}"/>
              </a:ext>
            </a:extLst>
          </p:cNvPr>
          <p:cNvGraphicFramePr>
            <a:graphicFrameLocks noGrp="1"/>
          </p:cNvGraphicFramePr>
          <p:nvPr>
            <p:extLst>
              <p:ext uri="{D42A27DB-BD31-4B8C-83A1-F6EECF244321}">
                <p14:modId xmlns:p14="http://schemas.microsoft.com/office/powerpoint/2010/main" val="412720704"/>
              </p:ext>
            </p:extLst>
          </p:nvPr>
        </p:nvGraphicFramePr>
        <p:xfrm>
          <a:off x="1248937" y="1014761"/>
          <a:ext cx="8179201" cy="4290756"/>
        </p:xfrm>
        <a:graphic>
          <a:graphicData uri="http://schemas.openxmlformats.org/drawingml/2006/table">
            <a:tbl>
              <a:tblPr firstRow="1" firstCol="1" bandRow="1"/>
              <a:tblGrid>
                <a:gridCol w="8179201">
                  <a:extLst>
                    <a:ext uri="{9D8B030D-6E8A-4147-A177-3AD203B41FA5}">
                      <a16:colId xmlns:a16="http://schemas.microsoft.com/office/drawing/2014/main" val="20000"/>
                    </a:ext>
                  </a:extLst>
                </a:gridCol>
              </a:tblGrid>
              <a:tr h="357563">
                <a:tc>
                  <a:txBody>
                    <a:bodyPr/>
                    <a:lstStyle/>
                    <a:p>
                      <a:pPr>
                        <a:lnSpc>
                          <a:spcPct val="107000"/>
                        </a:lnSpc>
                        <a:spcAft>
                          <a:spcPts val="0"/>
                        </a:spcAft>
                      </a:pPr>
                      <a:r>
                        <a:rPr lang="fr-FR" sz="1200" b="1" dirty="0">
                          <a:effectLst/>
                          <a:latin typeface="Calibri" panose="020F0502020204030204" pitchFamily="34" charset="0"/>
                          <a:ea typeface="Calibri" panose="020F0502020204030204" pitchFamily="34" charset="0"/>
                          <a:cs typeface="Times New Roman" panose="02020603050405020304" pitchFamily="18" charset="0"/>
                        </a:rPr>
                        <a:t>Médicaments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3DD8B"/>
                    </a:solidFill>
                  </a:tcPr>
                </a:tc>
                <a:extLst>
                  <a:ext uri="{0D108BD9-81ED-4DB2-BD59-A6C34878D82A}">
                    <a16:rowId xmlns:a16="http://schemas.microsoft.com/office/drawing/2014/main" val="10000"/>
                  </a:ext>
                </a:extLst>
              </a:tr>
              <a:tr h="357563">
                <a:tc>
                  <a:txBody>
                    <a:bodyPr/>
                    <a:lstStyle/>
                    <a:p>
                      <a:pPr>
                        <a:lnSpc>
                          <a:spcPct val="107000"/>
                        </a:lnSpc>
                        <a:spcAft>
                          <a:spcPts val="0"/>
                        </a:spcAft>
                      </a:pPr>
                      <a:r>
                        <a:rPr lang="fr-FR" sz="1200" dirty="0">
                          <a:solidFill>
                            <a:srgbClr val="1F1A17"/>
                          </a:solidFill>
                          <a:effectLst/>
                          <a:latin typeface="Calibri" panose="020F0502020204030204" pitchFamily="34" charset="0"/>
                          <a:ea typeface="Calibri" panose="020F0502020204030204" pitchFamily="34" charset="0"/>
                          <a:cs typeface="Arial" panose="020B0604020202020204" pitchFamily="34" charset="0"/>
                        </a:rPr>
                        <a:t>Pour le traitement de MST conformément au protocole national*</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357563">
                <a:tc>
                  <a:txBody>
                    <a:bodyPr/>
                    <a:lstStyle/>
                    <a:p>
                      <a:pPr>
                        <a:lnSpc>
                          <a:spcPct val="107000"/>
                        </a:lnSpc>
                        <a:spcAft>
                          <a:spcPts val="0"/>
                        </a:spcAft>
                      </a:pPr>
                      <a:r>
                        <a:rPr lang="fr-FR" sz="1200" dirty="0">
                          <a:solidFill>
                            <a:srgbClr val="1F1A17"/>
                          </a:solidFill>
                          <a:effectLst/>
                          <a:latin typeface="Calibri" panose="020F0502020204030204" pitchFamily="34" charset="0"/>
                          <a:ea typeface="Calibri" panose="020F0502020204030204" pitchFamily="34" charset="0"/>
                          <a:cs typeface="Arial" panose="020B0604020202020204" pitchFamily="34" charset="0"/>
                        </a:rPr>
                        <a:t>Pour la prophylaxie post-exposition anti-VIH (PP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357563">
                <a:tc>
                  <a:txBody>
                    <a:bodyPr/>
                    <a:lstStyle/>
                    <a:p>
                      <a:pPr>
                        <a:lnSpc>
                          <a:spcPct val="107000"/>
                        </a:lnSpc>
                        <a:spcAft>
                          <a:spcPts val="0"/>
                        </a:spcAft>
                      </a:pPr>
                      <a:r>
                        <a:rPr lang="fr-FR" sz="1200" dirty="0">
                          <a:solidFill>
                            <a:srgbClr val="1F1A17"/>
                          </a:solidFill>
                          <a:effectLst/>
                          <a:latin typeface="Calibri" panose="020F0502020204030204" pitchFamily="34" charset="0"/>
                          <a:ea typeface="Calibri" panose="020F0502020204030204" pitchFamily="34" charset="0"/>
                          <a:cs typeface="Arial" panose="020B0604020202020204" pitchFamily="34" charset="0"/>
                        </a:rPr>
                        <a:t>Pilules contraceptives d’urgence et/ou </a:t>
                      </a:r>
                      <a:r>
                        <a:rPr lang="fr-FR" sz="1200">
                          <a:solidFill>
                            <a:srgbClr val="1F1A17"/>
                          </a:solidFill>
                          <a:effectLst/>
                          <a:latin typeface="Calibri" panose="020F0502020204030204" pitchFamily="34" charset="0"/>
                          <a:ea typeface="Calibri" panose="020F0502020204030204" pitchFamily="34" charset="0"/>
                          <a:cs typeface="Arial" panose="020B0604020202020204" pitchFamily="34" charset="0"/>
                        </a:rPr>
                        <a:t>dispositif intra-utérin </a:t>
                      </a:r>
                      <a:r>
                        <a:rPr lang="fr-FR" sz="1200" dirty="0">
                          <a:solidFill>
                            <a:srgbClr val="1F1A17"/>
                          </a:solidFill>
                          <a:effectLst/>
                          <a:latin typeface="Calibri" panose="020F0502020204030204" pitchFamily="34" charset="0"/>
                          <a:ea typeface="Calibri" panose="020F0502020204030204" pitchFamily="34" charset="0"/>
                          <a:cs typeface="Arial" panose="020B0604020202020204" pitchFamily="34" charset="0"/>
                        </a:rPr>
                        <a:t>au cuivre (DIU)*</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357563">
                <a:tc>
                  <a:txBody>
                    <a:bodyPr/>
                    <a:lstStyle/>
                    <a:p>
                      <a:pPr>
                        <a:lnSpc>
                          <a:spcPct val="107000"/>
                        </a:lnSpc>
                        <a:spcAft>
                          <a:spcPts val="0"/>
                        </a:spcAft>
                      </a:pPr>
                      <a:r>
                        <a:rPr lang="fr-FR" sz="1200" dirty="0">
                          <a:solidFill>
                            <a:srgbClr val="1F1A17"/>
                          </a:solidFill>
                          <a:effectLst/>
                          <a:latin typeface="Calibri" panose="020F0502020204030204" pitchFamily="34" charset="0"/>
                          <a:ea typeface="Calibri" panose="020F0502020204030204" pitchFamily="34" charset="0"/>
                          <a:cs typeface="Arial" panose="020B0604020202020204" pitchFamily="34" charset="0"/>
                        </a:rPr>
                        <a:t>Analgésiques* (p. ex. paracétamol)</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357563">
                <a:tc>
                  <a:txBody>
                    <a:bodyPr/>
                    <a:lstStyle/>
                    <a:p>
                      <a:pPr>
                        <a:lnSpc>
                          <a:spcPct val="107000"/>
                        </a:lnSpc>
                        <a:spcAft>
                          <a:spcPts val="0"/>
                        </a:spcAft>
                      </a:pPr>
                      <a:r>
                        <a:rPr lang="fr-FR" sz="1200" dirty="0">
                          <a:solidFill>
                            <a:srgbClr val="1F1A17"/>
                          </a:solidFill>
                          <a:effectLst/>
                          <a:latin typeface="Calibri" panose="020F0502020204030204" pitchFamily="34" charset="0"/>
                          <a:ea typeface="Calibri" panose="020F0502020204030204" pitchFamily="34" charset="0"/>
                          <a:cs typeface="Arial" panose="020B0604020202020204" pitchFamily="34" charset="0"/>
                        </a:rPr>
                        <a:t>Anesthésiant local pour les suture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357563">
                <a:tc>
                  <a:txBody>
                    <a:bodyPr/>
                    <a:lstStyle/>
                    <a:p>
                      <a:pPr>
                        <a:lnSpc>
                          <a:spcPct val="107000"/>
                        </a:lnSpc>
                        <a:spcAft>
                          <a:spcPts val="0"/>
                        </a:spcAft>
                      </a:pPr>
                      <a:r>
                        <a:rPr lang="fr-FR" sz="1200" dirty="0">
                          <a:solidFill>
                            <a:srgbClr val="1F1A17"/>
                          </a:solidFill>
                          <a:effectLst/>
                          <a:latin typeface="Calibri" panose="020F0502020204030204" pitchFamily="34" charset="0"/>
                          <a:ea typeface="Calibri" panose="020F0502020204030204" pitchFamily="34" charset="0"/>
                          <a:cs typeface="Arial" panose="020B0604020202020204" pitchFamily="34" charset="0"/>
                        </a:rPr>
                        <a:t>Antibiotiques pour le traitement des plaie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357563">
                <a:tc>
                  <a:txBody>
                    <a:bodyPr/>
                    <a:lstStyle/>
                    <a:p>
                      <a:pPr>
                        <a:lnSpc>
                          <a:spcPct val="107000"/>
                        </a:lnSpc>
                        <a:spcAft>
                          <a:spcPts val="0"/>
                        </a:spcAft>
                      </a:pPr>
                      <a:r>
                        <a:rPr lang="fr-FR" sz="1200" b="1" dirty="0">
                          <a:effectLst/>
                          <a:latin typeface="Calibri" panose="020F0502020204030204" pitchFamily="34" charset="0"/>
                          <a:ea typeface="Calibri" panose="020F0502020204030204" pitchFamily="34" charset="0"/>
                          <a:cs typeface="Times New Roman" panose="02020603050405020304" pitchFamily="18" charset="0"/>
                        </a:rPr>
                        <a:t>Fournitures administrative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3DD8B"/>
                    </a:solidFill>
                  </a:tcPr>
                </a:tc>
                <a:extLst>
                  <a:ext uri="{0D108BD9-81ED-4DB2-BD59-A6C34878D82A}">
                    <a16:rowId xmlns:a16="http://schemas.microsoft.com/office/drawing/2014/main" val="10007"/>
                  </a:ext>
                </a:extLst>
              </a:tr>
              <a:tr h="357563">
                <a:tc>
                  <a:txBody>
                    <a:bodyPr/>
                    <a:lstStyle/>
                    <a:p>
                      <a:pPr>
                        <a:lnSpc>
                          <a:spcPct val="107000"/>
                        </a:lnSpc>
                        <a:spcAft>
                          <a:spcPts val="0"/>
                        </a:spcAft>
                      </a:pPr>
                      <a:r>
                        <a:rPr lang="fr-FR" sz="1200" dirty="0">
                          <a:effectLst/>
                          <a:latin typeface="Calibri" panose="020F0502020204030204" pitchFamily="34" charset="0"/>
                          <a:ea typeface="Calibri" panose="020F0502020204030204" pitchFamily="34" charset="0"/>
                          <a:cs typeface="Times New Roman" panose="02020603050405020304" pitchFamily="18" charset="0"/>
                        </a:rPr>
                        <a:t>Fiches médicales avec pictogramme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8"/>
                  </a:ext>
                </a:extLst>
              </a:tr>
              <a:tr h="357563">
                <a:tc>
                  <a:txBody>
                    <a:bodyPr/>
                    <a:lstStyle/>
                    <a:p>
                      <a:pPr>
                        <a:lnSpc>
                          <a:spcPct val="107000"/>
                        </a:lnSpc>
                        <a:spcAft>
                          <a:spcPts val="0"/>
                        </a:spcAft>
                      </a:pPr>
                      <a:r>
                        <a:rPr lang="fr-FR" sz="1200" dirty="0">
                          <a:solidFill>
                            <a:srgbClr val="1F1A17"/>
                          </a:solidFill>
                          <a:effectLst/>
                          <a:latin typeface="Calibri" panose="020F0502020204030204" pitchFamily="34" charset="0"/>
                          <a:ea typeface="Calibri" panose="020F0502020204030204" pitchFamily="34" charset="0"/>
                          <a:cs typeface="Arial" panose="020B0604020202020204" pitchFamily="34" charset="0"/>
                        </a:rPr>
                        <a:t>Formulaires de consentemen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9"/>
                  </a:ext>
                </a:extLst>
              </a:tr>
              <a:tr h="357563">
                <a:tc>
                  <a:txBody>
                    <a:bodyPr/>
                    <a:lstStyle/>
                    <a:p>
                      <a:pPr>
                        <a:lnSpc>
                          <a:spcPct val="107000"/>
                        </a:lnSpc>
                        <a:spcAft>
                          <a:spcPts val="0"/>
                        </a:spcAft>
                      </a:pPr>
                      <a:r>
                        <a:rPr lang="fr-FR" sz="1200" dirty="0">
                          <a:solidFill>
                            <a:srgbClr val="1F1A17"/>
                          </a:solidFill>
                          <a:effectLst/>
                          <a:latin typeface="Calibri" panose="020F0502020204030204" pitchFamily="34" charset="0"/>
                          <a:ea typeface="Calibri" panose="020F0502020204030204" pitchFamily="34" charset="0"/>
                          <a:cs typeface="Arial" panose="020B0604020202020204" pitchFamily="34" charset="0"/>
                        </a:rPr>
                        <a:t>Brochures d’information sur les soins post-viol (pour les personnes survivantes)*</a:t>
                      </a:r>
                      <a:r>
                        <a:rPr lang="fr-FR" sz="1200" i="1" dirty="0">
                          <a:solidFill>
                            <a:srgbClr val="1F1A17"/>
                          </a:solidFill>
                          <a:effectLst/>
                          <a:latin typeface="Calibri" panose="020F0502020204030204" pitchFamily="34" charset="0"/>
                          <a:ea typeface="Calibri" panose="020F0502020204030204" pitchFamily="34" charset="0"/>
                          <a:cs typeface="Arial" panose="020B0604020202020204" pitchFamily="34" charset="0"/>
                        </a:rPr>
                        <a:t> élaborées avec tac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0"/>
                  </a:ext>
                </a:extLst>
              </a:tr>
              <a:tr h="357563">
                <a:tc>
                  <a:txBody>
                    <a:bodyPr/>
                    <a:lstStyle/>
                    <a:p>
                      <a:pPr>
                        <a:lnSpc>
                          <a:spcPct val="107000"/>
                        </a:lnSpc>
                        <a:spcAft>
                          <a:spcPts val="0"/>
                        </a:spcAft>
                      </a:pPr>
                      <a:r>
                        <a:rPr lang="fr-FR" sz="1200" dirty="0">
                          <a:solidFill>
                            <a:srgbClr val="1F1A17"/>
                          </a:solidFill>
                          <a:effectLst/>
                          <a:latin typeface="Calibri" panose="020F0502020204030204" pitchFamily="34" charset="0"/>
                          <a:ea typeface="Calibri" panose="020F0502020204030204" pitchFamily="34" charset="0"/>
                          <a:cs typeface="Arial" panose="020B0604020202020204" pitchFamily="34" charset="0"/>
                        </a:rPr>
                        <a:t>Espace d’archivage sûr et verrouillé pour garantir la confidentialité des registre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1"/>
                  </a:ext>
                </a:extLst>
              </a:tr>
            </a:tbl>
          </a:graphicData>
        </a:graphic>
      </p:graphicFrame>
    </p:spTree>
    <p:extLst>
      <p:ext uri="{BB962C8B-B14F-4D97-AF65-F5344CB8AC3E}">
        <p14:creationId xmlns:p14="http://schemas.microsoft.com/office/powerpoint/2010/main" val="25826567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DED2D75-5AE3-4CBF-AF45-D3B3414E49F0}"/>
              </a:ext>
            </a:extLst>
          </p:cNvPr>
          <p:cNvSpPr/>
          <p:nvPr/>
        </p:nvSpPr>
        <p:spPr>
          <a:xfrm>
            <a:off x="0" y="0"/>
            <a:ext cx="628650" cy="6858000"/>
          </a:xfrm>
          <a:prstGeom prst="rect">
            <a:avLst/>
          </a:prstGeom>
          <a:solidFill>
            <a:srgbClr val="005BA4"/>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US" dirty="0"/>
          </a:p>
          <a:p>
            <a:pPr algn="ctr"/>
            <a:endParaRPr lang="fr-CH" dirty="0"/>
          </a:p>
        </p:txBody>
      </p:sp>
      <p:sp>
        <p:nvSpPr>
          <p:cNvPr id="5" name="TextBox 4">
            <a:extLst>
              <a:ext uri="{FF2B5EF4-FFF2-40B4-BE49-F238E27FC236}">
                <a16:creationId xmlns:a16="http://schemas.microsoft.com/office/drawing/2014/main" id="{F1E16EC4-AEF8-4950-BDB1-3F6B786365B3}"/>
              </a:ext>
            </a:extLst>
          </p:cNvPr>
          <p:cNvSpPr txBox="1"/>
          <p:nvPr/>
        </p:nvSpPr>
        <p:spPr>
          <a:xfrm>
            <a:off x="83492" y="5079184"/>
            <a:ext cx="461665" cy="1493294"/>
          </a:xfrm>
          <a:prstGeom prst="rect">
            <a:avLst/>
          </a:prstGeom>
          <a:noFill/>
        </p:spPr>
        <p:txBody>
          <a:bodyPr vert="vert270" wrap="none" rtlCol="0">
            <a:spAutoFit/>
          </a:bodyPr>
          <a:lstStyle/>
          <a:p>
            <a:r>
              <a:rPr lang="fr-FR" dirty="0">
                <a:solidFill>
                  <a:schemeClr val="bg1"/>
                </a:solidFill>
              </a:rPr>
              <a:t>Cours H.E.L.P. </a:t>
            </a:r>
          </a:p>
        </p:txBody>
      </p:sp>
      <p:pic>
        <p:nvPicPr>
          <p:cNvPr id="6" name="Picture 5">
            <a:extLst>
              <a:ext uri="{FF2B5EF4-FFF2-40B4-BE49-F238E27FC236}">
                <a16:creationId xmlns:a16="http://schemas.microsoft.com/office/drawing/2014/main" id="{36C33930-6E3C-4741-876B-A07D22617F15}"/>
              </a:ext>
            </a:extLst>
          </p:cNvPr>
          <p:cNvPicPr>
            <a:picLocks noChangeAspect="1"/>
          </p:cNvPicPr>
          <p:nvPr/>
        </p:nvPicPr>
        <p:blipFill>
          <a:blip r:embed="rId2"/>
          <a:stretch>
            <a:fillRect/>
          </a:stretch>
        </p:blipFill>
        <p:spPr>
          <a:xfrm>
            <a:off x="3678636" y="0"/>
            <a:ext cx="4834727" cy="6858000"/>
          </a:xfrm>
          <a:prstGeom prst="rect">
            <a:avLst/>
          </a:prstGeom>
        </p:spPr>
      </p:pic>
    </p:spTree>
    <p:extLst>
      <p:ext uri="{BB962C8B-B14F-4D97-AF65-F5344CB8AC3E}">
        <p14:creationId xmlns:p14="http://schemas.microsoft.com/office/powerpoint/2010/main" val="175127357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2CDA8C9-5B18-4108-8E55-CD8B13618C7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4063" y="0"/>
            <a:ext cx="8868873" cy="6886521"/>
          </a:xfrm>
          <a:prstGeom prst="rect">
            <a:avLst/>
          </a:prstGeom>
        </p:spPr>
      </p:pic>
    </p:spTree>
    <p:extLst>
      <p:ext uri="{BB962C8B-B14F-4D97-AF65-F5344CB8AC3E}">
        <p14:creationId xmlns:p14="http://schemas.microsoft.com/office/powerpoint/2010/main" val="187052850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8F668FB-6893-4528-B1C7-E5CCD931DAD5}"/>
              </a:ext>
            </a:extLst>
          </p:cNvPr>
          <p:cNvSpPr/>
          <p:nvPr/>
        </p:nvSpPr>
        <p:spPr>
          <a:xfrm>
            <a:off x="0" y="0"/>
            <a:ext cx="628650" cy="6858000"/>
          </a:xfrm>
          <a:prstGeom prst="rect">
            <a:avLst/>
          </a:prstGeom>
          <a:solidFill>
            <a:srgbClr val="005BA4"/>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US" dirty="0"/>
          </a:p>
          <a:p>
            <a:pPr algn="ctr"/>
            <a:endParaRPr lang="fr-CH" dirty="0"/>
          </a:p>
        </p:txBody>
      </p:sp>
      <p:sp>
        <p:nvSpPr>
          <p:cNvPr id="5" name="TextBox 4">
            <a:extLst>
              <a:ext uri="{FF2B5EF4-FFF2-40B4-BE49-F238E27FC236}">
                <a16:creationId xmlns:a16="http://schemas.microsoft.com/office/drawing/2014/main" id="{981BFDEF-7002-4104-A95D-9E72EB3B481C}"/>
              </a:ext>
            </a:extLst>
          </p:cNvPr>
          <p:cNvSpPr txBox="1"/>
          <p:nvPr/>
        </p:nvSpPr>
        <p:spPr>
          <a:xfrm>
            <a:off x="83492" y="5079184"/>
            <a:ext cx="461665" cy="1493294"/>
          </a:xfrm>
          <a:prstGeom prst="rect">
            <a:avLst/>
          </a:prstGeom>
          <a:noFill/>
        </p:spPr>
        <p:txBody>
          <a:bodyPr vert="vert270" wrap="none" rtlCol="0">
            <a:spAutoFit/>
          </a:bodyPr>
          <a:lstStyle/>
          <a:p>
            <a:r>
              <a:rPr lang="fr-FR" dirty="0">
                <a:solidFill>
                  <a:schemeClr val="bg1"/>
                </a:solidFill>
              </a:rPr>
              <a:t>Cours H.E.L.P. </a:t>
            </a:r>
          </a:p>
        </p:txBody>
      </p:sp>
      <p:sp>
        <p:nvSpPr>
          <p:cNvPr id="6" name="Title 5">
            <a:extLst>
              <a:ext uri="{FF2B5EF4-FFF2-40B4-BE49-F238E27FC236}">
                <a16:creationId xmlns:a16="http://schemas.microsoft.com/office/drawing/2014/main" id="{90E7349C-65B8-4DB2-BF98-8F60B5E7F175}"/>
              </a:ext>
            </a:extLst>
          </p:cNvPr>
          <p:cNvSpPr txBox="1">
            <a:spLocks noGrp="1"/>
          </p:cNvSpPr>
          <p:nvPr>
            <p:ph type="title"/>
          </p:nvPr>
        </p:nvSpPr>
        <p:spPr>
          <a:xfrm>
            <a:off x="2523940" y="2474299"/>
            <a:ext cx="9131710" cy="1255728"/>
          </a:xfrm>
          <a:prstGeom prst="rect">
            <a:avLst/>
          </a:prstGeom>
          <a:noFill/>
        </p:spPr>
        <p:txBody>
          <a:bodyPr wrap="square" rtlCol="0">
            <a:spAutoFit/>
          </a:bodyPr>
          <a:lstStyle/>
          <a:p>
            <a:pPr algn="ctr"/>
            <a:r>
              <a:rPr lang="fr-FR" sz="2800" dirty="0">
                <a:latin typeface="+mn-lt"/>
              </a:rPr>
              <a:t>En quoi pourrait-il être problématique de situer au sein d’une maternité un point d’entrée pour l’accès à la prise en charge clinique de la violence sexuelle ?</a:t>
            </a:r>
          </a:p>
        </p:txBody>
      </p:sp>
      <p:sp>
        <p:nvSpPr>
          <p:cNvPr id="7" name="TextBox 6">
            <a:extLst>
              <a:ext uri="{FF2B5EF4-FFF2-40B4-BE49-F238E27FC236}">
                <a16:creationId xmlns:a16="http://schemas.microsoft.com/office/drawing/2014/main" id="{B616C14B-D2B8-4D9B-91EE-2999E1594894}"/>
              </a:ext>
            </a:extLst>
          </p:cNvPr>
          <p:cNvSpPr txBox="1"/>
          <p:nvPr/>
        </p:nvSpPr>
        <p:spPr>
          <a:xfrm>
            <a:off x="913293" y="2160367"/>
            <a:ext cx="1326004" cy="1569660"/>
          </a:xfrm>
          <a:prstGeom prst="rect">
            <a:avLst/>
          </a:prstGeom>
          <a:noFill/>
        </p:spPr>
        <p:txBody>
          <a:bodyPr wrap="none" rtlCol="0">
            <a:spAutoFit/>
          </a:bodyPr>
          <a:lstStyle/>
          <a:p>
            <a:r>
              <a:rPr lang="fr-FR" sz="9600" b="1" dirty="0">
                <a:solidFill>
                  <a:srgbClr val="FF0000"/>
                </a:solidFill>
              </a:rPr>
              <a:t>??</a:t>
            </a:r>
          </a:p>
        </p:txBody>
      </p:sp>
    </p:spTree>
    <p:extLst>
      <p:ext uri="{BB962C8B-B14F-4D97-AF65-F5344CB8AC3E}">
        <p14:creationId xmlns:p14="http://schemas.microsoft.com/office/powerpoint/2010/main" val="408689206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D1C5509E-D094-4AB6-A1D0-F067B1912933}"/>
              </a:ext>
            </a:extLst>
          </p:cNvPr>
          <p:cNvSpPr>
            <a:spLocks noGrp="1"/>
          </p:cNvSpPr>
          <p:nvPr>
            <p:ph type="title"/>
          </p:nvPr>
        </p:nvSpPr>
        <p:spPr>
          <a:xfrm>
            <a:off x="0" y="-404151"/>
            <a:ext cx="6745456" cy="1325563"/>
          </a:xfrm>
        </p:spPr>
        <p:txBody>
          <a:bodyPr/>
          <a:lstStyle/>
          <a:p>
            <a:r>
              <a:rPr lang="fr-FR" u="sng" dirty="0">
                <a:latin typeface="+mn-lt"/>
              </a:rPr>
              <a:t>Ressources</a:t>
            </a:r>
          </a:p>
        </p:txBody>
      </p:sp>
      <p:pic>
        <p:nvPicPr>
          <p:cNvPr id="3" name="Picture 2">
            <a:extLst>
              <a:ext uri="{FF2B5EF4-FFF2-40B4-BE49-F238E27FC236}">
                <a16:creationId xmlns:a16="http://schemas.microsoft.com/office/drawing/2014/main" id="{D24E7B74-36C9-4BB9-9853-F96E484243F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55287" y="812221"/>
            <a:ext cx="2265731" cy="3182721"/>
          </a:xfrm>
          <a:prstGeom prst="rect">
            <a:avLst/>
          </a:prstGeom>
        </p:spPr>
      </p:pic>
      <p:pic>
        <p:nvPicPr>
          <p:cNvPr id="10" name="Picture 9">
            <a:extLst>
              <a:ext uri="{FF2B5EF4-FFF2-40B4-BE49-F238E27FC236}">
                <a16:creationId xmlns:a16="http://schemas.microsoft.com/office/drawing/2014/main" id="{80743BE2-7CEA-4C9F-974F-482F159998B4}"/>
              </a:ext>
            </a:extLst>
          </p:cNvPr>
          <p:cNvPicPr>
            <a:picLocks noChangeAspect="1"/>
          </p:cNvPicPr>
          <p:nvPr/>
        </p:nvPicPr>
        <p:blipFill>
          <a:blip r:embed="rId4"/>
          <a:stretch>
            <a:fillRect/>
          </a:stretch>
        </p:blipFill>
        <p:spPr>
          <a:xfrm>
            <a:off x="4854148" y="812221"/>
            <a:ext cx="2237538" cy="3109306"/>
          </a:xfrm>
          <a:prstGeom prst="rect">
            <a:avLst/>
          </a:prstGeom>
        </p:spPr>
      </p:pic>
      <p:pic>
        <p:nvPicPr>
          <p:cNvPr id="19" name="Picture 18">
            <a:extLst>
              <a:ext uri="{FF2B5EF4-FFF2-40B4-BE49-F238E27FC236}">
                <a16:creationId xmlns:a16="http://schemas.microsoft.com/office/drawing/2014/main" id="{9758F815-7A94-44E2-A481-4AE9E090B4F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7308" y="875737"/>
            <a:ext cx="2186453" cy="3119205"/>
          </a:xfrm>
          <a:prstGeom prst="rect">
            <a:avLst/>
          </a:prstGeom>
        </p:spPr>
      </p:pic>
      <p:grpSp>
        <p:nvGrpSpPr>
          <p:cNvPr id="21" name="Group 20">
            <a:extLst>
              <a:ext uri="{FF2B5EF4-FFF2-40B4-BE49-F238E27FC236}">
                <a16:creationId xmlns:a16="http://schemas.microsoft.com/office/drawing/2014/main" id="{A32770B2-2E76-4BDC-A701-65E1DC1A3EE6}"/>
              </a:ext>
            </a:extLst>
          </p:cNvPr>
          <p:cNvGrpSpPr/>
          <p:nvPr/>
        </p:nvGrpSpPr>
        <p:grpSpPr>
          <a:xfrm>
            <a:off x="280449" y="812221"/>
            <a:ext cx="9147398" cy="5855402"/>
            <a:chOff x="2757982" y="848929"/>
            <a:chExt cx="9147398" cy="5855402"/>
          </a:xfrm>
        </p:grpSpPr>
        <p:sp>
          <p:nvSpPr>
            <p:cNvPr id="11" name="TextBox 10">
              <a:extLst>
                <a:ext uri="{FF2B5EF4-FFF2-40B4-BE49-F238E27FC236}">
                  <a16:creationId xmlns:a16="http://schemas.microsoft.com/office/drawing/2014/main" id="{0144DBBF-D76F-4348-B776-C7255022A9A9}"/>
                </a:ext>
              </a:extLst>
            </p:cNvPr>
            <p:cNvSpPr txBox="1"/>
            <p:nvPr/>
          </p:nvSpPr>
          <p:spPr>
            <a:xfrm>
              <a:off x="2757982" y="4357662"/>
              <a:ext cx="1975391" cy="830997"/>
            </a:xfrm>
            <a:prstGeom prst="rect">
              <a:avLst/>
            </a:prstGeom>
            <a:noFill/>
          </p:spPr>
          <p:txBody>
            <a:bodyPr wrap="square" rtlCol="0">
              <a:spAutoFit/>
            </a:bodyPr>
            <a:lstStyle/>
            <a:p>
              <a:r>
                <a:rPr lang="fr-FR" sz="1600" dirty="0"/>
                <a:t>OMS, </a:t>
              </a:r>
              <a:r>
                <a:rPr lang="fr-FR" sz="1600" i="1" dirty="0"/>
                <a:t>Lignes directrices sur les soins liés à l'avortement</a:t>
              </a:r>
              <a:r>
                <a:rPr lang="fr-FR" sz="1600" dirty="0"/>
                <a:t>, 2022</a:t>
              </a:r>
            </a:p>
          </p:txBody>
        </p:sp>
        <p:sp>
          <p:nvSpPr>
            <p:cNvPr id="13" name="TextBox 12">
              <a:extLst>
                <a:ext uri="{FF2B5EF4-FFF2-40B4-BE49-F238E27FC236}">
                  <a16:creationId xmlns:a16="http://schemas.microsoft.com/office/drawing/2014/main" id="{F8BEE85B-179B-41F4-8EFB-3DF30283F886}"/>
                </a:ext>
              </a:extLst>
            </p:cNvPr>
            <p:cNvSpPr txBox="1"/>
            <p:nvPr/>
          </p:nvSpPr>
          <p:spPr>
            <a:xfrm>
              <a:off x="7383912" y="4149786"/>
              <a:ext cx="2125801" cy="2554545"/>
            </a:xfrm>
            <a:prstGeom prst="rect">
              <a:avLst/>
            </a:prstGeom>
            <a:noFill/>
          </p:spPr>
          <p:txBody>
            <a:bodyPr wrap="square" rtlCol="0">
              <a:spAutoFit/>
            </a:bodyPr>
            <a:lstStyle/>
            <a:p>
              <a:r>
                <a:rPr lang="fr-FR" sz="1600" i="1" dirty="0"/>
                <a:t>OMS (2017) Renforcer le système de santé afin de répondre aux femmes qui subissent de la violence exercée par un partenaire intime et de la violence sexuelle : manuel destiné aux gestionnaires de santé</a:t>
              </a:r>
            </a:p>
          </p:txBody>
        </p:sp>
        <p:sp>
          <p:nvSpPr>
            <p:cNvPr id="14" name="TextBox 13">
              <a:extLst>
                <a:ext uri="{FF2B5EF4-FFF2-40B4-BE49-F238E27FC236}">
                  <a16:creationId xmlns:a16="http://schemas.microsoft.com/office/drawing/2014/main" id="{21E2DCE8-1D6E-4A4A-B9D4-A763D87F23FB}"/>
                </a:ext>
              </a:extLst>
            </p:cNvPr>
            <p:cNvSpPr txBox="1"/>
            <p:nvPr/>
          </p:nvSpPr>
          <p:spPr>
            <a:xfrm>
              <a:off x="9756963" y="4031650"/>
              <a:ext cx="2125801" cy="2585323"/>
            </a:xfrm>
            <a:prstGeom prst="rect">
              <a:avLst/>
            </a:prstGeom>
            <a:noFill/>
          </p:spPr>
          <p:txBody>
            <a:bodyPr wrap="square" rtlCol="0">
              <a:spAutoFit/>
            </a:bodyPr>
            <a:lstStyle/>
            <a:p>
              <a:r>
                <a:rPr lang="fr-FR" dirty="0"/>
                <a:t>OMS (2014) </a:t>
              </a:r>
              <a:r>
                <a:rPr lang="fr-FR" i="1" dirty="0"/>
                <a:t>Soins de santé pour les femmes victimes d'actes de violence commis par un partenaire intime ou d'actes de violence sexuelle : manuel clinique</a:t>
              </a:r>
            </a:p>
          </p:txBody>
        </p:sp>
        <p:pic>
          <p:nvPicPr>
            <p:cNvPr id="9" name="Picture 8">
              <a:extLst>
                <a:ext uri="{FF2B5EF4-FFF2-40B4-BE49-F238E27FC236}">
                  <a16:creationId xmlns:a16="http://schemas.microsoft.com/office/drawing/2014/main" id="{F22FCE75-119C-4F5D-B763-639B1DFA267E}"/>
                </a:ext>
              </a:extLst>
            </p:cNvPr>
            <p:cNvPicPr>
              <a:picLocks noChangeAspect="1"/>
            </p:cNvPicPr>
            <p:nvPr/>
          </p:nvPicPr>
          <p:blipFill>
            <a:blip r:embed="rId6"/>
            <a:stretch>
              <a:fillRect/>
            </a:stretch>
          </p:blipFill>
          <p:spPr>
            <a:xfrm>
              <a:off x="9718927" y="848929"/>
              <a:ext cx="2186453" cy="3109307"/>
            </a:xfrm>
            <a:prstGeom prst="rect">
              <a:avLst/>
            </a:prstGeom>
          </p:spPr>
        </p:pic>
        <p:sp>
          <p:nvSpPr>
            <p:cNvPr id="20" name="TextBox 19">
              <a:extLst>
                <a:ext uri="{FF2B5EF4-FFF2-40B4-BE49-F238E27FC236}">
                  <a16:creationId xmlns:a16="http://schemas.microsoft.com/office/drawing/2014/main" id="{A134AD5E-C9DE-4498-8ABB-0C1A72DD55D5}"/>
                </a:ext>
              </a:extLst>
            </p:cNvPr>
            <p:cNvSpPr txBox="1"/>
            <p:nvPr/>
          </p:nvSpPr>
          <p:spPr>
            <a:xfrm>
              <a:off x="4832528" y="4163934"/>
              <a:ext cx="2382956" cy="2308324"/>
            </a:xfrm>
            <a:prstGeom prst="rect">
              <a:avLst/>
            </a:prstGeom>
            <a:noFill/>
          </p:spPr>
          <p:txBody>
            <a:bodyPr wrap="square" rtlCol="0">
              <a:spAutoFit/>
            </a:bodyPr>
            <a:lstStyle/>
            <a:p>
              <a:r>
                <a:rPr lang="fr-FR" sz="1600" dirty="0"/>
                <a:t>OMS, HRC, FNUAP (2020) </a:t>
              </a:r>
              <a:r>
                <a:rPr lang="fr-FR" sz="1600" i="1" dirty="0"/>
                <a:t>Prise en charge clinique des survivantes de viol et de violence exercée par un partenaire intime : élaboration de protocoles à adopter dans les situations de crise humanitaire</a:t>
              </a:r>
              <a:r>
                <a:rPr lang="fr-FR" sz="1600" dirty="0"/>
                <a:t> (CMR/IPV) </a:t>
              </a:r>
            </a:p>
          </p:txBody>
        </p:sp>
      </p:grpSp>
      <p:pic>
        <p:nvPicPr>
          <p:cNvPr id="23" name="Picture 22">
            <a:extLst>
              <a:ext uri="{FF2B5EF4-FFF2-40B4-BE49-F238E27FC236}">
                <a16:creationId xmlns:a16="http://schemas.microsoft.com/office/drawing/2014/main" id="{2EA44B1A-904B-4022-9F57-20A5E75ACB8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600498" y="807139"/>
            <a:ext cx="2170506" cy="3109306"/>
          </a:xfrm>
          <a:prstGeom prst="rect">
            <a:avLst/>
          </a:prstGeom>
        </p:spPr>
      </p:pic>
      <p:sp>
        <p:nvSpPr>
          <p:cNvPr id="24" name="TextBox 23">
            <a:extLst>
              <a:ext uri="{FF2B5EF4-FFF2-40B4-BE49-F238E27FC236}">
                <a16:creationId xmlns:a16="http://schemas.microsoft.com/office/drawing/2014/main" id="{3A38387B-CC93-4BC1-AD37-10A04BEA84A4}"/>
              </a:ext>
            </a:extLst>
          </p:cNvPr>
          <p:cNvSpPr txBox="1"/>
          <p:nvPr/>
        </p:nvSpPr>
        <p:spPr>
          <a:xfrm>
            <a:off x="9600498" y="3994942"/>
            <a:ext cx="2618384" cy="2585323"/>
          </a:xfrm>
          <a:prstGeom prst="rect">
            <a:avLst/>
          </a:prstGeom>
          <a:noFill/>
        </p:spPr>
        <p:txBody>
          <a:bodyPr wrap="square" rtlCol="0">
            <a:spAutoFit/>
          </a:bodyPr>
          <a:lstStyle/>
          <a:p>
            <a:r>
              <a:rPr lang="fr-FR" dirty="0"/>
              <a:t>Croix-Rouge et CICR, </a:t>
            </a:r>
            <a:r>
              <a:rPr lang="fr-FR" i="1" dirty="0"/>
              <a:t>Forced to report:</a:t>
            </a:r>
            <a:r>
              <a:rPr lang="fr-FR" dirty="0"/>
              <a:t> </a:t>
            </a:r>
            <a:r>
              <a:rPr lang="fr-FR" i="1" dirty="0"/>
              <a:t>The humanitarian impact of mandatory reporting on access to healthcare for victims/survivors of sexual violence in armed conflict and other emergencies</a:t>
            </a:r>
            <a:r>
              <a:rPr lang="fr-FR" dirty="0"/>
              <a:t> (2020) </a:t>
            </a:r>
          </a:p>
        </p:txBody>
      </p:sp>
    </p:spTree>
    <p:extLst>
      <p:ext uri="{BB962C8B-B14F-4D97-AF65-F5344CB8AC3E}">
        <p14:creationId xmlns:p14="http://schemas.microsoft.com/office/powerpoint/2010/main" val="281961037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5CC957-AF37-485A-B301-FB97F1949025}"/>
              </a:ext>
            </a:extLst>
          </p:cNvPr>
          <p:cNvSpPr>
            <a:spLocks noGrp="1"/>
          </p:cNvSpPr>
          <p:nvPr>
            <p:ph type="title"/>
          </p:nvPr>
        </p:nvSpPr>
        <p:spPr>
          <a:xfrm>
            <a:off x="1247824" y="54228"/>
            <a:ext cx="10515600" cy="1325563"/>
          </a:xfrm>
        </p:spPr>
        <p:txBody>
          <a:bodyPr/>
          <a:lstStyle/>
          <a:p>
            <a:pPr algn="ctr"/>
            <a:r>
              <a:rPr lang="fr-FR" u="sng" dirty="0">
                <a:latin typeface="+mn-lt"/>
              </a:rPr>
              <a:t>Ressources</a:t>
            </a:r>
          </a:p>
        </p:txBody>
      </p:sp>
      <p:sp>
        <p:nvSpPr>
          <p:cNvPr id="4" name="Rectangle 3">
            <a:extLst>
              <a:ext uri="{FF2B5EF4-FFF2-40B4-BE49-F238E27FC236}">
                <a16:creationId xmlns:a16="http://schemas.microsoft.com/office/drawing/2014/main" id="{7E34BD52-44A1-4610-B060-294CF37C87F5}"/>
              </a:ext>
            </a:extLst>
          </p:cNvPr>
          <p:cNvSpPr/>
          <p:nvPr/>
        </p:nvSpPr>
        <p:spPr>
          <a:xfrm>
            <a:off x="0" y="0"/>
            <a:ext cx="628650" cy="6858000"/>
          </a:xfrm>
          <a:prstGeom prst="rect">
            <a:avLst/>
          </a:prstGeom>
          <a:solidFill>
            <a:srgbClr val="005BA4"/>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US" dirty="0"/>
          </a:p>
          <a:p>
            <a:pPr algn="ctr"/>
            <a:endParaRPr lang="fr-CH" dirty="0"/>
          </a:p>
        </p:txBody>
      </p:sp>
      <p:sp>
        <p:nvSpPr>
          <p:cNvPr id="5" name="TextBox 4">
            <a:extLst>
              <a:ext uri="{FF2B5EF4-FFF2-40B4-BE49-F238E27FC236}">
                <a16:creationId xmlns:a16="http://schemas.microsoft.com/office/drawing/2014/main" id="{062A0E29-6DFA-4BB9-A64F-F6637B2FCA19}"/>
              </a:ext>
            </a:extLst>
          </p:cNvPr>
          <p:cNvSpPr txBox="1"/>
          <p:nvPr/>
        </p:nvSpPr>
        <p:spPr>
          <a:xfrm>
            <a:off x="83492" y="5079184"/>
            <a:ext cx="461665" cy="1493294"/>
          </a:xfrm>
          <a:prstGeom prst="rect">
            <a:avLst/>
          </a:prstGeom>
          <a:noFill/>
        </p:spPr>
        <p:txBody>
          <a:bodyPr vert="vert270" wrap="none" rtlCol="0">
            <a:spAutoFit/>
          </a:bodyPr>
          <a:lstStyle/>
          <a:p>
            <a:r>
              <a:rPr lang="fr-FR" dirty="0">
                <a:solidFill>
                  <a:schemeClr val="bg1"/>
                </a:solidFill>
              </a:rPr>
              <a:t>Cours H.E.L.P. </a:t>
            </a:r>
          </a:p>
        </p:txBody>
      </p:sp>
      <p:pic>
        <p:nvPicPr>
          <p:cNvPr id="6" name="Picture 5">
            <a:extLst>
              <a:ext uri="{FF2B5EF4-FFF2-40B4-BE49-F238E27FC236}">
                <a16:creationId xmlns:a16="http://schemas.microsoft.com/office/drawing/2014/main" id="{76F42564-EA62-4990-81C5-8876C70CDCBD}"/>
              </a:ext>
            </a:extLst>
          </p:cNvPr>
          <p:cNvPicPr>
            <a:picLocks noChangeAspect="1"/>
          </p:cNvPicPr>
          <p:nvPr/>
        </p:nvPicPr>
        <p:blipFill>
          <a:blip r:embed="rId3"/>
          <a:stretch>
            <a:fillRect/>
          </a:stretch>
        </p:blipFill>
        <p:spPr>
          <a:xfrm>
            <a:off x="973394" y="1690687"/>
            <a:ext cx="2214184" cy="3103811"/>
          </a:xfrm>
          <a:prstGeom prst="rect">
            <a:avLst/>
          </a:prstGeom>
        </p:spPr>
      </p:pic>
      <p:pic>
        <p:nvPicPr>
          <p:cNvPr id="7" name="Picture 6">
            <a:extLst>
              <a:ext uri="{FF2B5EF4-FFF2-40B4-BE49-F238E27FC236}">
                <a16:creationId xmlns:a16="http://schemas.microsoft.com/office/drawing/2014/main" id="{B5B72ABD-7DA3-42B9-9A03-CC8EE06BBC50}"/>
              </a:ext>
            </a:extLst>
          </p:cNvPr>
          <p:cNvPicPr>
            <a:picLocks noChangeAspect="1"/>
          </p:cNvPicPr>
          <p:nvPr/>
        </p:nvPicPr>
        <p:blipFill>
          <a:blip r:embed="rId4"/>
          <a:stretch>
            <a:fillRect/>
          </a:stretch>
        </p:blipFill>
        <p:spPr>
          <a:xfrm>
            <a:off x="3059832" y="2295561"/>
            <a:ext cx="2450740" cy="3172386"/>
          </a:xfrm>
          <a:prstGeom prst="rect">
            <a:avLst/>
          </a:prstGeom>
        </p:spPr>
      </p:pic>
      <p:pic>
        <p:nvPicPr>
          <p:cNvPr id="8" name="Picture 7">
            <a:extLst>
              <a:ext uri="{FF2B5EF4-FFF2-40B4-BE49-F238E27FC236}">
                <a16:creationId xmlns:a16="http://schemas.microsoft.com/office/drawing/2014/main" id="{E481F79A-63F1-4AF0-A9B5-BF4387BFCEE5}"/>
              </a:ext>
            </a:extLst>
          </p:cNvPr>
          <p:cNvPicPr>
            <a:picLocks noChangeAspect="1"/>
          </p:cNvPicPr>
          <p:nvPr/>
        </p:nvPicPr>
        <p:blipFill>
          <a:blip r:embed="rId5"/>
          <a:stretch>
            <a:fillRect/>
          </a:stretch>
        </p:blipFill>
        <p:spPr>
          <a:xfrm>
            <a:off x="5580266" y="1736099"/>
            <a:ext cx="2155912" cy="3032548"/>
          </a:xfrm>
          <a:prstGeom prst="rect">
            <a:avLst/>
          </a:prstGeom>
        </p:spPr>
      </p:pic>
      <p:pic>
        <p:nvPicPr>
          <p:cNvPr id="9" name="Picture 8">
            <a:extLst>
              <a:ext uri="{FF2B5EF4-FFF2-40B4-BE49-F238E27FC236}">
                <a16:creationId xmlns:a16="http://schemas.microsoft.com/office/drawing/2014/main" id="{DD92B276-C2A6-4C99-A432-841A306D4F6D}"/>
              </a:ext>
            </a:extLst>
          </p:cNvPr>
          <p:cNvPicPr>
            <a:picLocks noChangeAspect="1"/>
          </p:cNvPicPr>
          <p:nvPr/>
        </p:nvPicPr>
        <p:blipFill>
          <a:blip r:embed="rId6"/>
          <a:stretch>
            <a:fillRect/>
          </a:stretch>
        </p:blipFill>
        <p:spPr>
          <a:xfrm>
            <a:off x="7778374" y="2629197"/>
            <a:ext cx="1412605" cy="1989798"/>
          </a:xfrm>
          <a:prstGeom prst="rect">
            <a:avLst/>
          </a:prstGeom>
        </p:spPr>
      </p:pic>
      <p:pic>
        <p:nvPicPr>
          <p:cNvPr id="10" name="Picture 9">
            <a:extLst>
              <a:ext uri="{FF2B5EF4-FFF2-40B4-BE49-F238E27FC236}">
                <a16:creationId xmlns:a16="http://schemas.microsoft.com/office/drawing/2014/main" id="{975E2421-0C6D-4394-9C6A-08862CED2971}"/>
              </a:ext>
            </a:extLst>
          </p:cNvPr>
          <p:cNvPicPr>
            <a:picLocks noChangeAspect="1"/>
          </p:cNvPicPr>
          <p:nvPr/>
        </p:nvPicPr>
        <p:blipFill>
          <a:blip r:embed="rId7"/>
          <a:stretch>
            <a:fillRect/>
          </a:stretch>
        </p:blipFill>
        <p:spPr>
          <a:xfrm>
            <a:off x="9518358" y="3872199"/>
            <a:ext cx="2326498" cy="2996845"/>
          </a:xfrm>
          <a:prstGeom prst="rect">
            <a:avLst/>
          </a:prstGeom>
        </p:spPr>
      </p:pic>
      <p:sp>
        <p:nvSpPr>
          <p:cNvPr id="11" name="TextBox 10">
            <a:extLst>
              <a:ext uri="{FF2B5EF4-FFF2-40B4-BE49-F238E27FC236}">
                <a16:creationId xmlns:a16="http://schemas.microsoft.com/office/drawing/2014/main" id="{F0814490-3063-4D11-9728-1AB52D416644}"/>
              </a:ext>
            </a:extLst>
          </p:cNvPr>
          <p:cNvSpPr txBox="1"/>
          <p:nvPr/>
        </p:nvSpPr>
        <p:spPr>
          <a:xfrm>
            <a:off x="7736178" y="1736099"/>
            <a:ext cx="1975391" cy="738664"/>
          </a:xfrm>
          <a:prstGeom prst="rect">
            <a:avLst/>
          </a:prstGeom>
          <a:noFill/>
        </p:spPr>
        <p:txBody>
          <a:bodyPr wrap="square" rtlCol="0">
            <a:spAutoFit/>
          </a:bodyPr>
          <a:lstStyle/>
          <a:p>
            <a:r>
              <a:rPr lang="fr-FR" sz="1400" i="1" dirty="0"/>
              <a:t>MOSAIC, Manuel pour les hommes survivants d'agressions sexuelles</a:t>
            </a:r>
          </a:p>
        </p:txBody>
      </p:sp>
      <p:sp>
        <p:nvSpPr>
          <p:cNvPr id="12" name="TextBox 11">
            <a:extLst>
              <a:ext uri="{FF2B5EF4-FFF2-40B4-BE49-F238E27FC236}">
                <a16:creationId xmlns:a16="http://schemas.microsoft.com/office/drawing/2014/main" id="{E23E90F7-379B-4025-B426-A996B71A283F}"/>
              </a:ext>
            </a:extLst>
          </p:cNvPr>
          <p:cNvSpPr txBox="1"/>
          <p:nvPr/>
        </p:nvSpPr>
        <p:spPr>
          <a:xfrm>
            <a:off x="9479944" y="2590653"/>
            <a:ext cx="2349123" cy="1323439"/>
          </a:xfrm>
          <a:prstGeom prst="rect">
            <a:avLst/>
          </a:prstGeom>
          <a:noFill/>
        </p:spPr>
        <p:txBody>
          <a:bodyPr wrap="square" rtlCol="0">
            <a:spAutoFit/>
          </a:bodyPr>
          <a:lstStyle/>
          <a:p>
            <a:r>
              <a:rPr lang="fr-FR" sz="1600" i="1" dirty="0"/>
              <a:t>MOSAIC, Boîte à outils pour comprendre les questions d’orientation sexuelle et d’identité de genre</a:t>
            </a:r>
          </a:p>
        </p:txBody>
      </p:sp>
      <p:sp>
        <p:nvSpPr>
          <p:cNvPr id="13" name="TextBox 12">
            <a:extLst>
              <a:ext uri="{FF2B5EF4-FFF2-40B4-BE49-F238E27FC236}">
                <a16:creationId xmlns:a16="http://schemas.microsoft.com/office/drawing/2014/main" id="{ACD0F7D2-5262-40EA-BC42-C2347A122486}"/>
              </a:ext>
            </a:extLst>
          </p:cNvPr>
          <p:cNvSpPr txBox="1"/>
          <p:nvPr/>
        </p:nvSpPr>
        <p:spPr>
          <a:xfrm>
            <a:off x="6942667" y="5687050"/>
            <a:ext cx="2768902" cy="923330"/>
          </a:xfrm>
          <a:prstGeom prst="rect">
            <a:avLst/>
          </a:prstGeom>
          <a:noFill/>
        </p:spPr>
        <p:txBody>
          <a:bodyPr wrap="square" rtlCol="0">
            <a:spAutoFit/>
          </a:bodyPr>
          <a:lstStyle/>
          <a:p>
            <a:r>
              <a:rPr lang="fr-FR" i="1" dirty="0"/>
              <a:t>Directives inter-agences pour la gestion des cas de VBG, 2017</a:t>
            </a:r>
          </a:p>
        </p:txBody>
      </p:sp>
      <p:sp>
        <p:nvSpPr>
          <p:cNvPr id="14" name="TextBox 13">
            <a:extLst>
              <a:ext uri="{FF2B5EF4-FFF2-40B4-BE49-F238E27FC236}">
                <a16:creationId xmlns:a16="http://schemas.microsoft.com/office/drawing/2014/main" id="{74EC3E93-F70D-45B0-BA1E-1905798BBB86}"/>
              </a:ext>
            </a:extLst>
          </p:cNvPr>
          <p:cNvSpPr txBox="1"/>
          <p:nvPr/>
        </p:nvSpPr>
        <p:spPr>
          <a:xfrm>
            <a:off x="3371835" y="5561898"/>
            <a:ext cx="2138737" cy="830997"/>
          </a:xfrm>
          <a:prstGeom prst="rect">
            <a:avLst/>
          </a:prstGeom>
          <a:noFill/>
        </p:spPr>
        <p:txBody>
          <a:bodyPr wrap="square" rtlCol="0">
            <a:spAutoFit/>
          </a:bodyPr>
          <a:lstStyle/>
          <a:p>
            <a:r>
              <a:rPr lang="fr-FR" sz="1600" i="1" dirty="0"/>
              <a:t>IRC, Caring for Child Survivors of Sexual Abuse</a:t>
            </a:r>
          </a:p>
        </p:txBody>
      </p:sp>
      <p:sp>
        <p:nvSpPr>
          <p:cNvPr id="15" name="TextBox 14">
            <a:extLst>
              <a:ext uri="{FF2B5EF4-FFF2-40B4-BE49-F238E27FC236}">
                <a16:creationId xmlns:a16="http://schemas.microsoft.com/office/drawing/2014/main" id="{5E6048BA-ED69-4B24-91B6-D71C0A949010}"/>
              </a:ext>
            </a:extLst>
          </p:cNvPr>
          <p:cNvSpPr txBox="1"/>
          <p:nvPr/>
        </p:nvSpPr>
        <p:spPr>
          <a:xfrm>
            <a:off x="1247824" y="4794498"/>
            <a:ext cx="1412605" cy="1815882"/>
          </a:xfrm>
          <a:prstGeom prst="rect">
            <a:avLst/>
          </a:prstGeom>
          <a:noFill/>
        </p:spPr>
        <p:txBody>
          <a:bodyPr wrap="square" rtlCol="0">
            <a:spAutoFit/>
          </a:bodyPr>
          <a:lstStyle/>
          <a:p>
            <a:r>
              <a:rPr lang="fr-FR" sz="1600" i="1" dirty="0"/>
              <a:t>OMS, Responding to Children and Adolescents who Have Been Sexually Abused</a:t>
            </a:r>
          </a:p>
        </p:txBody>
      </p:sp>
    </p:spTree>
    <p:extLst>
      <p:ext uri="{BB962C8B-B14F-4D97-AF65-F5344CB8AC3E}">
        <p14:creationId xmlns:p14="http://schemas.microsoft.com/office/powerpoint/2010/main" val="359997496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29CE6C9-3801-42FC-BB88-3629745BEB5C}"/>
              </a:ext>
            </a:extLst>
          </p:cNvPr>
          <p:cNvSpPr/>
          <p:nvPr/>
        </p:nvSpPr>
        <p:spPr>
          <a:xfrm>
            <a:off x="0" y="0"/>
            <a:ext cx="628650" cy="6858000"/>
          </a:xfrm>
          <a:prstGeom prst="rect">
            <a:avLst/>
          </a:prstGeom>
          <a:solidFill>
            <a:srgbClr val="005BA4"/>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US" dirty="0"/>
          </a:p>
          <a:p>
            <a:pPr algn="ctr"/>
            <a:endParaRPr lang="fr-CH" dirty="0"/>
          </a:p>
        </p:txBody>
      </p:sp>
      <p:sp>
        <p:nvSpPr>
          <p:cNvPr id="5" name="TextBox 4">
            <a:extLst>
              <a:ext uri="{FF2B5EF4-FFF2-40B4-BE49-F238E27FC236}">
                <a16:creationId xmlns:a16="http://schemas.microsoft.com/office/drawing/2014/main" id="{2B6BF366-D6ED-42E1-9775-75A4A68F56D4}"/>
              </a:ext>
            </a:extLst>
          </p:cNvPr>
          <p:cNvSpPr txBox="1"/>
          <p:nvPr/>
        </p:nvSpPr>
        <p:spPr>
          <a:xfrm>
            <a:off x="83492" y="5079184"/>
            <a:ext cx="461665" cy="1493294"/>
          </a:xfrm>
          <a:prstGeom prst="rect">
            <a:avLst/>
          </a:prstGeom>
          <a:noFill/>
        </p:spPr>
        <p:txBody>
          <a:bodyPr vert="vert270" wrap="none" rtlCol="0">
            <a:spAutoFit/>
          </a:bodyPr>
          <a:lstStyle/>
          <a:p>
            <a:r>
              <a:rPr lang="fr-FR" dirty="0">
                <a:solidFill>
                  <a:schemeClr val="bg1"/>
                </a:solidFill>
              </a:rPr>
              <a:t>Cours H.E.L.P. </a:t>
            </a:r>
          </a:p>
        </p:txBody>
      </p:sp>
      <p:pic>
        <p:nvPicPr>
          <p:cNvPr id="6" name="Picture 5">
            <a:extLst>
              <a:ext uri="{FF2B5EF4-FFF2-40B4-BE49-F238E27FC236}">
                <a16:creationId xmlns:a16="http://schemas.microsoft.com/office/drawing/2014/main" id="{0C93B32E-94B9-4BE3-95DA-8F2926AC1C2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76505" y="969545"/>
            <a:ext cx="3835729" cy="3744416"/>
          </a:xfrm>
          <a:prstGeom prst="rect">
            <a:avLst/>
          </a:prstGeom>
        </p:spPr>
      </p:pic>
      <p:sp>
        <p:nvSpPr>
          <p:cNvPr id="7" name="TextBox 6">
            <a:extLst>
              <a:ext uri="{FF2B5EF4-FFF2-40B4-BE49-F238E27FC236}">
                <a16:creationId xmlns:a16="http://schemas.microsoft.com/office/drawing/2014/main" id="{6D9F7A3D-3727-466B-8512-0F37BA8AEE71}"/>
              </a:ext>
            </a:extLst>
          </p:cNvPr>
          <p:cNvSpPr txBox="1"/>
          <p:nvPr/>
        </p:nvSpPr>
        <p:spPr>
          <a:xfrm>
            <a:off x="6960089" y="978672"/>
            <a:ext cx="4425665" cy="3416320"/>
          </a:xfrm>
          <a:prstGeom prst="rect">
            <a:avLst/>
          </a:prstGeom>
          <a:noFill/>
        </p:spPr>
        <p:txBody>
          <a:bodyPr wrap="square" rtlCol="0">
            <a:spAutoFit/>
          </a:bodyPr>
          <a:lstStyle/>
          <a:p>
            <a:r>
              <a:rPr lang="fr-FR" sz="2400" i="1" dirty="0"/>
              <a:t>Une femme participe à un atelier dans le cadre d’un projet pluridisciplinaire mené dans le camp de protection de la population civile de Wau, qui aborde les éléments de l’aide aux moyens de subsistance, de la protection, ainsi que de la santé mentale et du soutien psychosocial. </a:t>
            </a:r>
          </a:p>
          <a:p>
            <a:r>
              <a:rPr lang="fr-FR" sz="2400" i="1" dirty="0"/>
              <a:t>Wau, Soudan du Sud, 2017. </a:t>
            </a:r>
          </a:p>
        </p:txBody>
      </p:sp>
      <p:sp>
        <p:nvSpPr>
          <p:cNvPr id="8" name="TextBox 7">
            <a:extLst>
              <a:ext uri="{FF2B5EF4-FFF2-40B4-BE49-F238E27FC236}">
                <a16:creationId xmlns:a16="http://schemas.microsoft.com/office/drawing/2014/main" id="{3B932E26-8217-4ACE-8D75-38B3DA3168AB}"/>
              </a:ext>
            </a:extLst>
          </p:cNvPr>
          <p:cNvSpPr txBox="1"/>
          <p:nvPr/>
        </p:nvSpPr>
        <p:spPr>
          <a:xfrm>
            <a:off x="5574890" y="5596067"/>
            <a:ext cx="2330703" cy="646331"/>
          </a:xfrm>
          <a:prstGeom prst="rect">
            <a:avLst/>
          </a:prstGeom>
          <a:noFill/>
        </p:spPr>
        <p:txBody>
          <a:bodyPr wrap="none" rtlCol="0">
            <a:spAutoFit/>
          </a:bodyPr>
          <a:lstStyle/>
          <a:p>
            <a:r>
              <a:rPr lang="fr-FR" sz="3600" b="1" dirty="0"/>
              <a:t>Des questions ?</a:t>
            </a:r>
          </a:p>
        </p:txBody>
      </p:sp>
    </p:spTree>
    <p:extLst>
      <p:ext uri="{BB962C8B-B14F-4D97-AF65-F5344CB8AC3E}">
        <p14:creationId xmlns:p14="http://schemas.microsoft.com/office/powerpoint/2010/main" val="161175250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a:extLst>
              <a:ext uri="{FF2B5EF4-FFF2-40B4-BE49-F238E27FC236}">
                <a16:creationId xmlns:a16="http://schemas.microsoft.com/office/drawing/2014/main" id="{67C4C3AB-A834-4F38-84C5-B18AFFC137B1}"/>
              </a:ext>
            </a:extLst>
          </p:cNvPr>
          <p:cNvGraphicFramePr>
            <a:graphicFrameLocks noGrp="1"/>
          </p:cNvGraphicFramePr>
          <p:nvPr>
            <p:ph idx="1"/>
            <p:extLst>
              <p:ext uri="{D42A27DB-BD31-4B8C-83A1-F6EECF244321}">
                <p14:modId xmlns:p14="http://schemas.microsoft.com/office/powerpoint/2010/main" val="943856274"/>
              </p:ext>
            </p:extLst>
          </p:nvPr>
        </p:nvGraphicFramePr>
        <p:xfrm>
          <a:off x="973264" y="1470563"/>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TextBox 7">
            <a:extLst>
              <a:ext uri="{FF2B5EF4-FFF2-40B4-BE49-F238E27FC236}">
                <a16:creationId xmlns:a16="http://schemas.microsoft.com/office/drawing/2014/main" id="{D581A1D7-509F-424E-B4E5-26D8A209DD48}"/>
              </a:ext>
            </a:extLst>
          </p:cNvPr>
          <p:cNvSpPr txBox="1"/>
          <p:nvPr/>
        </p:nvSpPr>
        <p:spPr>
          <a:xfrm>
            <a:off x="2859665" y="249621"/>
            <a:ext cx="6472669" cy="707886"/>
          </a:xfrm>
          <a:prstGeom prst="rect">
            <a:avLst/>
          </a:prstGeom>
          <a:noFill/>
        </p:spPr>
        <p:txBody>
          <a:bodyPr wrap="none" rtlCol="0">
            <a:spAutoFit/>
          </a:bodyPr>
          <a:lstStyle/>
          <a:p>
            <a:r>
              <a:rPr lang="fr-FR" sz="4000" dirty="0">
                <a:solidFill>
                  <a:schemeClr val="bg1"/>
                </a:solidFill>
                <a:latin typeface="IBM Plex Sans Bold" panose="020B0604020202020204" charset="0"/>
                <a:ea typeface="+mj-ea"/>
                <a:cs typeface="+mj-cs"/>
              </a:rPr>
              <a:t>Cadre juridique international </a:t>
            </a:r>
          </a:p>
        </p:txBody>
      </p:sp>
    </p:spTree>
    <p:extLst>
      <p:ext uri="{BB962C8B-B14F-4D97-AF65-F5344CB8AC3E}">
        <p14:creationId xmlns:p14="http://schemas.microsoft.com/office/powerpoint/2010/main" val="200287089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ED74C7-A6B0-46E4-BBED-6DF6765125CE}"/>
              </a:ext>
            </a:extLst>
          </p:cNvPr>
          <p:cNvSpPr>
            <a:spLocks noGrp="1"/>
          </p:cNvSpPr>
          <p:nvPr>
            <p:ph type="title"/>
          </p:nvPr>
        </p:nvSpPr>
        <p:spPr>
          <a:xfrm>
            <a:off x="0" y="197709"/>
            <a:ext cx="12192000" cy="1235675"/>
          </a:xfrm>
        </p:spPr>
        <p:txBody>
          <a:bodyPr/>
          <a:lstStyle/>
          <a:p>
            <a:pPr marL="0" algn="ctr"/>
            <a:r>
              <a:rPr lang="fr-FR" dirty="0"/>
              <a:t>Droit international humanitaire et</a:t>
            </a:r>
            <a:br>
              <a:rPr lang="fr-FR" dirty="0"/>
            </a:br>
            <a:r>
              <a:rPr lang="fr-FR" dirty="0"/>
              <a:t>droit pénal international </a:t>
            </a:r>
          </a:p>
        </p:txBody>
      </p:sp>
      <p:sp>
        <p:nvSpPr>
          <p:cNvPr id="3" name="Text Placeholder 2">
            <a:extLst>
              <a:ext uri="{FF2B5EF4-FFF2-40B4-BE49-F238E27FC236}">
                <a16:creationId xmlns:a16="http://schemas.microsoft.com/office/drawing/2014/main" id="{68EEF85B-FD3E-4C87-939C-EE4F248F86CE}"/>
              </a:ext>
            </a:extLst>
          </p:cNvPr>
          <p:cNvSpPr>
            <a:spLocks noGrp="1"/>
          </p:cNvSpPr>
          <p:nvPr>
            <p:ph type="body" idx="1"/>
          </p:nvPr>
        </p:nvSpPr>
        <p:spPr>
          <a:xfrm>
            <a:off x="209006" y="1433384"/>
            <a:ext cx="6628369" cy="5698936"/>
          </a:xfrm>
        </p:spPr>
        <p:txBody>
          <a:bodyPr/>
          <a:lstStyle/>
          <a:p>
            <a:endParaRPr lang="en-AU" b="0" dirty="0">
              <a:solidFill>
                <a:srgbClr val="FFFFFF"/>
              </a:solidFill>
            </a:endParaRPr>
          </a:p>
          <a:p>
            <a:endParaRPr lang="en-AU" b="0" dirty="0">
              <a:solidFill>
                <a:srgbClr val="FFFFFF"/>
              </a:solidFill>
            </a:endParaRPr>
          </a:p>
          <a:p>
            <a:endParaRPr lang="en-AU" b="0" dirty="0">
              <a:solidFill>
                <a:srgbClr val="FFFFFF"/>
              </a:solidFill>
            </a:endParaRPr>
          </a:p>
          <a:p>
            <a:endParaRPr lang="en-AU" sz="2000" b="0" dirty="0">
              <a:solidFill>
                <a:srgbClr val="FFFFFF"/>
              </a:solidFill>
            </a:endParaRPr>
          </a:p>
          <a:p>
            <a:r>
              <a:rPr lang="fr-FR" sz="1800" b="0" dirty="0">
                <a:solidFill>
                  <a:srgbClr val="FFFFFF"/>
                </a:solidFill>
              </a:rPr>
              <a:t>Interdiction absolue de la violence sexuelle dans les situations de conflit armé international et non international. </a:t>
            </a:r>
            <a:r>
              <a:rPr lang="fr-FR" sz="1800" dirty="0">
                <a:solidFill>
                  <a:srgbClr val="FFFFFF"/>
                </a:solidFill>
              </a:rPr>
              <a:t>Hommes, femmes, garçons et filles, </a:t>
            </a:r>
            <a:r>
              <a:rPr lang="fr-FR" sz="1800" b="0" dirty="0">
                <a:solidFill>
                  <a:srgbClr val="FFFFFF"/>
                </a:solidFill>
              </a:rPr>
              <a:t>qu’ils soient civils ou combattants, détenus ou non, sont protégés contre la violence sexuelle en vertu du droit international humanitaire (DIH). </a:t>
            </a:r>
          </a:p>
          <a:p>
            <a:br>
              <a:rPr lang="fr-FR" sz="1800" b="0" dirty="0">
                <a:solidFill>
                  <a:srgbClr val="FFFFFF"/>
                </a:solidFill>
              </a:rPr>
            </a:br>
            <a:r>
              <a:rPr lang="fr-FR" sz="1800" b="0" dirty="0">
                <a:solidFill>
                  <a:srgbClr val="FFFFFF"/>
                </a:solidFill>
              </a:rPr>
              <a:t>Interdiction absolue, peu importe que la violence sexuelle soit :</a:t>
            </a:r>
          </a:p>
          <a:p>
            <a:pPr marL="742950" lvl="1" indent="-285750">
              <a:buFont typeface="Arial" panose="020B0604020202020204" pitchFamily="34" charset="0"/>
              <a:buChar char="•"/>
            </a:pPr>
            <a:r>
              <a:rPr lang="fr-FR" dirty="0">
                <a:solidFill>
                  <a:srgbClr val="FFFFFF"/>
                </a:solidFill>
                <a:latin typeface="IBM Plex Sans Condensed Thin Bold" panose="020B0604020202020204" charset="0"/>
              </a:rPr>
              <a:t>stratégique</a:t>
            </a:r>
            <a:r>
              <a:rPr lang="fr-FR" b="0" dirty="0">
                <a:solidFill>
                  <a:srgbClr val="FFFFFF"/>
                </a:solidFill>
                <a:latin typeface="IBM Plex Sans Condensed Thin Bold" panose="020B0604020202020204" charset="0"/>
              </a:rPr>
              <a:t> – usage intentionnel de la violence sexuelle, ordonnée et ciblée par des porteurs d’armes </a:t>
            </a:r>
          </a:p>
          <a:p>
            <a:pPr marL="742950" lvl="1" indent="-285750">
              <a:buFont typeface="Arial" panose="020B0604020202020204" pitchFamily="34" charset="0"/>
              <a:buChar char="•"/>
            </a:pPr>
            <a:r>
              <a:rPr lang="fr-FR" dirty="0">
                <a:solidFill>
                  <a:srgbClr val="FFFFFF"/>
                </a:solidFill>
                <a:latin typeface="IBM Plex Sans Condensed Thin Bold" panose="020B0604020202020204" charset="0"/>
              </a:rPr>
              <a:t>opportuniste</a:t>
            </a:r>
            <a:r>
              <a:rPr lang="fr-FR" b="0" dirty="0">
                <a:solidFill>
                  <a:srgbClr val="FFFFFF"/>
                </a:solidFill>
                <a:latin typeface="IBM Plex Sans Condensed Thin Bold" panose="020B0604020202020204" charset="0"/>
              </a:rPr>
              <a:t> – sans discernement et/ou ciblée : individuelle – pression des pairs  </a:t>
            </a:r>
          </a:p>
          <a:p>
            <a:pPr marL="742950" lvl="1" indent="-285750">
              <a:buFont typeface="Arial" panose="020B0604020202020204" pitchFamily="34" charset="0"/>
              <a:buChar char="•"/>
            </a:pPr>
            <a:r>
              <a:rPr lang="fr-FR" dirty="0">
                <a:solidFill>
                  <a:srgbClr val="FFFFFF"/>
                </a:solidFill>
                <a:latin typeface="IBM Plex Sans Condensed Thin Bold" panose="020B0604020202020204" charset="0"/>
              </a:rPr>
              <a:t>pratique tolérée</a:t>
            </a:r>
            <a:r>
              <a:rPr lang="fr-FR" b="0" dirty="0">
                <a:solidFill>
                  <a:srgbClr val="FFFFFF"/>
                </a:solidFill>
                <a:latin typeface="IBM Plex Sans Condensed Thin Bold" panose="020B0604020202020204" charset="0"/>
              </a:rPr>
              <a:t> – tolérée par la tête des armées et/ou élément des interactions régies par des normes spécifiques au sein d’un groupe de pairs</a:t>
            </a:r>
          </a:p>
          <a:p>
            <a:endParaRPr lang="en-AU" sz="2000" b="0" dirty="0">
              <a:solidFill>
                <a:srgbClr val="FFFFFF"/>
              </a:solidFill>
            </a:endParaRPr>
          </a:p>
          <a:p>
            <a:endParaRPr lang="fr-CH" sz="2200" dirty="0">
              <a:solidFill>
                <a:srgbClr val="FFFFFF"/>
              </a:solidFill>
            </a:endParaRPr>
          </a:p>
        </p:txBody>
      </p:sp>
      <p:graphicFrame>
        <p:nvGraphicFramePr>
          <p:cNvPr id="10" name="Content Placeholder 9">
            <a:extLst>
              <a:ext uri="{FF2B5EF4-FFF2-40B4-BE49-F238E27FC236}">
                <a16:creationId xmlns:a16="http://schemas.microsoft.com/office/drawing/2014/main" id="{08310DAC-78C8-464F-911C-6D26DAE8A034}"/>
              </a:ext>
            </a:extLst>
          </p:cNvPr>
          <p:cNvGraphicFramePr>
            <a:graphicFrameLocks noGrp="1"/>
          </p:cNvGraphicFramePr>
          <p:nvPr>
            <p:ph sz="half" idx="2"/>
            <p:extLst>
              <p:ext uri="{D42A27DB-BD31-4B8C-83A1-F6EECF244321}">
                <p14:modId xmlns:p14="http://schemas.microsoft.com/office/powerpoint/2010/main" val="4104099930"/>
              </p:ext>
            </p:extLst>
          </p:nvPr>
        </p:nvGraphicFramePr>
        <p:xfrm>
          <a:off x="7014568" y="2681415"/>
          <a:ext cx="4738687" cy="329183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Text Placeholder 7">
            <a:extLst>
              <a:ext uri="{FF2B5EF4-FFF2-40B4-BE49-F238E27FC236}">
                <a16:creationId xmlns:a16="http://schemas.microsoft.com/office/drawing/2014/main" id="{24EBD616-3FD5-4C1A-9E8C-1FC2CD022380}"/>
              </a:ext>
            </a:extLst>
          </p:cNvPr>
          <p:cNvSpPr>
            <a:spLocks noGrp="1"/>
          </p:cNvSpPr>
          <p:nvPr>
            <p:ph type="body" sz="quarter" idx="3"/>
          </p:nvPr>
        </p:nvSpPr>
        <p:spPr>
          <a:xfrm>
            <a:off x="7124930" y="1816813"/>
            <a:ext cx="4474278" cy="823912"/>
          </a:xfrm>
        </p:spPr>
        <p:txBody>
          <a:bodyPr/>
          <a:lstStyle/>
          <a:p>
            <a:endParaRPr lang="en-AU" dirty="0">
              <a:solidFill>
                <a:srgbClr val="FFFFFF"/>
              </a:solidFill>
            </a:endParaRPr>
          </a:p>
          <a:p>
            <a:endParaRPr lang="en-AU" dirty="0">
              <a:solidFill>
                <a:srgbClr val="FFFFFF"/>
              </a:solidFill>
            </a:endParaRPr>
          </a:p>
          <a:p>
            <a:pPr algn="ctr"/>
            <a:r>
              <a:rPr lang="fr-FR" sz="2000" b="0" dirty="0">
                <a:solidFill>
                  <a:srgbClr val="FFFFFF"/>
                </a:solidFill>
              </a:rPr>
              <a:t>Les actes qui enfreignent potentiellement le DIH prennent de nombreuses formes et ne se limitent pas à la violence ou au contact physique</a:t>
            </a:r>
          </a:p>
        </p:txBody>
      </p:sp>
      <p:grpSp>
        <p:nvGrpSpPr>
          <p:cNvPr id="6" name="Group 5">
            <a:extLst>
              <a:ext uri="{FF2B5EF4-FFF2-40B4-BE49-F238E27FC236}">
                <a16:creationId xmlns:a16="http://schemas.microsoft.com/office/drawing/2014/main" id="{3D85F706-E920-4502-A38C-9F8563145C46}"/>
              </a:ext>
            </a:extLst>
          </p:cNvPr>
          <p:cNvGrpSpPr/>
          <p:nvPr/>
        </p:nvGrpSpPr>
        <p:grpSpPr>
          <a:xfrm>
            <a:off x="8768790" y="5786193"/>
            <a:ext cx="1230241" cy="707744"/>
            <a:chOff x="535165" y="2584090"/>
            <a:chExt cx="1230241" cy="707744"/>
          </a:xfrm>
        </p:grpSpPr>
        <p:sp>
          <p:nvSpPr>
            <p:cNvPr id="7" name="Rectangle 6">
              <a:extLst>
                <a:ext uri="{FF2B5EF4-FFF2-40B4-BE49-F238E27FC236}">
                  <a16:creationId xmlns:a16="http://schemas.microsoft.com/office/drawing/2014/main" id="{C61FF46E-39EA-4B53-8357-CCA416027C38}"/>
                </a:ext>
              </a:extLst>
            </p:cNvPr>
            <p:cNvSpPr/>
            <p:nvPr/>
          </p:nvSpPr>
          <p:spPr>
            <a:xfrm>
              <a:off x="535165" y="2584090"/>
              <a:ext cx="1230241" cy="707744"/>
            </a:xfrm>
            <a:prstGeom prst="rect">
              <a:avLst/>
            </a:prstGeom>
            <a:noFill/>
            <a:ln>
              <a:noFill/>
            </a:ln>
            <a:sp3d/>
          </p:spPr>
          <p:style>
            <a:lnRef idx="0">
              <a:scrgbClr r="0" g="0" b="0"/>
            </a:lnRef>
            <a:fillRef idx="0">
              <a:scrgbClr r="0" g="0" b="0"/>
            </a:fillRef>
            <a:effectRef idx="0">
              <a:schemeClr val="lt1">
                <a:alpha val="0"/>
                <a:hueOff val="0"/>
                <a:satOff val="0"/>
                <a:lumOff val="0"/>
                <a:alphaOff val="0"/>
              </a:schemeClr>
            </a:effectRef>
            <a:fontRef idx="minor">
              <a:schemeClr val="tx1">
                <a:hueOff val="0"/>
                <a:satOff val="0"/>
                <a:lumOff val="0"/>
                <a:alphaOff val="0"/>
              </a:schemeClr>
            </a:fontRef>
          </p:style>
        </p:sp>
        <p:sp>
          <p:nvSpPr>
            <p:cNvPr id="9" name="TextBox 8">
              <a:extLst>
                <a:ext uri="{FF2B5EF4-FFF2-40B4-BE49-F238E27FC236}">
                  <a16:creationId xmlns:a16="http://schemas.microsoft.com/office/drawing/2014/main" id="{70925B54-6A36-4080-8FBD-1C3EA781A1B8}"/>
                </a:ext>
              </a:extLst>
            </p:cNvPr>
            <p:cNvSpPr txBox="1"/>
            <p:nvPr/>
          </p:nvSpPr>
          <p:spPr>
            <a:xfrm>
              <a:off x="535165" y="2584090"/>
              <a:ext cx="1230241" cy="707744"/>
            </a:xfrm>
            <a:prstGeom prst="rect">
              <a:avLst/>
            </a:prstGeom>
            <a:sp3d/>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ctr" defTabSz="844550" rtl="0" eaLnBrk="1" fontAlgn="auto" latinLnBrk="0" hangingPunct="1">
                <a:lnSpc>
                  <a:spcPct val="90000"/>
                </a:lnSpc>
                <a:spcBef>
                  <a:spcPct val="0"/>
                </a:spcBef>
                <a:spcAft>
                  <a:spcPct val="35000"/>
                </a:spcAft>
                <a:buClrTx/>
                <a:buSzTx/>
                <a:buFontTx/>
                <a:buNone/>
                <a:tabLst/>
                <a:defRPr/>
              </a:pPr>
              <a:r>
                <a:rPr kumimoji="0" lang="fr-FR" sz="1900" b="1" i="0" u="none" strike="noStrike" cap="none" normalizeH="0" baseline="0" noProof="0" dirty="0">
                  <a:ln>
                    <a:noFill/>
                  </a:ln>
                  <a:solidFill>
                    <a:prstClr val="white"/>
                  </a:solidFill>
                  <a:effectLst/>
                  <a:uLnTx/>
                  <a:uFillTx/>
                  <a:latin typeface="IBM Plex Sans Condensed"/>
                  <a:ea typeface="+mn-ea"/>
                  <a:cs typeface="+mn-cs"/>
                </a:rPr>
                <a:t>Mariage forcé</a:t>
              </a:r>
            </a:p>
          </p:txBody>
        </p:sp>
      </p:grpSp>
    </p:spTree>
    <p:extLst>
      <p:ext uri="{BB962C8B-B14F-4D97-AF65-F5344CB8AC3E}">
        <p14:creationId xmlns:p14="http://schemas.microsoft.com/office/powerpoint/2010/main" val="334620865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A7E601-F832-4F4C-9E3D-5AB923B48D35}"/>
              </a:ext>
            </a:extLst>
          </p:cNvPr>
          <p:cNvSpPr>
            <a:spLocks noGrp="1"/>
          </p:cNvSpPr>
          <p:nvPr>
            <p:ph type="title"/>
          </p:nvPr>
        </p:nvSpPr>
        <p:spPr/>
        <p:txBody>
          <a:bodyPr/>
          <a:lstStyle/>
          <a:p>
            <a:pPr marL="0" algn="ctr"/>
            <a:r>
              <a:rPr lang="fr-FR" dirty="0"/>
              <a:t>Par ailleurs : accès aux soins médicaux</a:t>
            </a:r>
          </a:p>
        </p:txBody>
      </p:sp>
      <p:sp>
        <p:nvSpPr>
          <p:cNvPr id="3" name="Content Placeholder 2">
            <a:extLst>
              <a:ext uri="{FF2B5EF4-FFF2-40B4-BE49-F238E27FC236}">
                <a16:creationId xmlns:a16="http://schemas.microsoft.com/office/drawing/2014/main" id="{BC376416-99C1-4B8F-BB56-D39912D162C4}"/>
              </a:ext>
            </a:extLst>
          </p:cNvPr>
          <p:cNvSpPr>
            <a:spLocks noGrp="1"/>
          </p:cNvSpPr>
          <p:nvPr>
            <p:ph idx="13"/>
          </p:nvPr>
        </p:nvSpPr>
        <p:spPr/>
        <p:txBody>
          <a:bodyPr/>
          <a:lstStyle/>
          <a:p>
            <a:r>
              <a:rPr lang="fr-FR" sz="2400" b="0" dirty="0"/>
              <a:t>Le DIH exige que les personnes blessées et malades reçoivent, dans toute la mesure possible et dans les délais les plus brefs, les soins médicaux qu’exige leur état. Aucune distinction fondée sur des critères autres que médicaux ne doit être faite entre elles</a:t>
            </a:r>
            <a:r>
              <a:rPr lang="fr-FR" sz="2400" dirty="0"/>
              <a:t> (DIH coutumier, règle 110). Cela inclut les victimes de violence sexuelle ayant besoin de soins médicaux. </a:t>
            </a:r>
          </a:p>
          <a:p>
            <a:endParaRPr lang="en-AU" sz="2400" dirty="0"/>
          </a:p>
          <a:p>
            <a:r>
              <a:rPr lang="fr-FR" sz="2400" b="0" dirty="0"/>
              <a:t>Donc : </a:t>
            </a:r>
            <a:r>
              <a:rPr lang="fr-FR" sz="2400" dirty="0"/>
              <a:t>lorsque les parties au conflit armé posent des obstacles à l’accès aux soins médicaux pour les victimes de violence sexuelle, cela peut enfreindre cette règle du DIH. </a:t>
            </a:r>
          </a:p>
        </p:txBody>
      </p:sp>
    </p:spTree>
    <p:extLst>
      <p:ext uri="{BB962C8B-B14F-4D97-AF65-F5344CB8AC3E}">
        <p14:creationId xmlns:p14="http://schemas.microsoft.com/office/powerpoint/2010/main" val="35316077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1 The Ecotemian case part one - reduced">
            <a:hlinkClick r:id="" action="ppaction://media"/>
            <a:extLst>
              <a:ext uri="{FF2B5EF4-FFF2-40B4-BE49-F238E27FC236}">
                <a16:creationId xmlns:a16="http://schemas.microsoft.com/office/drawing/2014/main" id="{3D1364E0-E6B1-4C13-8919-92CAD0033A3B}"/>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2439503" y="1023239"/>
            <a:ext cx="7772356" cy="4371950"/>
          </a:xfrm>
          <a:prstGeom prst="rect">
            <a:avLst/>
          </a:prstGeom>
          <a:solidFill>
            <a:schemeClr val="accent2">
              <a:lumMod val="40000"/>
              <a:lumOff val="60000"/>
            </a:schemeClr>
          </a:solidFill>
          <a:ln>
            <a:solidFill>
              <a:schemeClr val="accent4">
                <a:lumMod val="20000"/>
                <a:lumOff val="80000"/>
              </a:schemeClr>
            </a:solidFill>
          </a:ln>
        </p:spPr>
      </p:pic>
      <p:sp>
        <p:nvSpPr>
          <p:cNvPr id="5" name="TextBox 4">
            <a:extLst>
              <a:ext uri="{FF2B5EF4-FFF2-40B4-BE49-F238E27FC236}">
                <a16:creationId xmlns:a16="http://schemas.microsoft.com/office/drawing/2014/main" id="{76DEAA13-2D2F-4BBA-8E8B-B42BCC4C1B2F}"/>
              </a:ext>
            </a:extLst>
          </p:cNvPr>
          <p:cNvSpPr txBox="1"/>
          <p:nvPr/>
        </p:nvSpPr>
        <p:spPr>
          <a:xfrm>
            <a:off x="5911657" y="309716"/>
            <a:ext cx="828047" cy="369332"/>
          </a:xfrm>
          <a:prstGeom prst="rect">
            <a:avLst/>
          </a:prstGeom>
          <a:noFill/>
        </p:spPr>
        <p:txBody>
          <a:bodyPr wrap="none" rtlCol="0">
            <a:spAutoFit/>
          </a:bodyPr>
          <a:lstStyle/>
          <a:p>
            <a:r>
              <a:rPr lang="fr-FR" dirty="0"/>
              <a:t>Film </a:t>
            </a:r>
          </a:p>
        </p:txBody>
      </p:sp>
      <p:sp>
        <p:nvSpPr>
          <p:cNvPr id="6" name="Rectangle 5">
            <a:extLst>
              <a:ext uri="{FF2B5EF4-FFF2-40B4-BE49-F238E27FC236}">
                <a16:creationId xmlns:a16="http://schemas.microsoft.com/office/drawing/2014/main" id="{10F6BD26-CDDB-45D1-9D46-2771EE2485FA}"/>
              </a:ext>
            </a:extLst>
          </p:cNvPr>
          <p:cNvSpPr/>
          <p:nvPr/>
        </p:nvSpPr>
        <p:spPr>
          <a:xfrm>
            <a:off x="0" y="0"/>
            <a:ext cx="628650" cy="6858000"/>
          </a:xfrm>
          <a:prstGeom prst="rect">
            <a:avLst/>
          </a:prstGeom>
          <a:solidFill>
            <a:srgbClr val="005BA4"/>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US" dirty="0"/>
          </a:p>
          <a:p>
            <a:pPr algn="ctr"/>
            <a:endParaRPr lang="fr-CH" dirty="0"/>
          </a:p>
        </p:txBody>
      </p:sp>
      <p:sp>
        <p:nvSpPr>
          <p:cNvPr id="7" name="TextBox 6">
            <a:extLst>
              <a:ext uri="{FF2B5EF4-FFF2-40B4-BE49-F238E27FC236}">
                <a16:creationId xmlns:a16="http://schemas.microsoft.com/office/drawing/2014/main" id="{842CACCA-41AE-435E-9535-1A6A61BE2B3F}"/>
              </a:ext>
            </a:extLst>
          </p:cNvPr>
          <p:cNvSpPr txBox="1"/>
          <p:nvPr/>
        </p:nvSpPr>
        <p:spPr>
          <a:xfrm>
            <a:off x="83492" y="5079184"/>
            <a:ext cx="461665" cy="1493294"/>
          </a:xfrm>
          <a:prstGeom prst="rect">
            <a:avLst/>
          </a:prstGeom>
          <a:noFill/>
        </p:spPr>
        <p:txBody>
          <a:bodyPr vert="vert270" wrap="none" rtlCol="0">
            <a:spAutoFit/>
          </a:bodyPr>
          <a:lstStyle/>
          <a:p>
            <a:r>
              <a:rPr lang="fr-FR" dirty="0">
                <a:solidFill>
                  <a:schemeClr val="bg1"/>
                </a:solidFill>
              </a:rPr>
              <a:t>Cours H.E.L.P. </a:t>
            </a:r>
          </a:p>
        </p:txBody>
      </p:sp>
    </p:spTree>
    <p:extLst>
      <p:ext uri="{BB962C8B-B14F-4D97-AF65-F5344CB8AC3E}">
        <p14:creationId xmlns:p14="http://schemas.microsoft.com/office/powerpoint/2010/main" val="3297528456"/>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4"/>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4"/>
                                        </p:tgtEl>
                                      </p:cBhvr>
                                    </p:cmd>
                                  </p:childTnLst>
                                </p:cTn>
                              </p:par>
                            </p:childTnLst>
                          </p:cTn>
                        </p:par>
                      </p:childTnLst>
                    </p:cTn>
                  </p:par>
                </p:childTnLst>
              </p:cTn>
              <p:nextCondLst>
                <p:cond evt="onClick" delay="0">
                  <p:tgtEl>
                    <p:spTgt spid="4"/>
                  </p:tgtEl>
                </p:cond>
              </p:nextCondLst>
            </p:seq>
            <p:video>
              <p:cMediaNode vol="80000">
                <p:cTn id="7" fill="hold" display="0">
                  <p:stCondLst>
                    <p:cond delay="indefinite"/>
                  </p:stCondLst>
                </p:cTn>
                <p:tgtEl>
                  <p:spTgt spid="4"/>
                </p:tgtEl>
              </p:cMediaNode>
            </p:video>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E9EAC3AF-2B35-4CC6-895A-ED5C199302CE}"/>
              </a:ext>
            </a:extLst>
          </p:cNvPr>
          <p:cNvSpPr txBox="1"/>
          <p:nvPr/>
        </p:nvSpPr>
        <p:spPr>
          <a:xfrm>
            <a:off x="83492" y="5079184"/>
            <a:ext cx="461665" cy="1493294"/>
          </a:xfrm>
          <a:prstGeom prst="rect">
            <a:avLst/>
          </a:prstGeom>
          <a:noFill/>
        </p:spPr>
        <p:txBody>
          <a:bodyPr vert="vert270" wrap="none" rtlCol="0">
            <a:spAutoFit/>
          </a:bodyPr>
          <a:lstStyle/>
          <a:p>
            <a:r>
              <a:rPr lang="fr-FR" dirty="0">
                <a:solidFill>
                  <a:schemeClr val="bg1"/>
                </a:solidFill>
              </a:rPr>
              <a:t>Cours H.E.L.P. </a:t>
            </a:r>
          </a:p>
        </p:txBody>
      </p:sp>
      <p:sp>
        <p:nvSpPr>
          <p:cNvPr id="2" name="TextBox 1">
            <a:extLst>
              <a:ext uri="{FF2B5EF4-FFF2-40B4-BE49-F238E27FC236}">
                <a16:creationId xmlns:a16="http://schemas.microsoft.com/office/drawing/2014/main" id="{823643D4-4BB6-4EE5-93F7-6EA0D292B6D6}"/>
              </a:ext>
            </a:extLst>
          </p:cNvPr>
          <p:cNvSpPr txBox="1"/>
          <p:nvPr/>
        </p:nvSpPr>
        <p:spPr>
          <a:xfrm>
            <a:off x="4692671" y="2503169"/>
            <a:ext cx="7356143" cy="2062103"/>
          </a:xfrm>
          <a:prstGeom prst="rect">
            <a:avLst/>
          </a:prstGeom>
          <a:noFill/>
        </p:spPr>
        <p:txBody>
          <a:bodyPr wrap="square" rtlCol="0">
            <a:spAutoFit/>
          </a:bodyPr>
          <a:lstStyle/>
          <a:p>
            <a:pPr algn="ctr"/>
            <a:r>
              <a:rPr lang="fr-FR" sz="3200" dirty="0"/>
              <a:t>Les quelques cas de violence sexuelle documentés reflètent probablement la prévalence de cette violence dans le cadre du conflit</a:t>
            </a:r>
          </a:p>
        </p:txBody>
      </p:sp>
      <p:sp>
        <p:nvSpPr>
          <p:cNvPr id="3" name="TextBox 2">
            <a:extLst>
              <a:ext uri="{FF2B5EF4-FFF2-40B4-BE49-F238E27FC236}">
                <a16:creationId xmlns:a16="http://schemas.microsoft.com/office/drawing/2014/main" id="{7755A1FF-0B39-43B0-9AFD-483BD5416569}"/>
              </a:ext>
            </a:extLst>
          </p:cNvPr>
          <p:cNvSpPr txBox="1"/>
          <p:nvPr/>
        </p:nvSpPr>
        <p:spPr>
          <a:xfrm>
            <a:off x="971888" y="2687835"/>
            <a:ext cx="1608197" cy="1200329"/>
          </a:xfrm>
          <a:prstGeom prst="rect">
            <a:avLst/>
          </a:prstGeom>
          <a:noFill/>
        </p:spPr>
        <p:txBody>
          <a:bodyPr wrap="none" rtlCol="0">
            <a:spAutoFit/>
          </a:bodyPr>
          <a:lstStyle/>
          <a:p>
            <a:r>
              <a:rPr lang="fr-FR" sz="7200" b="1" dirty="0">
                <a:solidFill>
                  <a:srgbClr val="FF0000"/>
                </a:solidFill>
              </a:rPr>
              <a:t>Oui / Non</a:t>
            </a:r>
          </a:p>
        </p:txBody>
      </p:sp>
    </p:spTree>
    <p:extLst>
      <p:ext uri="{BB962C8B-B14F-4D97-AF65-F5344CB8AC3E}">
        <p14:creationId xmlns:p14="http://schemas.microsoft.com/office/powerpoint/2010/main" val="205445390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4183CB-8B83-4A74-8D9F-7F99B0071443}"/>
              </a:ext>
            </a:extLst>
          </p:cNvPr>
          <p:cNvSpPr>
            <a:spLocks noGrp="1"/>
          </p:cNvSpPr>
          <p:nvPr>
            <p:ph type="title"/>
          </p:nvPr>
        </p:nvSpPr>
        <p:spPr>
          <a:xfrm>
            <a:off x="628651" y="91923"/>
            <a:ext cx="9613526" cy="851353"/>
          </a:xfrm>
        </p:spPr>
        <p:txBody>
          <a:bodyPr>
            <a:normAutofit/>
          </a:bodyPr>
          <a:lstStyle/>
          <a:p>
            <a:r>
              <a:rPr lang="fr-FR" b="1" u="sng" dirty="0"/>
              <a:t>Données sur la violence sexuelle</a:t>
            </a:r>
          </a:p>
        </p:txBody>
      </p:sp>
      <p:grpSp>
        <p:nvGrpSpPr>
          <p:cNvPr id="4" name="Group 3">
            <a:extLst>
              <a:ext uri="{FF2B5EF4-FFF2-40B4-BE49-F238E27FC236}">
                <a16:creationId xmlns:a16="http://schemas.microsoft.com/office/drawing/2014/main" id="{71C0A879-1D21-43E2-90C8-966552A9DBE9}"/>
              </a:ext>
            </a:extLst>
          </p:cNvPr>
          <p:cNvGrpSpPr/>
          <p:nvPr/>
        </p:nvGrpSpPr>
        <p:grpSpPr>
          <a:xfrm>
            <a:off x="2235718" y="1417487"/>
            <a:ext cx="3860282" cy="5085694"/>
            <a:chOff x="273" y="2461"/>
            <a:chExt cx="3558133" cy="5035637"/>
          </a:xfrm>
          <a:solidFill>
            <a:schemeClr val="accent4">
              <a:lumMod val="40000"/>
              <a:lumOff val="60000"/>
            </a:schemeClr>
          </a:solidFill>
          <a:scene3d>
            <a:camera prst="orthographicFront">
              <a:rot lat="0" lon="0" rev="0"/>
            </a:camera>
            <a:lightRig rig="balanced" dir="t">
              <a:rot lat="0" lon="0" rev="8700000"/>
            </a:lightRig>
          </a:scene3d>
        </p:grpSpPr>
        <p:sp>
          <p:nvSpPr>
            <p:cNvPr id="5" name="Rectangle: Rounded Corners 4">
              <a:extLst>
                <a:ext uri="{FF2B5EF4-FFF2-40B4-BE49-F238E27FC236}">
                  <a16:creationId xmlns:a16="http://schemas.microsoft.com/office/drawing/2014/main" id="{9C0EAB21-8694-4829-AB63-2A02610680CF}"/>
                </a:ext>
              </a:extLst>
            </p:cNvPr>
            <p:cNvSpPr/>
            <p:nvPr/>
          </p:nvSpPr>
          <p:spPr>
            <a:xfrm>
              <a:off x="273" y="2461"/>
              <a:ext cx="3558133" cy="5035637"/>
            </a:xfrm>
            <a:prstGeom prst="roundRect">
              <a:avLst/>
            </a:prstGeom>
            <a:grpFill/>
            <a:ln>
              <a:noFill/>
            </a:ln>
            <a:effectLst>
              <a:outerShdw blurRad="44450" dist="27940" dir="5400000" algn="ctr">
                <a:srgbClr val="000000">
                  <a:alpha val="32000"/>
                </a:srgbClr>
              </a:outerShdw>
            </a:effectLst>
            <a:sp3d>
              <a:bevelT w="190500" h="38100"/>
            </a:sp3d>
          </p:spPr>
          <p:style>
            <a:lnRef idx="0">
              <a:scrgbClr r="0" g="0" b="0"/>
            </a:lnRef>
            <a:fillRef idx="3">
              <a:schemeClr val="accent1">
                <a:hueOff val="0"/>
                <a:satOff val="0"/>
                <a:lumOff val="0"/>
                <a:alphaOff val="0"/>
              </a:schemeClr>
            </a:fillRef>
            <a:effectRef idx="3">
              <a:scrgbClr r="0" g="0" b="0"/>
            </a:effectRef>
            <a:fontRef idx="minor">
              <a:schemeClr val="lt1"/>
            </a:fontRef>
          </p:style>
        </p:sp>
        <p:sp>
          <p:nvSpPr>
            <p:cNvPr id="6" name="Rectangle: Rounded Corners 4">
              <a:extLst>
                <a:ext uri="{FF2B5EF4-FFF2-40B4-BE49-F238E27FC236}">
                  <a16:creationId xmlns:a16="http://schemas.microsoft.com/office/drawing/2014/main" id="{CDBE95C8-B37A-4EB1-8FC3-F30E8EEB9371}"/>
                </a:ext>
              </a:extLst>
            </p:cNvPr>
            <p:cNvSpPr txBox="1"/>
            <p:nvPr/>
          </p:nvSpPr>
          <p:spPr>
            <a:xfrm>
              <a:off x="173967" y="176155"/>
              <a:ext cx="3210745" cy="4688249"/>
            </a:xfrm>
            <a:prstGeom prst="rect">
              <a:avLst/>
            </a:prstGeom>
            <a:solidFill>
              <a:srgbClr val="78A392"/>
            </a:solidFill>
            <a:sp3d/>
          </p:spPr>
          <p:style>
            <a:lnRef idx="0">
              <a:scrgbClr r="0" g="0" b="0"/>
            </a:lnRef>
            <a:fillRef idx="0">
              <a:scrgbClr r="0" g="0" b="0"/>
            </a:fillRef>
            <a:effectRef idx="0">
              <a:scrgbClr r="0" g="0" b="0"/>
            </a:effectRef>
            <a:fontRef idx="minor">
              <a:schemeClr val="lt1"/>
            </a:fontRef>
          </p:style>
          <p:txBody>
            <a:bodyPr spcFirstLastPara="0" vert="horz" wrap="square" lIns="137160" tIns="68580" rIns="137160" bIns="68580" numCol="1" spcCol="1270" anchor="ctr" anchorCtr="0">
              <a:noAutofit/>
            </a:bodyPr>
            <a:lstStyle/>
            <a:p>
              <a:pPr marL="0" lvl="0" indent="0" algn="ctr" defTabSz="1600200" rtl="0">
                <a:lnSpc>
                  <a:spcPct val="90000"/>
                </a:lnSpc>
                <a:spcBef>
                  <a:spcPct val="0"/>
                </a:spcBef>
                <a:spcAft>
                  <a:spcPct val="35000"/>
                </a:spcAft>
                <a:buNone/>
              </a:pPr>
              <a:r>
                <a:rPr lang="fr-FR" sz="3600" dirty="0">
                  <a:solidFill>
                    <a:schemeClr val="tx1"/>
                  </a:solidFill>
                </a:rPr>
                <a:t>Violence sexuelle en situation de crise humanitaire</a:t>
              </a:r>
            </a:p>
          </p:txBody>
        </p:sp>
      </p:grpSp>
      <p:grpSp>
        <p:nvGrpSpPr>
          <p:cNvPr id="7" name="Group 6">
            <a:extLst>
              <a:ext uri="{FF2B5EF4-FFF2-40B4-BE49-F238E27FC236}">
                <a16:creationId xmlns:a16="http://schemas.microsoft.com/office/drawing/2014/main" id="{ED492A8B-5326-4DDF-B5B9-B2CE7CA7A6C5}"/>
              </a:ext>
            </a:extLst>
          </p:cNvPr>
          <p:cNvGrpSpPr/>
          <p:nvPr/>
        </p:nvGrpSpPr>
        <p:grpSpPr>
          <a:xfrm>
            <a:off x="6481643" y="1462629"/>
            <a:ext cx="4146175" cy="5040552"/>
            <a:chOff x="3944049" y="45147"/>
            <a:chExt cx="4146175" cy="5040552"/>
          </a:xfrm>
          <a:solidFill>
            <a:srgbClr val="4D7568"/>
          </a:solidFill>
          <a:scene3d>
            <a:camera prst="orthographicFront">
              <a:rot lat="0" lon="0" rev="0"/>
            </a:camera>
            <a:lightRig rig="balanced" dir="t">
              <a:rot lat="0" lon="0" rev="8700000"/>
            </a:lightRig>
          </a:scene3d>
        </p:grpSpPr>
        <p:sp>
          <p:nvSpPr>
            <p:cNvPr id="8" name="Rectangle: Top Corners Rounded 7">
              <a:extLst>
                <a:ext uri="{FF2B5EF4-FFF2-40B4-BE49-F238E27FC236}">
                  <a16:creationId xmlns:a16="http://schemas.microsoft.com/office/drawing/2014/main" id="{59D6121B-B13B-420A-A3A1-15A226D4B071}"/>
                </a:ext>
              </a:extLst>
            </p:cNvPr>
            <p:cNvSpPr/>
            <p:nvPr/>
          </p:nvSpPr>
          <p:spPr>
            <a:xfrm rot="5400000">
              <a:off x="3496861" y="492335"/>
              <a:ext cx="5040552" cy="4146175"/>
            </a:xfrm>
            <a:prstGeom prst="round2SameRect">
              <a:avLst/>
            </a:prstGeom>
            <a:grpFill/>
            <a:ln>
              <a:noFill/>
            </a:ln>
            <a:effectLst>
              <a:outerShdw blurRad="44450" dist="27940" dir="5400000" algn="ctr">
                <a:srgbClr val="000000">
                  <a:alpha val="32000"/>
                </a:srgbClr>
              </a:outerShdw>
            </a:effectLst>
            <a:sp3d>
              <a:bevelT w="190500" h="38100"/>
            </a:sp3d>
          </p:spPr>
          <p:style>
            <a:lnRef idx="1">
              <a:scrgbClr r="0" g="0" b="0"/>
            </a:lnRef>
            <a:fillRef idx="1">
              <a:schemeClr val="accent1">
                <a:alpha val="90000"/>
                <a:tint val="40000"/>
                <a:hueOff val="0"/>
                <a:satOff val="0"/>
                <a:lumOff val="0"/>
                <a:alphaOff val="0"/>
              </a:schemeClr>
            </a:fillRef>
            <a:effectRef idx="2">
              <a:scrgbClr r="0" g="0" b="0"/>
            </a:effectRef>
            <a:fontRef idx="minor">
              <a:schemeClr val="dk1">
                <a:hueOff val="0"/>
                <a:satOff val="0"/>
                <a:lumOff val="0"/>
                <a:alphaOff val="0"/>
              </a:schemeClr>
            </a:fontRef>
          </p:style>
        </p:sp>
        <p:sp>
          <p:nvSpPr>
            <p:cNvPr id="9" name="Rectangle: Top Corners Rounded 4">
              <a:extLst>
                <a:ext uri="{FF2B5EF4-FFF2-40B4-BE49-F238E27FC236}">
                  <a16:creationId xmlns:a16="http://schemas.microsoft.com/office/drawing/2014/main" id="{0828A935-98FD-4B30-8B2A-4C068498A628}"/>
                </a:ext>
              </a:extLst>
            </p:cNvPr>
            <p:cNvSpPr txBox="1"/>
            <p:nvPr/>
          </p:nvSpPr>
          <p:spPr>
            <a:xfrm>
              <a:off x="3944049" y="175426"/>
              <a:ext cx="3943775" cy="4635752"/>
            </a:xfrm>
            <a:prstGeom prst="rect">
              <a:avLst/>
            </a:prstGeom>
            <a:grpFill/>
            <a:sp3d/>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247650" tIns="123825" rIns="247650" bIns="123825" numCol="1" spcCol="1270" anchor="ctr" anchorCtr="0">
              <a:noAutofit/>
            </a:bodyPr>
            <a:lstStyle/>
            <a:p>
              <a:pPr marL="285750" lvl="1" indent="-285750" algn="l" defTabSz="1333500" rtl="0">
                <a:lnSpc>
                  <a:spcPct val="90000"/>
                </a:lnSpc>
                <a:spcBef>
                  <a:spcPct val="0"/>
                </a:spcBef>
                <a:spcAft>
                  <a:spcPct val="15000"/>
                </a:spcAft>
                <a:buChar char="•"/>
              </a:pPr>
              <a:r>
                <a:rPr lang="fr-FR" sz="2400" dirty="0"/>
                <a:t>Souvent </a:t>
              </a:r>
              <a:r>
                <a:rPr lang="fr-FR" sz="2400" b="1" dirty="0"/>
                <a:t>répandue</a:t>
              </a:r>
            </a:p>
            <a:p>
              <a:pPr marL="228600" lvl="1" indent="-228600" algn="l" defTabSz="889000" rtl="0">
                <a:lnSpc>
                  <a:spcPct val="90000"/>
                </a:lnSpc>
                <a:spcBef>
                  <a:spcPct val="0"/>
                </a:spcBef>
                <a:spcAft>
                  <a:spcPct val="15000"/>
                </a:spcAft>
                <a:buChar char="•"/>
              </a:pPr>
              <a:endParaRPr lang="en-US" sz="2400" b="1" kern="1200" dirty="0">
                <a:solidFill>
                  <a:schemeClr val="tx1"/>
                </a:solidFill>
              </a:endParaRPr>
            </a:p>
            <a:p>
              <a:pPr marL="285750" lvl="1" indent="-285750" algn="l" defTabSz="1333500" rtl="0">
                <a:lnSpc>
                  <a:spcPct val="90000"/>
                </a:lnSpc>
                <a:spcBef>
                  <a:spcPct val="0"/>
                </a:spcBef>
                <a:spcAft>
                  <a:spcPct val="15000"/>
                </a:spcAft>
                <a:buChar char="•"/>
              </a:pPr>
              <a:r>
                <a:rPr lang="fr-FR" sz="2400" dirty="0"/>
                <a:t>Reste sous-documentée dans de nombreux contextes</a:t>
              </a:r>
            </a:p>
            <a:p>
              <a:pPr marL="228600" lvl="1" indent="-228600" algn="l" defTabSz="889000" rtl="0">
                <a:lnSpc>
                  <a:spcPct val="90000"/>
                </a:lnSpc>
                <a:spcBef>
                  <a:spcPct val="0"/>
                </a:spcBef>
                <a:spcAft>
                  <a:spcPct val="15000"/>
                </a:spcAft>
                <a:buChar char="•"/>
              </a:pPr>
              <a:endParaRPr lang="en-US" sz="2400" kern="1200" dirty="0"/>
            </a:p>
            <a:p>
              <a:pPr marL="285750" lvl="1" indent="-285750" algn="l" defTabSz="1333500" rtl="0">
                <a:lnSpc>
                  <a:spcPct val="90000"/>
                </a:lnSpc>
                <a:spcBef>
                  <a:spcPct val="0"/>
                </a:spcBef>
                <a:spcAft>
                  <a:spcPct val="15000"/>
                </a:spcAft>
                <a:buChar char="•"/>
              </a:pPr>
              <a:r>
                <a:rPr lang="fr-FR" sz="2400" b="1" dirty="0"/>
                <a:t>Ne se produit jamais de manière isolée</a:t>
              </a:r>
            </a:p>
            <a:p>
              <a:pPr marL="228600" lvl="1" indent="-228600" algn="l" defTabSz="889000" rtl="0">
                <a:lnSpc>
                  <a:spcPct val="90000"/>
                </a:lnSpc>
                <a:spcBef>
                  <a:spcPct val="0"/>
                </a:spcBef>
                <a:spcAft>
                  <a:spcPct val="15000"/>
                </a:spcAft>
                <a:buChar char="•"/>
              </a:pPr>
              <a:endParaRPr lang="en-US" sz="2400" b="1" kern="1200" dirty="0"/>
            </a:p>
            <a:p>
              <a:pPr marL="285750" lvl="1" indent="-285750" algn="l" defTabSz="1333500" rtl="0">
                <a:lnSpc>
                  <a:spcPct val="90000"/>
                </a:lnSpc>
                <a:spcBef>
                  <a:spcPct val="0"/>
                </a:spcBef>
                <a:spcAft>
                  <a:spcPct val="15000"/>
                </a:spcAft>
                <a:buChar char="•"/>
              </a:pPr>
              <a:r>
                <a:rPr lang="fr-FR" sz="2400" b="1" dirty="0"/>
                <a:t>Prévention possible </a:t>
              </a:r>
              <a:r>
                <a:rPr lang="fr-FR" sz="2400" b="1" i="1" dirty="0"/>
                <a:t>(importance des mesures préventives)</a:t>
              </a:r>
            </a:p>
          </p:txBody>
        </p:sp>
      </p:grpSp>
      <p:sp>
        <p:nvSpPr>
          <p:cNvPr id="11" name="TextBox 10">
            <a:extLst>
              <a:ext uri="{FF2B5EF4-FFF2-40B4-BE49-F238E27FC236}">
                <a16:creationId xmlns:a16="http://schemas.microsoft.com/office/drawing/2014/main" id="{E5ABA34B-845D-4254-9B3D-BBD6359D8848}"/>
              </a:ext>
            </a:extLst>
          </p:cNvPr>
          <p:cNvSpPr txBox="1"/>
          <p:nvPr/>
        </p:nvSpPr>
        <p:spPr>
          <a:xfrm>
            <a:off x="83492" y="5079184"/>
            <a:ext cx="461665" cy="1493294"/>
          </a:xfrm>
          <a:prstGeom prst="rect">
            <a:avLst/>
          </a:prstGeom>
          <a:noFill/>
        </p:spPr>
        <p:txBody>
          <a:bodyPr vert="vert270" wrap="none" rtlCol="0">
            <a:spAutoFit/>
          </a:bodyPr>
          <a:lstStyle/>
          <a:p>
            <a:r>
              <a:rPr lang="fr-FR" dirty="0">
                <a:solidFill>
                  <a:schemeClr val="bg1"/>
                </a:solidFill>
              </a:rPr>
              <a:t>Cours H.E.L.P. </a:t>
            </a:r>
          </a:p>
        </p:txBody>
      </p:sp>
    </p:spTree>
    <p:extLst>
      <p:ext uri="{BB962C8B-B14F-4D97-AF65-F5344CB8AC3E}">
        <p14:creationId xmlns:p14="http://schemas.microsoft.com/office/powerpoint/2010/main" val="9295171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xml><?xml version="1.0" encoding="utf-8"?>
<p:tagLst xmlns:a="http://schemas.openxmlformats.org/drawingml/2006/main" xmlns:r="http://schemas.openxmlformats.org/officeDocument/2006/relationships" xmlns:p="http://schemas.openxmlformats.org/presentationml/2006/main">
  <p:tag name="SHAPENAME" val="5. Source"/>
</p:tagLst>
</file>

<file path=ppt/tags/tag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xml><?xml version="1.0" encoding="utf-8"?>
<p:tagLst xmlns:a="http://schemas.openxmlformats.org/drawingml/2006/main" xmlns:r="http://schemas.openxmlformats.org/officeDocument/2006/relationships" xmlns:p="http://schemas.openxmlformats.org/presentationml/2006/main">
  <p:tag name="SHAPENAME" val="5. Source"/>
</p:tagLst>
</file>

<file path=ppt/tags/tag1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xml><?xml version="1.0" encoding="utf-8"?>
<p:tagLst xmlns:a="http://schemas.openxmlformats.org/drawingml/2006/main" xmlns:r="http://schemas.openxmlformats.org/officeDocument/2006/relationships" xmlns:p="http://schemas.openxmlformats.org/presentationml/2006/main">
  <p:tag name="SHAPENAME" val="5. Source"/>
</p:tagLst>
</file>

<file path=ppt/tags/tag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heme/theme1.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IBM PLex SV Team Template Font">
      <a:majorFont>
        <a:latin typeface="IBM Plex Sans Bold"/>
        <a:ea typeface=""/>
        <a:cs typeface=""/>
      </a:majorFont>
      <a:minorFont>
        <a:latin typeface="IBM Plex Sans Condensed"/>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IBM PLex SV Team Template Font">
      <a:majorFont>
        <a:latin typeface="IBM Plex Sans Bold"/>
        <a:ea typeface=""/>
        <a:cs typeface=""/>
      </a:majorFont>
      <a:minorFont>
        <a:latin typeface="IBM Plex Sans Condensed"/>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5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IBM PLex SV Team Template Font">
      <a:majorFont>
        <a:latin typeface="IBM Plex Sans Bold"/>
        <a:ea typeface=""/>
        <a:cs typeface=""/>
      </a:majorFont>
      <a:minorFont>
        <a:latin typeface="IBM Plex Sans Condensed"/>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4_Office Theme">
  <a:themeElements>
    <a:clrScheme name="Custom 1">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FFFFFF"/>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p:properties xmlns:p="http://schemas.microsoft.com/office/2006/metadata/properties" xmlns:xsi="http://www.w3.org/2001/XMLSchema-instance" xmlns:pc="http://schemas.microsoft.com/office/infopath/2007/PartnerControls">
  <documentManagement>
    <ICRCIMP_Country_H xmlns="71402401-ee9a-4cfa-82a8-ebbd88d5d766">
      <Terms xmlns="http://schemas.microsoft.com/office/infopath/2007/PartnerControls">
        <TermInfo xmlns="http://schemas.microsoft.com/office/infopath/2007/PartnerControls">
          <TermName xmlns="http://schemas.microsoft.com/office/infopath/2007/PartnerControls">No Country</TermName>
          <TermId xmlns="http://schemas.microsoft.com/office/infopath/2007/PartnerControls">1f55df4f-c103-4303-b974-426a8e7d1d06</TermId>
        </TermInfo>
      </Terms>
    </ICRCIMP_Country_H>
    <Period_x0020_start xmlns="a8a2af44-4b8d-404b-a8bd-4186350a523c">2023-05-09T17:00:00+00:00</Period_x0020_start>
    <TaxCatchAll xmlns="a8a2af44-4b8d-404b-a8bd-4186350a523c">
      <Value>4</Value>
      <Value>31</Value>
      <Value>2</Value>
      <Value>1</Value>
      <Value>3</Value>
    </TaxCatchAll>
    <ICRCIMP_DocumentType_H xmlns="71402401-ee9a-4cfa-82a8-ebbd88d5d766">
      <Terms xmlns="http://schemas.microsoft.com/office/infopath/2007/PartnerControls"/>
    </ICRCIMP_DocumentType_H>
    <ICRCIMP_IHT_H xmlns="71402401-ee9a-4cfa-82a8-ebbd88d5d766">
      <Terms xmlns="http://schemas.microsoft.com/office/infopath/2007/PartnerControls">
        <TermInfo xmlns="http://schemas.microsoft.com/office/infopath/2007/PartnerControls">
          <TermName xmlns="http://schemas.microsoft.com/office/infopath/2007/PartnerControls">Internal</TermName>
          <TermId xmlns="http://schemas.microsoft.com/office/infopath/2007/PartnerControls">23eb6094-56fc-4ad4-8ae2-cf1575a694f0</TermId>
        </TermInfo>
      </Terms>
    </ICRCIMP_IHT_H>
    <IsIntranet xmlns="a8a2af44-4b8d-404b-a8bd-4186350a523c">false</IsIntranet>
    <ICRCIMP_BusinessFunction_H xmlns="71402401-ee9a-4cfa-82a8-ebbd88d5d766">
      <Terms xmlns="http://schemas.microsoft.com/office/infopath/2007/PartnerControls">
        <TermInfo xmlns="http://schemas.microsoft.com/office/infopath/2007/PartnerControls">
          <TermName xmlns="http://schemas.microsoft.com/office/infopath/2007/PartnerControls">Assistance</TermName>
          <TermId xmlns="http://schemas.microsoft.com/office/infopath/2007/PartnerControls">9015aaae-65d7-4217-8889-581aaffe05a3</TermId>
        </TermInfo>
      </Terms>
    </ICRCIMP_BusinessFunction_H>
    <pe3ed4b1638e49a0a22b56e84a30773f xmlns="775538c5-eb89-48ba-a372-0acd5d6f1291">
      <Terms xmlns="http://schemas.microsoft.com/office/infopath/2007/PartnerControls">
        <TermInfo xmlns="http://schemas.microsoft.com/office/infopath/2007/PartnerControls">
          <TermName xmlns="http://schemas.microsoft.com/office/infopath/2007/PartnerControls">- No key issue</TermName>
          <TermId xmlns="http://schemas.microsoft.com/office/infopath/2007/PartnerControls">32056555-74b8-4174-9beb-b0d6d010855f</TermId>
        </TermInfo>
      </Terms>
    </pe3ed4b1638e49a0a22b56e84a30773f>
    <ICRCIMP_RMIdentifier xmlns="71402401-ee9a-4cfa-82a8-ebbd88d5d766" xsi:nil="true"/>
    <RatingCount xmlns="http://schemas.microsoft.com/sharepoint/v3" xsi:nil="true"/>
    <ICRCIMP_IsRecord xmlns="71402401-ee9a-4cfa-82a8-ebbd88d5d766">true</ICRCIMP_IsRecord>
    <ICRCIMP_RMTransfer xmlns="71402401-ee9a-4cfa-82a8-ebbd88d5d766">
      <Url xsi:nil="true"/>
      <Description xsi:nil="true"/>
    </ICRCIMP_RMTransfer>
    <ICRCIMP_Keyword_H xmlns="71402401-ee9a-4cfa-82a8-ebbd88d5d766">
      <Terms xmlns="http://schemas.microsoft.com/office/infopath/2007/PartnerControls"/>
    </ICRCIMP_Keyword_H>
    <ICRCIMP_OrganizationalAccronym_H xmlns="71402401-ee9a-4cfa-82a8-ebbd88d5d766">
      <Terms xmlns="http://schemas.microsoft.com/office/infopath/2007/PartnerControls"/>
    </ICRCIMP_OrganizationalAccronym_H>
    <AverageRating xmlns="http://schemas.microsoft.com/sharepoint/v3" xsi:nil="true"/>
    <h205814a13eb4c68bb83316f6dea6ef2 xmlns="71402401-ee9a-4cfa-82a8-ebbd88d5d766">
      <Terms xmlns="http://schemas.microsoft.com/office/infopath/2007/PartnerControls"/>
    </h205814a13eb4c68bb83316f6dea6ef2>
    <ICRCIMP_IsFocus xmlns="71402401-ee9a-4cfa-82a8-ebbd88d5d766">false</ICRCIMP_IsFocus>
    <Period_x0020_end xmlns="a8a2af44-4b8d-404b-a8bd-4186350a523c" xsi:nil="true"/>
    <ICRCIMP_RMUnitInCharge_H xmlns="71402401-ee9a-4cfa-82a8-ebbd88d5d766">
      <Terms xmlns="http://schemas.microsoft.com/office/infopath/2007/PartnerControls">
        <TermInfo xmlns="http://schemas.microsoft.com/office/infopath/2007/PartnerControls">
          <TermName xmlns="http://schemas.microsoft.com/office/infopath/2007/PartnerControls">GVA_OP_ASSIST_HELP</TermName>
          <TermId xmlns="http://schemas.microsoft.com/office/infopath/2007/PartnerControls">c53394dc-0df0-45c5-8220-3bdc97c5e4ad</TermId>
        </TermInfo>
      </Terms>
    </ICRCIMP_RMUnitInCharge_H>
    <_dlc_DocId xmlns="a8a2af44-4b8d-404b-a8bd-4186350a523c">TSASSIST-19-3345</_dlc_DocId>
    <_dlc_DocIdUrl xmlns="a8a2af44-4b8d-404b-a8bd-4186350a523c">
      <Url>https://collab.ext.icrc.org/sites/TS_ASSIST/_layouts/15/DocIdRedir.aspx?ID=TSASSIST-19-3345</Url>
      <Description>TSASSIST-19-3345</Description>
    </_dlc_DocIdUrl>
  </documentManagement>
</p:properties>
</file>

<file path=customXml/item2.xml><?xml version="1.0" encoding="utf-8"?>
<?mso-contentType ?>
<SharedContentType xmlns="Microsoft.SharePoint.Taxonomy.ContentTypeSync" SourceId="ab0fa9d1-5a5a-4c9b-9c24-b67ffc5bb60f" ContentTypeId="0x010100F306B2604BE44180B8B82333BE64DF4E005A5CBB6C53404A16AAEA5338BA523999" PreviousValue="false"/>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5.0.0.0, Culture=neutral, PublicKeyToken=71e9bce111e9429c</Assembly>
    <Class>Microsoft.Office.DocumentManagement.Internal.DocIdHandler</Class>
    <Data/>
    <Filter/>
  </Receiver>
</spe:Receivers>
</file>

<file path=customXml/item4.xml><?xml version="1.0" encoding="utf-8"?>
<?mso-contentType ?>
<FormTemplates xmlns="http://schemas.microsoft.com/sharepoint/v3/contenttype/forms">
  <Display>DocumentLibraryForm</Display>
  <Edit>DocumentLibraryForm</Edit>
  <New>DocumentLibraryForm</New>
</FormTemplates>
</file>

<file path=customXml/item5.xml><?xml version="1.0" encoding="utf-8"?>
<ct:contentTypeSchema xmlns:ct="http://schemas.microsoft.com/office/2006/metadata/contentType" xmlns:ma="http://schemas.microsoft.com/office/2006/metadata/properties/metaAttributes" ct:_="" ma:_="" ma:contentTypeName="ICRC Team Document" ma:contentTypeID="0x010100F306B2604BE44180B8B82333BE64DF4E005A5CBB6C53404A16AAEA5338BA523999000A8DC57427FE8447B6BC7D6E7F551E9D" ma:contentTypeVersion="59" ma:contentTypeDescription="Upload Form" ma:contentTypeScope="" ma:versionID="af942c23399e2bbf09343e682b64174d">
  <xsd:schema xmlns:xsd="http://www.w3.org/2001/XMLSchema" xmlns:xs="http://www.w3.org/2001/XMLSchema" xmlns:p="http://schemas.microsoft.com/office/2006/metadata/properties" xmlns:ns1="http://schemas.microsoft.com/sharepoint/v3" xmlns:ns2="71402401-ee9a-4cfa-82a8-ebbd88d5d766" xmlns:ns3="a8a2af44-4b8d-404b-a8bd-4186350a523c" xmlns:ns4="775538c5-eb89-48ba-a372-0acd5d6f1291" targetNamespace="http://schemas.microsoft.com/office/2006/metadata/properties" ma:root="true" ma:fieldsID="9eefc4f65a2f985d9d7f7f4fa1d65849" ns1:_="" ns2:_="" ns3:_="" ns4:_="">
    <xsd:import namespace="http://schemas.microsoft.com/sharepoint/v3"/>
    <xsd:import namespace="71402401-ee9a-4cfa-82a8-ebbd88d5d766"/>
    <xsd:import namespace="a8a2af44-4b8d-404b-a8bd-4186350a523c"/>
    <xsd:import namespace="775538c5-eb89-48ba-a372-0acd5d6f1291"/>
    <xsd:element name="properties">
      <xsd:complexType>
        <xsd:sequence>
          <xsd:element name="documentManagement">
            <xsd:complexType>
              <xsd:all>
                <xsd:element ref="ns2:ICRCIMP_IsFocus" minOccurs="0"/>
                <xsd:element ref="ns3:IsIntranet" minOccurs="0"/>
                <xsd:element ref="ns3:Period_x0020_start" minOccurs="0"/>
                <xsd:element ref="ns3:Period_x0020_end" minOccurs="0"/>
                <xsd:element ref="ns2:ICRCIMP_IsRecord" minOccurs="0"/>
                <xsd:element ref="ns2:ICRCIMP_RMIdentifier" minOccurs="0"/>
                <xsd:element ref="ns2:ICRCIMP_RMTransfer" minOccurs="0"/>
                <xsd:element ref="ns1:AverageRating" minOccurs="0"/>
                <xsd:element ref="ns1:RatingCount" minOccurs="0"/>
                <xsd:element ref="ns3:_dlc_DocIdUrl" minOccurs="0"/>
                <xsd:element ref="ns2:ICRCIMP_RMUnitInCharge_H" minOccurs="0"/>
                <xsd:element ref="ns3:TaxCatchAll" minOccurs="0"/>
                <xsd:element ref="ns3:TaxCatchAllLabel" minOccurs="0"/>
                <xsd:element ref="ns3:_dlc_DocIdPersistId" minOccurs="0"/>
                <xsd:element ref="ns2:ICRCIMP_Keyword_H" minOccurs="0"/>
                <xsd:element ref="ns3:_dlc_DocId" minOccurs="0"/>
                <xsd:element ref="ns2:ICRCIMP_OrganizationalAccronym_H" minOccurs="0"/>
                <xsd:element ref="ns2:ICRCIMP_Country_H" minOccurs="0"/>
                <xsd:element ref="ns2:ICRCIMP_DocumentType_H" minOccurs="0"/>
                <xsd:element ref="ns2:ICRCIMP_IHT_H" minOccurs="0"/>
                <xsd:element ref="ns2:ICRCIMP_BusinessFunction_H" minOccurs="0"/>
                <xsd:element ref="ns4:pe3ed4b1638e49a0a22b56e84a30773f" minOccurs="0"/>
                <xsd:element ref="ns2:h205814a13eb4c68bb83316f6dea6ef2"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AverageRating" ma:index="16" nillable="true" ma:displayName="Rating (0-5)" ma:decimals="2" ma:description="Average value of all the ratings that have been submitted" ma:hidden="true" ma:internalName="AverageRating" ma:readOnly="false">
      <xsd:simpleType>
        <xsd:restriction base="dms:Number"/>
      </xsd:simpleType>
    </xsd:element>
    <xsd:element name="RatingCount" ma:index="17" nillable="true" ma:displayName="Number of Ratings" ma:decimals="0" ma:description="Number of ratings submitted" ma:hidden="true" ma:internalName="RatingCount" ma:readOnly="false">
      <xsd:simpleType>
        <xsd:restriction base="dms:Number"/>
      </xsd:simpleType>
    </xsd:element>
  </xsd:schema>
  <xsd:schema xmlns:xsd="http://www.w3.org/2001/XMLSchema" xmlns:xs="http://www.w3.org/2001/XMLSchema" xmlns:dms="http://schemas.microsoft.com/office/2006/documentManagement/types" xmlns:pc="http://schemas.microsoft.com/office/infopath/2007/PartnerControls" targetNamespace="71402401-ee9a-4cfa-82a8-ebbd88d5d766" elementFormDefault="qualified">
    <xsd:import namespace="http://schemas.microsoft.com/office/2006/documentManagement/types"/>
    <xsd:import namespace="http://schemas.microsoft.com/office/infopath/2007/PartnerControls"/>
    <xsd:element name="ICRCIMP_IsFocus" ma:index="5" nillable="true" ma:displayName="Is Key Document" ma:default="0" ma:internalName="ICRCIMP_IsFocus">
      <xsd:simpleType>
        <xsd:restriction base="dms:Boolean"/>
      </xsd:simpleType>
    </xsd:element>
    <xsd:element name="ICRCIMP_IsRecord" ma:index="12" nillable="true" ma:displayName="Is Record" ma:default="0" ma:internalName="ICRCIMP_IsRecord">
      <xsd:simpleType>
        <xsd:restriction base="dms:Boolean"/>
      </xsd:simpleType>
    </xsd:element>
    <xsd:element name="ICRCIMP_RMIdentifier" ma:index="13" nillable="true" ma:displayName="RM Identifier" ma:hidden="true" ma:internalName="ICRCIMP_RMIdentifier" ma:readOnly="false">
      <xsd:simpleType>
        <xsd:restriction base="dms:Text"/>
      </xsd:simpleType>
    </xsd:element>
    <xsd:element name="ICRCIMP_RMTransfer" ma:index="15" nillable="true" ma:displayName="RM Transfer" ma:format="Image" ma:hidden="true" ma:internalName="ICRCIMP_RMTransfer"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ICRCIMP_RMUnitInCharge_H" ma:index="25" nillable="true" ma:taxonomy="true" ma:internalName="ICRCIMP_RMUnitInCharge_H" ma:taxonomyFieldName="ICRCIMP_RMUnitInCharge" ma:displayName="RM Unit In Charge" ma:readOnly="false" ma:default="" ma:fieldId="{6e3f7d82-bb30-4acf-bd11-eef511e2f6ff}" ma:sspId="ab0fa9d1-5a5a-4c9b-9c24-b67ffc5bb60f" ma:termSetId="9e1982ce-954c-4bc3-b476-a56a519943c0" ma:anchorId="63380a77-9e03-450d-9a07-fe8456eb1d4e" ma:open="false" ma:isKeyword="false">
      <xsd:complexType>
        <xsd:sequence>
          <xsd:element ref="pc:Terms" minOccurs="0" maxOccurs="1"/>
        </xsd:sequence>
      </xsd:complexType>
    </xsd:element>
    <xsd:element name="ICRCIMP_Keyword_H" ma:index="29" nillable="true" ma:taxonomy="true" ma:internalName="ICRCIMP_Keyword_H" ma:taxonomyFieldName="ICRCIMP_Keyword" ma:displayName="Keyword" ma:readOnly="false" ma:default="" ma:fieldId="{f27af7a6-d078-4508-aeeb-bc60d2b2a9c2}" ma:taxonomyMulti="true" ma:sspId="ab0fa9d1-5a5a-4c9b-9c24-b67ffc5bb60f" ma:termSetId="9e1982ce-954c-4bc3-b476-a56a519943c0" ma:anchorId="dc16195f-09ad-42a4-9fc8-901be5812cbf" ma:open="false" ma:isKeyword="false">
      <xsd:complexType>
        <xsd:sequence>
          <xsd:element ref="pc:Terms" minOccurs="0" maxOccurs="1"/>
        </xsd:sequence>
      </xsd:complexType>
    </xsd:element>
    <xsd:element name="ICRCIMP_OrganizationalAccronym_H" ma:index="31" nillable="true" ma:taxonomy="true" ma:internalName="ICRCIMP_OrganizationalAccronym_H" ma:taxonomyFieldName="ICRCIMP_OrganizationalAccronym" ma:displayName="Organizational Acronym" ma:readOnly="false" ma:default="" ma:fieldId="{7ccf5c89-e992-4c56-8c3d-f080454b7083}" ma:sspId="ab0fa9d1-5a5a-4c9b-9c24-b67ffc5bb60f" ma:termSetId="9e1982ce-954c-4bc3-b476-a56a519943c0" ma:anchorId="63380a77-9e03-450d-9a07-fe8456eb1d4e" ma:open="false" ma:isKeyword="false">
      <xsd:complexType>
        <xsd:sequence>
          <xsd:element ref="pc:Terms" minOccurs="0" maxOccurs="1"/>
        </xsd:sequence>
      </xsd:complexType>
    </xsd:element>
    <xsd:element name="ICRCIMP_Country_H" ma:index="32" nillable="true" ma:taxonomy="true" ma:internalName="ICRCIMP_Country_H" ma:taxonomyFieldName="ICRCIMP_Country" ma:displayName="Country" ma:readOnly="false" ma:default="" ma:fieldId="{43c356ae-dbf9-4781-9db5-36f4e2c43aa5}" ma:taxonomyMulti="true" ma:sspId="ab0fa9d1-5a5a-4c9b-9c24-b67ffc5bb60f" ma:termSetId="9e1982ce-954c-4bc3-b476-a56a519943c0" ma:anchorId="ef6172f5-22a7-44c1-85b4-1009e07f4347" ma:open="false" ma:isKeyword="false">
      <xsd:complexType>
        <xsd:sequence>
          <xsd:element ref="pc:Terms" minOccurs="0" maxOccurs="1"/>
        </xsd:sequence>
      </xsd:complexType>
    </xsd:element>
    <xsd:element name="ICRCIMP_DocumentType_H" ma:index="33" nillable="true" ma:taxonomy="true" ma:internalName="ICRCIMP_DocumentType_H" ma:taxonomyFieldName="ICRCIMP_DocumentType" ma:displayName="Document Type" ma:readOnly="false" ma:default="" ma:fieldId="{be9838ba-4f15-4a58-a832-ef14848e4da7}" ma:sspId="ab0fa9d1-5a5a-4c9b-9c24-b67ffc5bb60f" ma:termSetId="9e1982ce-954c-4bc3-b476-a56a519943c0" ma:anchorId="d4aee717-125d-40b5-a4ac-9555539d892b" ma:open="false" ma:isKeyword="false">
      <xsd:complexType>
        <xsd:sequence>
          <xsd:element ref="pc:Terms" minOccurs="0" maxOccurs="1"/>
        </xsd:sequence>
      </xsd:complexType>
    </xsd:element>
    <xsd:element name="ICRCIMP_IHT_H" ma:index="34" nillable="true" ma:taxonomy="true" ma:internalName="ICRCIMP_IHT_H" ma:taxonomyFieldName="ICRCIMP_IHT" ma:displayName="IHT" ma:readOnly="false" ma:default="" ma:fieldId="{065c2617-21f6-47e4-87f5-3c0378fecd5d}" ma:sspId="ab0fa9d1-5a5a-4c9b-9c24-b67ffc5bb60f" ma:termSetId="9e1982ce-954c-4bc3-b476-a56a519943c0" ma:anchorId="b0b0a92e-8599-45de-9f88-f18d1883a95e" ma:open="false" ma:isKeyword="false">
      <xsd:complexType>
        <xsd:sequence>
          <xsd:element ref="pc:Terms" minOccurs="0" maxOccurs="1"/>
        </xsd:sequence>
      </xsd:complexType>
    </xsd:element>
    <xsd:element name="ICRCIMP_BusinessFunction_H" ma:index="35" nillable="true" ma:taxonomy="true" ma:internalName="ICRCIMP_BusinessFunction_H" ma:taxonomyFieldName="ICRCIMP_BusinessFunction" ma:displayName="Business Function" ma:readOnly="false" ma:default="" ma:fieldId="{135f9e93-e411-4f51-a3e4-c80a6701173e}" ma:sspId="ab0fa9d1-5a5a-4c9b-9c24-b67ffc5bb60f" ma:termSetId="9e1982ce-954c-4bc3-b476-a56a519943c0" ma:anchorId="1f494b62-34d6-4855-af7c-08b76e795dc3" ma:open="false" ma:isKeyword="false">
      <xsd:complexType>
        <xsd:sequence>
          <xsd:element ref="pc:Terms" minOccurs="0" maxOccurs="1"/>
        </xsd:sequence>
      </xsd:complexType>
    </xsd:element>
    <xsd:element name="h205814a13eb4c68bb83316f6dea6ef2" ma:index="38" nillable="true" ma:taxonomy="true" ma:internalName="h205814a13eb4c68bb83316f6dea6ef2" ma:taxonomyFieldName="ICRCIMP_KeyIssue" ma:displayName="Key Issue" ma:fieldId="{1205814a-13eb-4c68-bb83-316f6dea6ef2}" ma:sspId="ab0fa9d1-5a5a-4c9b-9c24-b67ffc5bb60f" ma:termSetId="9e1982ce-954c-4bc3-b476-a56a519943c0" ma:anchorId="a8ad2310-98ac-4bbe-9c4d-0a57da7951af"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a8a2af44-4b8d-404b-a8bd-4186350a523c" elementFormDefault="qualified">
    <xsd:import namespace="http://schemas.microsoft.com/office/2006/documentManagement/types"/>
    <xsd:import namespace="http://schemas.microsoft.com/office/infopath/2007/PartnerControls"/>
    <xsd:element name="IsIntranet" ma:index="6" nillable="true" ma:displayName="Is Intranet" ma:default="0" ma:internalName="IsIntranet">
      <xsd:simpleType>
        <xsd:restriction base="dms:Boolean"/>
      </xsd:simpleType>
    </xsd:element>
    <xsd:element name="Period_x0020_start" ma:index="10" nillable="true" ma:displayName="Period start" ma:format="DateOnly" ma:internalName="Period_x0020_start">
      <xsd:simpleType>
        <xsd:restriction base="dms:DateTime"/>
      </xsd:simpleType>
    </xsd:element>
    <xsd:element name="Period_x0020_end" ma:index="11" nillable="true" ma:displayName="Period end" ma:format="DateOnly" ma:internalName="Period_x0020_end">
      <xsd:simpleType>
        <xsd:restriction base="dms:DateTime"/>
      </xsd:simpleType>
    </xsd:element>
    <xsd:element name="_dlc_DocIdUrl" ma:index="24"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TaxCatchAll" ma:index="26" nillable="true" ma:displayName="Taxonomy Catch All Column" ma:hidden="true" ma:list="{bb80481a-0eda-4050-92b4-209d87b2a08d}" ma:internalName="TaxCatchAll" ma:showField="CatchAllData" ma:web="71402401-ee9a-4cfa-82a8-ebbd88d5d766">
      <xsd:complexType>
        <xsd:complexContent>
          <xsd:extension base="dms:MultiChoiceLookup">
            <xsd:sequence>
              <xsd:element name="Value" type="dms:Lookup" maxOccurs="unbounded" minOccurs="0" nillable="true"/>
            </xsd:sequence>
          </xsd:extension>
        </xsd:complexContent>
      </xsd:complexType>
    </xsd:element>
    <xsd:element name="TaxCatchAllLabel" ma:index="27" nillable="true" ma:displayName="Taxonomy Catch All Column1" ma:hidden="true" ma:list="{bb80481a-0eda-4050-92b4-209d87b2a08d}" ma:internalName="TaxCatchAllLabel" ma:readOnly="true" ma:showField="CatchAllDataLabel" ma:web="71402401-ee9a-4cfa-82a8-ebbd88d5d766">
      <xsd:complexType>
        <xsd:complexContent>
          <xsd:extension base="dms:MultiChoiceLookup">
            <xsd:sequence>
              <xsd:element name="Value" type="dms:Lookup" maxOccurs="unbounded" minOccurs="0" nillable="true"/>
            </xsd:sequence>
          </xsd:extension>
        </xsd:complexContent>
      </xsd:complexType>
    </xsd:element>
    <xsd:element name="_dlc_DocIdPersistId" ma:index="28" nillable="true" ma:displayName="Persist ID" ma:description="Keep ID on add." ma:hidden="true" ma:internalName="_dlc_DocIdPersistId" ma:readOnly="true">
      <xsd:simpleType>
        <xsd:restriction base="dms:Boolean"/>
      </xsd:simpleType>
    </xsd:element>
    <xsd:element name="_dlc_DocId" ma:index="30" nillable="true" ma:displayName="Document ID Value" ma:description="The value of the document ID assigned to this item." ma:internalName="_dlc_DocId"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75538c5-eb89-48ba-a372-0acd5d6f1291" elementFormDefault="qualified">
    <xsd:import namespace="http://schemas.microsoft.com/office/2006/documentManagement/types"/>
    <xsd:import namespace="http://schemas.microsoft.com/office/infopath/2007/PartnerControls"/>
    <xsd:element name="pe3ed4b1638e49a0a22b56e84a30773f" ma:index="36" nillable="true" ma:taxonomy="true" ma:internalName="pe3ed4b1638e49a0a22b56e84a30773f" ma:taxonomyFieldName="Key_x0020_Issue" ma:displayName="Key Issue" ma:default="3;#- No key issue|32056555-74b8-4174-9beb-b0d6d010855f" ma:fieldId="{9e3ed4b1-638e-49a0-a22b-56e84a30773f}" ma:sspId="ab0fa9d1-5a5a-4c9b-9c24-b67ffc5bb60f" ma:termSetId="9e1982ce-954c-4bc3-b476-a56a519943c0" ma:anchorId="a8ad2310-98ac-4bbe-9c4d-0a57da7951af" ma:open="fals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8" ma:displayName="Content Type"/>
        <xsd:element ref="dc:title" minOccurs="0" maxOccurs="1" ma:index="1" ma:displayName="Summary"/>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2D52683-BB16-4BD8-A1F4-BA1455FF0D12}">
  <ds:schemaRefs>
    <ds:schemaRef ds:uri="http://schemas.microsoft.com/office/2006/metadata/properties"/>
    <ds:schemaRef ds:uri="http://schemas.microsoft.com/office/infopath/2007/PartnerControls"/>
    <ds:schemaRef ds:uri="71402401-ee9a-4cfa-82a8-ebbd88d5d766"/>
    <ds:schemaRef ds:uri="a8a2af44-4b8d-404b-a8bd-4186350a523c"/>
    <ds:schemaRef ds:uri="775538c5-eb89-48ba-a372-0acd5d6f1291"/>
    <ds:schemaRef ds:uri="http://schemas.microsoft.com/sharepoint/v3"/>
  </ds:schemaRefs>
</ds:datastoreItem>
</file>

<file path=customXml/itemProps2.xml><?xml version="1.0" encoding="utf-8"?>
<ds:datastoreItem xmlns:ds="http://schemas.openxmlformats.org/officeDocument/2006/customXml" ds:itemID="{891BBE5C-A9CB-48CA-8BB9-345047647820}">
  <ds:schemaRefs>
    <ds:schemaRef ds:uri="Microsoft.SharePoint.Taxonomy.ContentTypeSync"/>
  </ds:schemaRefs>
</ds:datastoreItem>
</file>

<file path=customXml/itemProps3.xml><?xml version="1.0" encoding="utf-8"?>
<ds:datastoreItem xmlns:ds="http://schemas.openxmlformats.org/officeDocument/2006/customXml" ds:itemID="{4761331F-11F2-423C-ABF1-D4FBD9BC78E5}">
  <ds:schemaRefs>
    <ds:schemaRef ds:uri="http://schemas.microsoft.com/sharepoint/events"/>
  </ds:schemaRefs>
</ds:datastoreItem>
</file>

<file path=customXml/itemProps4.xml><?xml version="1.0" encoding="utf-8"?>
<ds:datastoreItem xmlns:ds="http://schemas.openxmlformats.org/officeDocument/2006/customXml" ds:itemID="{C5DF45C6-C094-43EE-97B8-D14CF7363F8D}">
  <ds:schemaRefs>
    <ds:schemaRef ds:uri="http://schemas.microsoft.com/sharepoint/v3/contenttype/forms"/>
  </ds:schemaRefs>
</ds:datastoreItem>
</file>

<file path=customXml/itemProps5.xml><?xml version="1.0" encoding="utf-8"?>
<ds:datastoreItem xmlns:ds="http://schemas.openxmlformats.org/officeDocument/2006/customXml" ds:itemID="{6F54E65E-5135-4C26-B0D0-41F98040BD1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71402401-ee9a-4cfa-82a8-ebbd88d5d766"/>
    <ds:schemaRef ds:uri="a8a2af44-4b8d-404b-a8bd-4186350a523c"/>
    <ds:schemaRef ds:uri="775538c5-eb89-48ba-a372-0acd5d6f12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0</TotalTime>
  <Words>6721</Words>
  <Application>Microsoft Office PowerPoint</Application>
  <PresentationFormat>Widescreen</PresentationFormat>
  <Paragraphs>488</Paragraphs>
  <Slides>38</Slides>
  <Notes>23</Notes>
  <HiddenSlides>0</HiddenSlides>
  <MMClips>2</MMClips>
  <ScaleCrop>false</ScaleCrop>
  <HeadingPairs>
    <vt:vector size="8" baseType="variant">
      <vt:variant>
        <vt:lpstr>Fonts Used</vt:lpstr>
      </vt:variant>
      <vt:variant>
        <vt:i4>13</vt:i4>
      </vt:variant>
      <vt:variant>
        <vt:lpstr>Theme</vt:lpstr>
      </vt:variant>
      <vt:variant>
        <vt:i4>4</vt:i4>
      </vt:variant>
      <vt:variant>
        <vt:lpstr>Embedded OLE Servers</vt:lpstr>
      </vt:variant>
      <vt:variant>
        <vt:i4>1</vt:i4>
      </vt:variant>
      <vt:variant>
        <vt:lpstr>Slide Titles</vt:lpstr>
      </vt:variant>
      <vt:variant>
        <vt:i4>38</vt:i4>
      </vt:variant>
    </vt:vector>
  </HeadingPairs>
  <TitlesOfParts>
    <vt:vector size="56" baseType="lpstr">
      <vt:lpstr>Arial</vt:lpstr>
      <vt:lpstr>Calibri</vt:lpstr>
      <vt:lpstr>Calibri Light</vt:lpstr>
      <vt:lpstr>Century Gothic</vt:lpstr>
      <vt:lpstr>HK Grotesk Medium</vt:lpstr>
      <vt:lpstr>IBM Plex Sans Bold</vt:lpstr>
      <vt:lpstr>IBM Plex Sans Condensed</vt:lpstr>
      <vt:lpstr>IBM Plex Sans Condensed Thin Bold</vt:lpstr>
      <vt:lpstr>IBM Plex Sans Thin</vt:lpstr>
      <vt:lpstr>IBM Plex Sans Thin Bold</vt:lpstr>
      <vt:lpstr>Segoe UI</vt:lpstr>
      <vt:lpstr>Symbol</vt:lpstr>
      <vt:lpstr>Wingdings</vt:lpstr>
      <vt:lpstr>3_Office Theme</vt:lpstr>
      <vt:lpstr>2_Office Theme</vt:lpstr>
      <vt:lpstr>5_Office Theme</vt:lpstr>
      <vt:lpstr>4_Office Theme</vt:lpstr>
      <vt:lpstr>think-cell Slide</vt:lpstr>
      <vt:lpstr>PowerPoint Presentation</vt:lpstr>
      <vt:lpstr>Objectifs</vt:lpstr>
      <vt:lpstr>Définition de la violence sexuelle établie par le CICR</vt:lpstr>
      <vt:lpstr>PowerPoint Presentation</vt:lpstr>
      <vt:lpstr>Droit international humanitaire et droit pénal international </vt:lpstr>
      <vt:lpstr>Par ailleurs : accès aux soins médicaux</vt:lpstr>
      <vt:lpstr>PowerPoint Presentation</vt:lpstr>
      <vt:lpstr>PowerPoint Presentation</vt:lpstr>
      <vt:lpstr>Données sur la violence sexuelle</vt:lpstr>
      <vt:lpstr>PowerPoint Presentation</vt:lpstr>
      <vt:lpstr>Très courante; les risques ne sont pas nouveaux en cas de conflit et de crise</vt:lpstr>
      <vt:lpstr>PowerPoint Presentation</vt:lpstr>
      <vt:lpstr>Le renversement de la charge de la preuve</vt:lpstr>
      <vt:lpstr>PowerPoint Presentation</vt:lpstr>
      <vt:lpstr>Scénario</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pproche centrée sur les personnes survivantes</vt:lpstr>
      <vt:lpstr>PowerPoint Presentation</vt:lpstr>
      <vt:lpstr>PowerPoint Presentation</vt:lpstr>
      <vt:lpstr>PowerPoint Presentation</vt:lpstr>
      <vt:lpstr>Réagir face à une révélation – en général</vt:lpstr>
      <vt:lpstr>La réponse humanitaire en matière de santé</vt:lpstr>
      <vt:lpstr>Santé – premiers secours, soins de santé primaire et secondaire</vt:lpstr>
      <vt:lpstr>Prise en charge clinique dans les situations d’urgence et les contextes à faibles ressources :</vt:lpstr>
      <vt:lpstr>PowerPoint Presentation</vt:lpstr>
      <vt:lpstr>PowerPoint Presentation</vt:lpstr>
      <vt:lpstr>PowerPoint Presentation</vt:lpstr>
      <vt:lpstr>PowerPoint Presentation</vt:lpstr>
      <vt:lpstr>En quoi pourrait-il être problématique de situer au sein d’une maternité un point d’entrée pour l’accès à la prise en charge clinique de la violence sexuelle ?</vt:lpstr>
      <vt:lpstr>Ressources</vt:lpstr>
      <vt:lpstr>Ressource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3-04-11T12:18:34Z</dcterms:created>
  <dcterms:modified xsi:type="dcterms:W3CDTF">2023-06-05T12:41: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306B2604BE44180B8B82333BE64DF4E005A5CBB6C53404A16AAEA5338BA523999000A8DC57427FE8447B6BC7D6E7F551E9D</vt:lpwstr>
  </property>
  <property fmtid="{D5CDD505-2E9C-101B-9397-08002B2CF9AE}" pid="3" name="ICRCIMP_RMUnitInCharge">
    <vt:lpwstr>31;#GVA_OP_ASSIST_HELP|c53394dc-0df0-45c5-8220-3bdc97c5e4ad</vt:lpwstr>
  </property>
  <property fmtid="{D5CDD505-2E9C-101B-9397-08002B2CF9AE}" pid="4" name="ICRCIMP_ManageAccess">
    <vt:bool>false</vt:bool>
  </property>
  <property fmtid="{D5CDD505-2E9C-101B-9397-08002B2CF9AE}" pid="5" name="ICRCIMP_OrganizationalUnit">
    <vt:lpwstr/>
  </property>
  <property fmtid="{D5CDD505-2E9C-101B-9397-08002B2CF9AE}" pid="6" name="ICRCIMP_Site_H">
    <vt:lpwstr/>
  </property>
  <property fmtid="{D5CDD505-2E9C-101B-9397-08002B2CF9AE}" pid="7" name="ICRCIMP_Country">
    <vt:lpwstr>2;#No Country|1f55df4f-c103-4303-b974-426a8e7d1d06</vt:lpwstr>
  </property>
  <property fmtid="{D5CDD505-2E9C-101B-9397-08002B2CF9AE}" pid="8" name="ICRCIMP_OrganizationalAccronym">
    <vt:lpwstr/>
  </property>
  <property fmtid="{D5CDD505-2E9C-101B-9397-08002B2CF9AE}" pid="9" name="ICRCIMP_Site">
    <vt:lpwstr/>
  </property>
  <property fmtid="{D5CDD505-2E9C-101B-9397-08002B2CF9AE}" pid="10" name="ICRCIMP_DocumentType">
    <vt:lpwstr/>
  </property>
  <property fmtid="{D5CDD505-2E9C-101B-9397-08002B2CF9AE}" pid="11" name="Key Issue">
    <vt:lpwstr>3;#- No key issue|32056555-74b8-4174-9beb-b0d6d010855f</vt:lpwstr>
  </property>
  <property fmtid="{D5CDD505-2E9C-101B-9397-08002B2CF9AE}" pid="12" name="ICRCIMP_OrganizationalUnit_H">
    <vt:lpwstr/>
  </property>
  <property fmtid="{D5CDD505-2E9C-101B-9397-08002B2CF9AE}" pid="13" name="ICRCIMP_BusinessFunction">
    <vt:lpwstr>1;#Assistance|9015aaae-65d7-4217-8889-581aaffe05a3</vt:lpwstr>
  </property>
  <property fmtid="{D5CDD505-2E9C-101B-9397-08002B2CF9AE}" pid="14" name="ICRCIMP_Keyword">
    <vt:lpwstr/>
  </property>
  <property fmtid="{D5CDD505-2E9C-101B-9397-08002B2CF9AE}" pid="15" name="ICRCIMP_KeyIssue">
    <vt:lpwstr/>
  </property>
  <property fmtid="{D5CDD505-2E9C-101B-9397-08002B2CF9AE}" pid="16" name="ICRCIMP_IHT">
    <vt:lpwstr>4;#Internal|23eb6094-56fc-4ad4-8ae2-cf1575a694f0</vt:lpwstr>
  </property>
  <property fmtid="{D5CDD505-2E9C-101B-9397-08002B2CF9AE}" pid="17" name="_dlc_DocIdItemGuid">
    <vt:lpwstr>9d5ddce3-b0c3-4540-9017-9f2a111836a6</vt:lpwstr>
  </property>
</Properties>
</file>